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4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 bookmarkIdSeed="2">
  <p:sldMasterIdLst>
    <p:sldMasterId id="2147483648" r:id="rId1"/>
    <p:sldMasterId id="2147483680" r:id="rId2"/>
    <p:sldMasterId id="2147483695" r:id="rId3"/>
    <p:sldMasterId id="2147483709" r:id="rId4"/>
    <p:sldMasterId id="2147483741" r:id="rId5"/>
  </p:sldMasterIdLst>
  <p:notesMasterIdLst>
    <p:notesMasterId r:id="rId18"/>
  </p:notesMasterIdLst>
  <p:handoutMasterIdLst>
    <p:handoutMasterId r:id="rId19"/>
  </p:handoutMasterIdLst>
  <p:sldIdLst>
    <p:sldId id="434" r:id="rId6"/>
    <p:sldId id="462" r:id="rId7"/>
    <p:sldId id="461" r:id="rId8"/>
    <p:sldId id="465" r:id="rId9"/>
    <p:sldId id="470" r:id="rId10"/>
    <p:sldId id="446" r:id="rId11"/>
    <p:sldId id="467" r:id="rId12"/>
    <p:sldId id="468" r:id="rId13"/>
    <p:sldId id="475" r:id="rId14"/>
    <p:sldId id="469" r:id="rId15"/>
    <p:sldId id="477" r:id="rId16"/>
    <p:sldId id="458" r:id="rId17"/>
  </p:sldIdLst>
  <p:sldSz cx="9144000" cy="5143500" type="screen16x9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ey-Bellet, Tatiana" initials="RT" lastIdx="3" clrIdx="0">
    <p:extLst>
      <p:ext uri="{19B8F6BF-5375-455C-9EA6-DF929625EA0E}">
        <p15:presenceInfo xmlns:p15="http://schemas.microsoft.com/office/powerpoint/2012/main" userId="S-1-5-21-2911733954-2871840124-406737221-44955" providerId="AD"/>
      </p:ext>
    </p:extLst>
  </p:cmAuthor>
  <p:cmAuthor id="2" name="Di Salvo, Anna" initials="DSA" lastIdx="5" clrIdx="1">
    <p:extLst>
      <p:ext uri="{19B8F6BF-5375-455C-9EA6-DF929625EA0E}">
        <p15:presenceInfo xmlns:p15="http://schemas.microsoft.com/office/powerpoint/2012/main" userId="S-1-5-21-2911733954-2871840124-406737221-4398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95C6"/>
    <a:srgbClr val="889AD2"/>
    <a:srgbClr val="B381D9"/>
    <a:srgbClr val="8CDEF8"/>
    <a:srgbClr val="F6941E"/>
    <a:srgbClr val="00AAAC"/>
    <a:srgbClr val="0000FF"/>
    <a:srgbClr val="00FFFF"/>
    <a:srgbClr val="BBF785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85BE263C-DBD7-4A20-BB59-AAB30ACAA65A}" styleName="Средний стиль 3 -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390" autoAdjust="0"/>
    <p:restoredTop sz="96866" autoAdjust="0"/>
  </p:normalViewPr>
  <p:slideViewPr>
    <p:cSldViewPr snapToGrid="0" snapToObjects="1">
      <p:cViewPr varScale="1">
        <p:scale>
          <a:sx n="113" d="100"/>
          <a:sy n="113" d="100"/>
        </p:scale>
        <p:origin x="782" y="67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6333"/>
          </a:xfrm>
          <a:prstGeom prst="rect">
            <a:avLst/>
          </a:prstGeom>
        </p:spPr>
        <p:txBody>
          <a:bodyPr vert="horz" lIns="92103" tIns="46051" rIns="92103" bIns="46051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2" y="0"/>
            <a:ext cx="2945660" cy="496333"/>
          </a:xfrm>
          <a:prstGeom prst="rect">
            <a:avLst/>
          </a:prstGeom>
        </p:spPr>
        <p:txBody>
          <a:bodyPr vert="horz" lIns="92103" tIns="46051" rIns="92103" bIns="46051" rtlCol="0"/>
          <a:lstStyle>
            <a:lvl1pPr algn="r">
              <a:defRPr sz="1200"/>
            </a:lvl1pPr>
          </a:lstStyle>
          <a:p>
            <a:fld id="{FB7D3A75-DBE9-0F4C-9B1C-5263E03059CF}" type="datetimeFigureOut">
              <a:rPr lang="en-US" smtClean="0"/>
              <a:pPr/>
              <a:t>04/09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2"/>
            <a:ext cx="2945660" cy="496333"/>
          </a:xfrm>
          <a:prstGeom prst="rect">
            <a:avLst/>
          </a:prstGeom>
        </p:spPr>
        <p:txBody>
          <a:bodyPr vert="horz" lIns="92103" tIns="46051" rIns="92103" bIns="46051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2" y="9428582"/>
            <a:ext cx="2945660" cy="496333"/>
          </a:xfrm>
          <a:prstGeom prst="rect">
            <a:avLst/>
          </a:prstGeom>
        </p:spPr>
        <p:txBody>
          <a:bodyPr vert="horz" lIns="92103" tIns="46051" rIns="92103" bIns="46051" rtlCol="0" anchor="b"/>
          <a:lstStyle>
            <a:lvl1pPr algn="r">
              <a:defRPr sz="1200"/>
            </a:lvl1pPr>
          </a:lstStyle>
          <a:p>
            <a:fld id="{30437E51-DAF1-174F-BD4C-5B7BBE83149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038070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6333"/>
          </a:xfrm>
          <a:prstGeom prst="rect">
            <a:avLst/>
          </a:prstGeom>
        </p:spPr>
        <p:txBody>
          <a:bodyPr vert="horz" lIns="92103" tIns="46051" rIns="92103" bIns="46051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2" y="0"/>
            <a:ext cx="2945660" cy="496333"/>
          </a:xfrm>
          <a:prstGeom prst="rect">
            <a:avLst/>
          </a:prstGeom>
        </p:spPr>
        <p:txBody>
          <a:bodyPr vert="horz" lIns="92103" tIns="46051" rIns="92103" bIns="46051" rtlCol="0"/>
          <a:lstStyle>
            <a:lvl1pPr algn="r">
              <a:defRPr sz="1200"/>
            </a:lvl1pPr>
          </a:lstStyle>
          <a:p>
            <a:fld id="{AF7A07CD-597C-4B44-AEC8-959B34A4A645}" type="datetimeFigureOut">
              <a:rPr lang="en-US" smtClean="0"/>
              <a:pPr/>
              <a:t>04/09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4538"/>
            <a:ext cx="6619875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03" tIns="46051" rIns="92103" bIns="4605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6"/>
            <a:ext cx="5438140" cy="4466987"/>
          </a:xfrm>
          <a:prstGeom prst="rect">
            <a:avLst/>
          </a:prstGeom>
        </p:spPr>
        <p:txBody>
          <a:bodyPr vert="horz" lIns="92103" tIns="46051" rIns="92103" bIns="46051" rtlCol="0"/>
          <a:lstStyle/>
          <a:p>
            <a:pPr lvl="0"/>
            <a:r>
              <a:rPr lang="fr-CH"/>
              <a:t>Click to edit Master text styles</a:t>
            </a:r>
          </a:p>
          <a:p>
            <a:pPr lvl="1"/>
            <a:r>
              <a:rPr lang="fr-CH"/>
              <a:t>Second level</a:t>
            </a:r>
          </a:p>
          <a:p>
            <a:pPr lvl="2"/>
            <a:r>
              <a:rPr lang="fr-CH"/>
              <a:t>Third level</a:t>
            </a:r>
          </a:p>
          <a:p>
            <a:pPr lvl="3"/>
            <a:r>
              <a:rPr lang="fr-CH"/>
              <a:t>Fourth level</a:t>
            </a:r>
          </a:p>
          <a:p>
            <a:pPr lvl="4"/>
            <a:r>
              <a:rPr lang="fr-CH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2"/>
            <a:ext cx="2945660" cy="496333"/>
          </a:xfrm>
          <a:prstGeom prst="rect">
            <a:avLst/>
          </a:prstGeom>
        </p:spPr>
        <p:txBody>
          <a:bodyPr vert="horz" lIns="92103" tIns="46051" rIns="92103" bIns="46051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2" y="9428582"/>
            <a:ext cx="2945660" cy="496333"/>
          </a:xfrm>
          <a:prstGeom prst="rect">
            <a:avLst/>
          </a:prstGeom>
        </p:spPr>
        <p:txBody>
          <a:bodyPr vert="horz" lIns="92103" tIns="46051" rIns="92103" bIns="46051" rtlCol="0" anchor="b"/>
          <a:lstStyle>
            <a:lvl1pPr algn="r">
              <a:defRPr sz="1200"/>
            </a:lvl1pPr>
          </a:lstStyle>
          <a:p>
            <a:fld id="{E6E2FE90-7751-1846-A440-E02EE769BB9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53469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BB1CBF-FB38-7943-8438-60BBA5A7CA7B}" type="slidenum">
              <a:rPr lang="en-GB" smtClean="0">
                <a:solidFill>
                  <a:prstClr val="black"/>
                </a:solidFill>
              </a:rPr>
              <a:pPr/>
              <a:t>2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66902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696241-AC9E-4293-89D9-B92D0E832ABE}" type="slidenum">
              <a:rPr lang="en-GB" smtClean="0">
                <a:solidFill>
                  <a:prstClr val="black"/>
                </a:solidFill>
              </a:rPr>
              <a:pPr/>
              <a:t>7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31850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696241-AC9E-4293-89D9-B92D0E832ABE}" type="slidenum">
              <a:rPr lang="en-GB" smtClean="0">
                <a:solidFill>
                  <a:prstClr val="black"/>
                </a:solidFill>
              </a:rPr>
              <a:pPr/>
              <a:t>8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80230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696241-AC9E-4293-89D9-B92D0E832ABE}" type="slidenum">
              <a:rPr lang="en-GB" smtClean="0">
                <a:solidFill>
                  <a:prstClr val="black"/>
                </a:solidFill>
              </a:rPr>
              <a:pPr/>
              <a:t>9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38641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696241-AC9E-4293-89D9-B92D0E832ABE}" type="slidenum">
              <a:rPr lang="en-GB" smtClean="0">
                <a:solidFill>
                  <a:prstClr val="black"/>
                </a:solidFill>
              </a:rPr>
              <a:pPr/>
              <a:t>10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1216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BB1CBF-FB38-7943-8438-60BBA5A7CA7B}" type="slidenum">
              <a:rPr lang="en-GB" smtClean="0">
                <a:solidFill>
                  <a:prstClr val="black"/>
                </a:solidFill>
              </a:rPr>
              <a:pPr/>
              <a:t>12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3263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01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" y="2038651"/>
            <a:ext cx="1827363" cy="99131"/>
          </a:xfrm>
          <a:prstGeom prst="rect">
            <a:avLst/>
          </a:prstGeom>
          <a:solidFill>
            <a:srgbClr val="FFD6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27364" y="2227036"/>
            <a:ext cx="4633450" cy="88446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2800">
                <a:latin typeface="Arial"/>
                <a:cs typeface="Arial"/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27364" y="3229428"/>
            <a:ext cx="3082408" cy="53975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edit subtitle (optional)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1827215" y="3905250"/>
            <a:ext cx="3082927" cy="21317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1200" b="1">
                <a:latin typeface="Arial"/>
                <a:cs typeface="Arial"/>
              </a:defRPr>
            </a:lvl1pPr>
            <a:lvl2pPr marL="457200" indent="0">
              <a:buNone/>
              <a:defRPr sz="1400" b="1">
                <a:latin typeface="Arial"/>
                <a:cs typeface="Arial"/>
              </a:defRPr>
            </a:lvl2pPr>
            <a:lvl3pPr marL="914400" indent="0">
              <a:buNone/>
              <a:defRPr sz="1200" b="1">
                <a:latin typeface="Arial"/>
                <a:cs typeface="Arial"/>
              </a:defRPr>
            </a:lvl3pPr>
            <a:lvl4pPr marL="1371600" indent="0">
              <a:buNone/>
              <a:defRPr sz="1100" b="1">
                <a:latin typeface="Arial"/>
                <a:cs typeface="Arial"/>
              </a:defRPr>
            </a:lvl4pPr>
            <a:lvl5pPr marL="1828800" indent="0">
              <a:buNone/>
              <a:defRPr sz="1100" b="1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date (optional)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1827215" y="4118372"/>
            <a:ext cx="3082927" cy="2131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>
                <a:latin typeface="Arial"/>
                <a:cs typeface="Arial"/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  <a:lvl3pPr marL="914400" indent="0">
              <a:buNone/>
              <a:defRPr sz="1400">
                <a:latin typeface="Arial"/>
                <a:cs typeface="Arial"/>
              </a:defRPr>
            </a:lvl3pPr>
            <a:lvl4pPr marL="1371600" indent="0">
              <a:buNone/>
              <a:defRPr sz="1200">
                <a:latin typeface="Arial"/>
                <a:cs typeface="Arial"/>
              </a:defRPr>
            </a:lvl4pPr>
            <a:lvl5pPr marL="1828800" indent="0">
              <a:buNone/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place (optional)</a:t>
            </a:r>
          </a:p>
        </p:txBody>
      </p:sp>
      <p:pic>
        <p:nvPicPr>
          <p:cNvPr id="11" name="Picture 10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4810" y="1032469"/>
            <a:ext cx="905619" cy="545959"/>
          </a:xfrm>
          <a:prstGeom prst="rect">
            <a:avLst/>
          </a:prstGeom>
        </p:spPr>
      </p:pic>
      <p:sp>
        <p:nvSpPr>
          <p:cNvPr id="12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1827215" y="4484748"/>
            <a:ext cx="3082927" cy="2131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>
                <a:latin typeface="Arial"/>
                <a:cs typeface="Arial"/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  <a:lvl3pPr marL="914400" indent="0">
              <a:buNone/>
              <a:defRPr sz="1400">
                <a:latin typeface="Arial"/>
                <a:cs typeface="Arial"/>
              </a:defRPr>
            </a:lvl3pPr>
            <a:lvl4pPr marL="1371600" indent="0">
              <a:buNone/>
              <a:defRPr sz="1200">
                <a:latin typeface="Arial"/>
                <a:cs typeface="Arial"/>
              </a:defRPr>
            </a:lvl4pPr>
            <a:lvl5pPr marL="1828800" indent="0">
              <a:buNone/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 err="1"/>
              <a:t>iru.org</a:t>
            </a:r>
            <a:r>
              <a:rPr lang="en-GB" noProof="0" dirty="0"/>
              <a:t> (optional)</a:t>
            </a:r>
          </a:p>
        </p:txBody>
      </p:sp>
    </p:spTree>
    <p:extLst>
      <p:ext uri="{BB962C8B-B14F-4D97-AF65-F5344CB8AC3E}">
        <p14:creationId xmlns:p14="http://schemas.microsoft.com/office/powerpoint/2010/main" val="24342193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01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3477381" y="1557773"/>
            <a:ext cx="5666620" cy="2229548"/>
          </a:xfrm>
          <a:prstGeom prst="rect">
            <a:avLst/>
          </a:prstGeom>
          <a:solidFill>
            <a:srgbClr val="00B5F0">
              <a:alpha val="51000"/>
            </a:srgb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noProof="0">
              <a:solidFill>
                <a:srgbClr val="000000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457200" y="1164629"/>
            <a:ext cx="5481563" cy="194233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noProof="0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" y="1065498"/>
            <a:ext cx="1827363" cy="99131"/>
          </a:xfrm>
          <a:prstGeom prst="rect">
            <a:avLst/>
          </a:prstGeom>
          <a:solidFill>
            <a:srgbClr val="FFD6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27364" y="1253882"/>
            <a:ext cx="3917875" cy="99583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2800">
                <a:latin typeface="Arial"/>
                <a:cs typeface="Arial"/>
              </a:defRPr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27364" y="2306168"/>
            <a:ext cx="3917875" cy="67379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Click to edit sub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765175" y="1000362"/>
            <a:ext cx="914400" cy="9144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0"/>
            </a:lvl1pPr>
          </a:lstStyle>
          <a:p>
            <a:pPr lvl="0"/>
            <a:r>
              <a:rPr lang="fr-CH" dirty="0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97818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TP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3440012-8109-4299-923D-9497B066D3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FFFDD11-9CA9-4B59-B476-58E30FBA90D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800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GB" sz="1700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3572" y="205979"/>
            <a:ext cx="7190241" cy="52915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lnSpc>
                <a:spcPct val="88000"/>
              </a:lnSpc>
              <a:defRPr lang="en-GB" sz="1700" b="1" kern="0" noProof="0" dirty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55385" y="1026994"/>
            <a:ext cx="8233230" cy="370332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500"/>
            </a:lvl1pPr>
            <a:lvl2pPr marL="205740" indent="-205740">
              <a:buClr>
                <a:schemeClr val="accent3"/>
              </a:buClr>
              <a:buFont typeface="Arial"/>
              <a:buChar char="•"/>
              <a:defRPr sz="1500"/>
            </a:lvl2pPr>
            <a:lvl3pPr marL="411480" indent="-205740">
              <a:buClr>
                <a:schemeClr val="accent3"/>
              </a:buClr>
              <a:buSzPct val="100000"/>
              <a:buFont typeface="Lucida Grande"/>
              <a:buChar char="-"/>
              <a:defRPr sz="1500"/>
            </a:lvl3pPr>
            <a:lvl4pPr marL="617220" indent="-205740">
              <a:buClr>
                <a:schemeClr val="tx1">
                  <a:lumMod val="50000"/>
                  <a:lumOff val="50000"/>
                </a:schemeClr>
              </a:buClr>
              <a:buFont typeface="Arial"/>
              <a:buChar char="•"/>
              <a:defRPr sz="1500"/>
            </a:lvl4pPr>
            <a:lvl5pPr marL="822960" indent="-205740">
              <a:buClr>
                <a:schemeClr val="tx1">
                  <a:lumMod val="50000"/>
                  <a:lumOff val="50000"/>
                </a:schemeClr>
              </a:buClr>
              <a:buFont typeface="Lucida Grande"/>
              <a:buChar char="-"/>
              <a:defRPr sz="15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sp>
        <p:nvSpPr>
          <p:cNvPr id="9" name="SlideNumber"/>
          <p:cNvSpPr txBox="1">
            <a:spLocks/>
          </p:cNvSpPr>
          <p:nvPr userDrawn="1">
            <p:custDataLst>
              <p:tags r:id="rId3"/>
            </p:custDataLst>
          </p:nvPr>
        </p:nvSpPr>
        <p:spPr bwMode="gray">
          <a:xfrm>
            <a:off x="8567507" y="4887245"/>
            <a:ext cx="141064" cy="138499"/>
          </a:xfrm>
          <a:prstGeom prst="rect">
            <a:avLst/>
          </a:prstGeom>
          <a:noFill/>
          <a:ln w="6350" cmpd="sng">
            <a:noFill/>
            <a:prstDash val="solid"/>
          </a:ln>
        </p:spPr>
        <p:txBody>
          <a:bodyPr wrap="none" lIns="0" tIns="0" rIns="0" bIns="0" rtlCol="0" anchor="b">
            <a:spAutoFit/>
          </a:bodyPr>
          <a:lstStyle/>
          <a:p>
            <a:pPr algn="r" defTabSz="793659" hangingPunct="0">
              <a:spcBef>
                <a:spcPct val="0"/>
              </a:spcBef>
              <a:spcAft>
                <a:spcPct val="0"/>
              </a:spcAft>
            </a:pPr>
            <a:fld id="{4CF6A944-D9EA-4008-9CF7-44283426B6A9}" type="slidenum">
              <a:rPr lang="en-GB" sz="900">
                <a:solidFill>
                  <a:srgbClr val="323232"/>
                </a:solidFill>
              </a:rPr>
              <a:pPr algn="r" defTabSz="793659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sz="900" dirty="0">
              <a:solidFill>
                <a:srgbClr val="3232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26208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FBAE40"/>
          </p15:clr>
        </p15:guide>
        <p15:guide id="2" orient="horz" pos="3976">
          <p15:clr>
            <a:srgbClr val="FBAE40"/>
          </p15:clr>
        </p15:guide>
        <p15:guide id="3" pos="384">
          <p15:clr>
            <a:srgbClr val="FBAE40"/>
          </p15:clr>
        </p15:guide>
        <p15:guide id="4" pos="7296">
          <p15:clr>
            <a:srgbClr val="FBAE40"/>
          </p15:clr>
        </p15:guide>
        <p15:guide id="5" orient="horz" pos="17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A8244D4-29D0-E446-B413-DE3E816ABB6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D7E50B30-21F4-B749-BB47-AF362920352A}" type="datetimeFigureOut">
              <a:rPr lang="en-US" smtClean="0"/>
              <a:t>04/09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94736AB-A001-374E-9E57-351CFA1FB3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D9BB1D-5524-3F47-BE3C-53EE29CD4A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98AD4C63-7729-6B4E-A6F0-448485D234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35139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icture Placeholder 1">
            <a:extLst>
              <a:ext uri="{FF2B5EF4-FFF2-40B4-BE49-F238E27FC236}">
                <a16:creationId xmlns:a16="http://schemas.microsoft.com/office/drawing/2014/main" id="{8D5B1E2A-FE76-1340-8B6A-0A88A3381C3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8769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50" baseline="0"/>
            </a:lvl1pPr>
          </a:lstStyle>
          <a:p>
            <a:r>
              <a:rPr lang="en-US" dirty="0"/>
              <a:t>Click to add image &gt; send to back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B34553C-0E64-0C49-860D-665C440A482D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1716932" y="3999208"/>
            <a:ext cx="3200400" cy="5095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5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dirty="0"/>
              <a:t>Click to edit Master subtitl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E1C12A7-275D-4840-8C99-6C2B8702BDE8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1716932" y="3380361"/>
            <a:ext cx="3200400" cy="61884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1800" b="1"/>
            </a:lvl1pPr>
          </a:lstStyle>
          <a:p>
            <a:r>
              <a:rPr lang="en-GB" dirty="0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78118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3.7037E-6 L 0 -0.125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25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2" presetClass="entr" presetSubtype="8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2" presetClass="entr" presetSubtype="8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2" presetClass="entr" presetSubtype="8" decel="5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" grpId="0"/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1E057E-5FDA-1F48-8287-536EDD490B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09A331-1B01-B44D-9458-BD63151FF2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139022-FC68-BA45-B809-6884D5CB03E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D7E50B30-21F4-B749-BB47-AF362920352A}" type="datetimeFigureOut">
              <a:rPr lang="en-US" smtClean="0"/>
              <a:t>04/0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560443-832A-EF4D-AA4C-26EBD94217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0E67C5-9A56-BD4A-99FF-10091D566E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98AD4C63-7729-6B4E-A6F0-448485D234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64680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­- Simp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2" y="2038652"/>
            <a:ext cx="1827363" cy="99131"/>
          </a:xfrm>
          <a:prstGeom prst="rect">
            <a:avLst/>
          </a:prstGeom>
          <a:solidFill>
            <a:srgbClr val="FFD6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 sz="1800">
              <a:solidFill>
                <a:srgbClr val="32323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27216" y="2227037"/>
            <a:ext cx="4633450" cy="88446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ts val="3500"/>
              </a:lnSpc>
              <a:defRPr sz="3200">
                <a:latin typeface="Arial"/>
                <a:cs typeface="Arial"/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27216" y="3253813"/>
            <a:ext cx="3082408" cy="53975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Arial"/>
                <a:cs typeface="Arial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edit subtitle (optional)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1827216" y="3929635"/>
            <a:ext cx="3082927" cy="21317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1200" b="1">
                <a:latin typeface="Arial"/>
                <a:cs typeface="Arial"/>
              </a:defRPr>
            </a:lvl1pPr>
            <a:lvl2pPr marL="457189" indent="0">
              <a:buNone/>
              <a:defRPr sz="1400" b="1">
                <a:latin typeface="Arial"/>
                <a:cs typeface="Arial"/>
              </a:defRPr>
            </a:lvl2pPr>
            <a:lvl3pPr marL="914378" indent="0">
              <a:buNone/>
              <a:defRPr sz="1200" b="1">
                <a:latin typeface="Arial"/>
                <a:cs typeface="Arial"/>
              </a:defRPr>
            </a:lvl3pPr>
            <a:lvl4pPr marL="1371566" indent="0">
              <a:buNone/>
              <a:defRPr sz="1100" b="1">
                <a:latin typeface="Arial"/>
                <a:cs typeface="Arial"/>
              </a:defRPr>
            </a:lvl4pPr>
            <a:lvl5pPr marL="1828754" indent="0">
              <a:buNone/>
              <a:defRPr sz="1100" b="1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date (optional)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1827216" y="4142757"/>
            <a:ext cx="3082927" cy="2131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>
                <a:latin typeface="Arial"/>
                <a:cs typeface="Arial"/>
              </a:defRPr>
            </a:lvl1pPr>
            <a:lvl2pPr marL="457189" indent="0">
              <a:buNone/>
              <a:defRPr sz="1600">
                <a:latin typeface="Arial"/>
                <a:cs typeface="Arial"/>
              </a:defRPr>
            </a:lvl2pPr>
            <a:lvl3pPr marL="914378" indent="0">
              <a:buNone/>
              <a:defRPr sz="1400">
                <a:latin typeface="Arial"/>
                <a:cs typeface="Arial"/>
              </a:defRPr>
            </a:lvl3pPr>
            <a:lvl4pPr marL="1371566" indent="0">
              <a:buNone/>
              <a:defRPr sz="1200">
                <a:latin typeface="Arial"/>
                <a:cs typeface="Arial"/>
              </a:defRPr>
            </a:lvl4pPr>
            <a:lvl5pPr marL="1828754" indent="0">
              <a:buNone/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place or name (optional)</a:t>
            </a:r>
          </a:p>
        </p:txBody>
      </p:sp>
      <p:pic>
        <p:nvPicPr>
          <p:cNvPr id="11" name="Picture 10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4810" y="1032470"/>
            <a:ext cx="905619" cy="545959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754063" y="4478654"/>
            <a:ext cx="2438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89"/>
            <a:r>
              <a:rPr lang="fr-CH" sz="1200" dirty="0">
                <a:solidFill>
                  <a:srgbClr val="323232"/>
                </a:solidFill>
              </a:rPr>
              <a:t>iru.org</a:t>
            </a:r>
            <a:endParaRPr lang="fr-CH" sz="1800" dirty="0">
              <a:solidFill>
                <a:srgbClr val="3232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05015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­- Simp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2" y="2038652"/>
            <a:ext cx="1827363" cy="99131"/>
          </a:xfrm>
          <a:prstGeom prst="rect">
            <a:avLst/>
          </a:prstGeom>
          <a:solidFill>
            <a:srgbClr val="FFD6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 sz="1800">
              <a:solidFill>
                <a:srgbClr val="323232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457200" y="2137784"/>
            <a:ext cx="6114262" cy="262948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 sz="1800">
              <a:solidFill>
                <a:srgbClr val="000000"/>
              </a:solidFill>
            </a:endParaRPr>
          </a:p>
        </p:txBody>
      </p:sp>
      <p:pic>
        <p:nvPicPr>
          <p:cNvPr id="11" name="Picture 10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4810" y="1032470"/>
            <a:ext cx="905619" cy="545959"/>
          </a:xfrm>
          <a:prstGeom prst="rect">
            <a:avLst/>
          </a:prstGeom>
        </p:spPr>
      </p:pic>
      <p:sp>
        <p:nvSpPr>
          <p:cNvPr id="18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1827216" y="3929635"/>
            <a:ext cx="3082927" cy="21317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1200" b="1">
                <a:latin typeface="Arial"/>
                <a:cs typeface="Arial"/>
              </a:defRPr>
            </a:lvl1pPr>
            <a:lvl2pPr marL="457189" indent="0">
              <a:buNone/>
              <a:defRPr sz="1400" b="1">
                <a:latin typeface="Arial"/>
                <a:cs typeface="Arial"/>
              </a:defRPr>
            </a:lvl2pPr>
            <a:lvl3pPr marL="914378" indent="0">
              <a:buNone/>
              <a:defRPr sz="1200" b="1">
                <a:latin typeface="Arial"/>
                <a:cs typeface="Arial"/>
              </a:defRPr>
            </a:lvl3pPr>
            <a:lvl4pPr marL="1371566" indent="0">
              <a:buNone/>
              <a:defRPr sz="1100" b="1">
                <a:latin typeface="Arial"/>
                <a:cs typeface="Arial"/>
              </a:defRPr>
            </a:lvl4pPr>
            <a:lvl5pPr marL="1828754" indent="0">
              <a:buNone/>
              <a:defRPr sz="1100" b="1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date (optional)</a:t>
            </a:r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1827216" y="4142757"/>
            <a:ext cx="3082927" cy="2131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>
                <a:latin typeface="Arial"/>
                <a:cs typeface="Arial"/>
              </a:defRPr>
            </a:lvl1pPr>
            <a:lvl2pPr marL="457189" indent="0">
              <a:buNone/>
              <a:defRPr sz="1600">
                <a:latin typeface="Arial"/>
                <a:cs typeface="Arial"/>
              </a:defRPr>
            </a:lvl2pPr>
            <a:lvl3pPr marL="914378" indent="0">
              <a:buNone/>
              <a:defRPr sz="1400">
                <a:latin typeface="Arial"/>
                <a:cs typeface="Arial"/>
              </a:defRPr>
            </a:lvl3pPr>
            <a:lvl4pPr marL="1371566" indent="0">
              <a:buNone/>
              <a:defRPr sz="1200">
                <a:latin typeface="Arial"/>
                <a:cs typeface="Arial"/>
              </a:defRPr>
            </a:lvl4pPr>
            <a:lvl5pPr marL="1828754" indent="0">
              <a:buNone/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place or name (optional)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1827216" y="2227037"/>
            <a:ext cx="4633450" cy="88446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ts val="3500"/>
              </a:lnSpc>
              <a:defRPr sz="3200">
                <a:latin typeface="Arial"/>
                <a:cs typeface="Arial"/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27216" y="3253813"/>
            <a:ext cx="3082408" cy="53975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Arial"/>
                <a:cs typeface="Arial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edit subtitle (optional)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754063" y="4478654"/>
            <a:ext cx="2438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89"/>
            <a:r>
              <a:rPr lang="fr-CH" sz="1200" dirty="0">
                <a:solidFill>
                  <a:srgbClr val="323232"/>
                </a:solidFill>
              </a:rPr>
              <a:t>iru.org</a:t>
            </a:r>
            <a:endParaRPr lang="fr-CH" sz="1800" dirty="0">
              <a:solidFill>
                <a:srgbClr val="3232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55357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­-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457200" y="2137784"/>
            <a:ext cx="6119072" cy="262948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2" y="2038652"/>
            <a:ext cx="1827363" cy="99131"/>
          </a:xfrm>
          <a:prstGeom prst="rect">
            <a:avLst/>
          </a:prstGeom>
          <a:solidFill>
            <a:srgbClr val="FFD6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 sz="1800">
              <a:solidFill>
                <a:srgbClr val="323232"/>
              </a:solidFill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2" hasCustomPrompt="1"/>
          </p:nvPr>
        </p:nvSpPr>
        <p:spPr>
          <a:xfrm>
            <a:off x="4024137" y="3188208"/>
            <a:ext cx="2552135" cy="157905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/>
            </a:lvl1pPr>
          </a:lstStyle>
          <a:p>
            <a:r>
              <a:rPr lang="en-GB" noProof="0"/>
              <a:t>Insert pictur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4024139" y="4767265"/>
            <a:ext cx="2552134" cy="271915"/>
          </a:xfrm>
          <a:prstGeom prst="rect">
            <a:avLst/>
          </a:prstGeom>
          <a:solidFill>
            <a:schemeClr val="tx2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 sz="1800">
              <a:solidFill>
                <a:srgbClr val="000000"/>
              </a:solidFill>
            </a:endParaRPr>
          </a:p>
        </p:txBody>
      </p:sp>
      <p:pic>
        <p:nvPicPr>
          <p:cNvPr id="13" name="Picture 12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4810" y="1032470"/>
            <a:ext cx="905619" cy="545959"/>
          </a:xfrm>
          <a:prstGeom prst="rect">
            <a:avLst/>
          </a:prstGeom>
        </p:spPr>
      </p:pic>
      <p:sp>
        <p:nvSpPr>
          <p:cNvPr id="20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1827216" y="3929635"/>
            <a:ext cx="2055937" cy="21317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1200" b="1">
                <a:latin typeface="Arial"/>
                <a:cs typeface="Arial"/>
              </a:defRPr>
            </a:lvl1pPr>
            <a:lvl2pPr marL="457189" indent="0">
              <a:buNone/>
              <a:defRPr sz="1400" b="1">
                <a:latin typeface="Arial"/>
                <a:cs typeface="Arial"/>
              </a:defRPr>
            </a:lvl2pPr>
            <a:lvl3pPr marL="914378" indent="0">
              <a:buNone/>
              <a:defRPr sz="1200" b="1">
                <a:latin typeface="Arial"/>
                <a:cs typeface="Arial"/>
              </a:defRPr>
            </a:lvl3pPr>
            <a:lvl4pPr marL="1371566" indent="0">
              <a:buNone/>
              <a:defRPr sz="1100" b="1">
                <a:latin typeface="Arial"/>
                <a:cs typeface="Arial"/>
              </a:defRPr>
            </a:lvl4pPr>
            <a:lvl5pPr marL="1828754" indent="0">
              <a:buNone/>
              <a:defRPr sz="1100" b="1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date (optional)</a:t>
            </a:r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1827216" y="4142757"/>
            <a:ext cx="2055937" cy="2131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>
                <a:latin typeface="Arial"/>
                <a:cs typeface="Arial"/>
              </a:defRPr>
            </a:lvl1pPr>
            <a:lvl2pPr marL="457189" indent="0">
              <a:buNone/>
              <a:defRPr sz="1600">
                <a:latin typeface="Arial"/>
                <a:cs typeface="Arial"/>
              </a:defRPr>
            </a:lvl2pPr>
            <a:lvl3pPr marL="914378" indent="0">
              <a:buNone/>
              <a:defRPr sz="1400">
                <a:latin typeface="Arial"/>
                <a:cs typeface="Arial"/>
              </a:defRPr>
            </a:lvl3pPr>
            <a:lvl4pPr marL="1371566" indent="0">
              <a:buNone/>
              <a:defRPr sz="1200">
                <a:latin typeface="Arial"/>
                <a:cs typeface="Arial"/>
              </a:defRPr>
            </a:lvl4pPr>
            <a:lvl5pPr marL="1828754" indent="0">
              <a:buNone/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place (optional)</a:t>
            </a:r>
          </a:p>
        </p:txBody>
      </p:sp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1827216" y="2227037"/>
            <a:ext cx="4633450" cy="88446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ts val="3500"/>
              </a:lnSpc>
              <a:defRPr sz="3200">
                <a:latin typeface="Arial"/>
                <a:cs typeface="Arial"/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754063" y="4478654"/>
            <a:ext cx="2438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89"/>
            <a:r>
              <a:rPr lang="fr-CH" sz="1200" dirty="0">
                <a:solidFill>
                  <a:srgbClr val="323232"/>
                </a:solidFill>
              </a:rPr>
              <a:t>iru.org</a:t>
            </a:r>
            <a:endParaRPr lang="fr-CH" sz="1800" dirty="0">
              <a:solidFill>
                <a:srgbClr val="3232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44517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3477381" y="1557774"/>
            <a:ext cx="5666620" cy="2229548"/>
          </a:xfrm>
          <a:prstGeom prst="rect">
            <a:avLst/>
          </a:prstGeom>
          <a:solidFill>
            <a:schemeClr val="tx2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457201" y="1164629"/>
            <a:ext cx="5481563" cy="194233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2" y="1065499"/>
            <a:ext cx="1827363" cy="99131"/>
          </a:xfrm>
          <a:prstGeom prst="rect">
            <a:avLst/>
          </a:prstGeom>
          <a:solidFill>
            <a:srgbClr val="FFD6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 sz="1800">
              <a:solidFill>
                <a:srgbClr val="32323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27365" y="1253882"/>
            <a:ext cx="3917875" cy="995832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200">
                <a:latin typeface="Arial"/>
                <a:cs typeface="Arial"/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27365" y="2306168"/>
            <a:ext cx="3917875" cy="67379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Arial"/>
                <a:cs typeface="Arial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edit sub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765175" y="1000362"/>
            <a:ext cx="914400" cy="9144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0"/>
            </a:lvl1pPr>
          </a:lstStyle>
          <a:p>
            <a:pPr lvl="0"/>
            <a:r>
              <a:rPr lang="fr-CH" dirty="0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7693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7165" y="1593557"/>
            <a:ext cx="1492891" cy="900000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762641" y="4592816"/>
            <a:ext cx="67358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457189"/>
            <a:r>
              <a:rPr lang="en-GB" sz="1200" b="1" dirty="0" err="1">
                <a:solidFill>
                  <a:srgbClr val="0070C0"/>
                </a:solidFill>
              </a:rPr>
              <a:t>iru.org</a:t>
            </a:r>
            <a:endParaRPr lang="en-GB" sz="1200" b="1" dirty="0">
              <a:solidFill>
                <a:srgbClr val="0070C0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238849" y="1599651"/>
            <a:ext cx="100800" cy="90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 sz="1800">
              <a:solidFill>
                <a:srgbClr val="323232"/>
              </a:solidFill>
            </a:endParaRPr>
          </a:p>
        </p:txBody>
      </p:sp>
      <p:sp>
        <p:nvSpPr>
          <p:cNvPr id="6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1591692" y="4600429"/>
            <a:ext cx="4601761" cy="29686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  <a:lvl2pPr marL="457189" indent="0">
              <a:buNone/>
              <a:defRPr sz="1100"/>
            </a:lvl2pPr>
            <a:lvl3pPr marL="914378" indent="0">
              <a:buNone/>
              <a:defRPr sz="1100"/>
            </a:lvl3pPr>
            <a:lvl4pPr marL="1371566" indent="0">
              <a:buNone/>
              <a:defRPr sz="1100"/>
            </a:lvl4pPr>
            <a:lvl5pPr marL="1828754" indent="0">
              <a:buNone/>
              <a:defRPr sz="1100"/>
            </a:lvl5pPr>
          </a:lstStyle>
          <a:p>
            <a:pPr lvl="0"/>
            <a:r>
              <a:rPr lang="fr-CH" dirty="0"/>
              <a:t>Optional contact information e.g. iru@iru.org</a:t>
            </a:r>
            <a:endParaRPr lang="en-GB" dirty="0"/>
          </a:p>
        </p:txBody>
      </p:sp>
      <p:sp>
        <p:nvSpPr>
          <p:cNvPr id="7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717052" y="1517214"/>
            <a:ext cx="5348384" cy="179455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aseline="0"/>
            </a:lvl1pPr>
            <a:lvl2pPr marL="457189" indent="0">
              <a:buNone/>
              <a:defRPr sz="2000"/>
            </a:lvl2pPr>
            <a:lvl3pPr marL="914378" indent="0">
              <a:buNone/>
              <a:defRPr sz="20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</a:lstStyle>
          <a:p>
            <a:pPr lvl="0"/>
            <a:r>
              <a:rPr lang="fr-CH" dirty="0"/>
              <a:t>Optional text e.g. key takeaway, uplifting quote, thanks or invite questions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11190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slide 01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" y="2038651"/>
            <a:ext cx="1827363" cy="99131"/>
          </a:xfrm>
          <a:prstGeom prst="rect">
            <a:avLst/>
          </a:prstGeom>
          <a:solidFill>
            <a:srgbClr val="FFD6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9" name="Rectangle 8"/>
          <p:cNvSpPr/>
          <p:nvPr userDrawn="1"/>
        </p:nvSpPr>
        <p:spPr>
          <a:xfrm>
            <a:off x="457199" y="2137783"/>
            <a:ext cx="6114262" cy="262948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noProof="0" dirty="0">
              <a:solidFill>
                <a:srgbClr val="000000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57199" y="396546"/>
            <a:ext cx="1181705" cy="1846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900" b="1" noProof="0" dirty="0">
                <a:solidFill>
                  <a:srgbClr val="0052A4"/>
                </a:solidFill>
                <a:latin typeface=""/>
              </a:rPr>
              <a:t>iru.org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27364" y="2227036"/>
            <a:ext cx="4633450" cy="88446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2800">
                <a:latin typeface="Arial"/>
                <a:cs typeface="Arial"/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pic>
        <p:nvPicPr>
          <p:cNvPr id="11" name="Picture 10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4810" y="1032469"/>
            <a:ext cx="905619" cy="545959"/>
          </a:xfrm>
          <a:prstGeom prst="rect">
            <a:avLst/>
          </a:prstGeom>
        </p:spPr>
      </p:pic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27364" y="3229428"/>
            <a:ext cx="3082408" cy="53975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edit subtitle (optional)</a:t>
            </a:r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1827215" y="3905250"/>
            <a:ext cx="3082927" cy="21317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1200" b="1">
                <a:latin typeface="Arial"/>
                <a:cs typeface="Arial"/>
              </a:defRPr>
            </a:lvl1pPr>
            <a:lvl2pPr marL="457200" indent="0">
              <a:buNone/>
              <a:defRPr sz="1400" b="1">
                <a:latin typeface="Arial"/>
                <a:cs typeface="Arial"/>
              </a:defRPr>
            </a:lvl2pPr>
            <a:lvl3pPr marL="914400" indent="0">
              <a:buNone/>
              <a:defRPr sz="1200" b="1">
                <a:latin typeface="Arial"/>
                <a:cs typeface="Arial"/>
              </a:defRPr>
            </a:lvl3pPr>
            <a:lvl4pPr marL="1371600" indent="0">
              <a:buNone/>
              <a:defRPr sz="1100" b="1">
                <a:latin typeface="Arial"/>
                <a:cs typeface="Arial"/>
              </a:defRPr>
            </a:lvl4pPr>
            <a:lvl5pPr marL="1828800" indent="0">
              <a:buNone/>
              <a:defRPr sz="1100" b="1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date (optional)</a:t>
            </a:r>
          </a:p>
        </p:txBody>
      </p:sp>
      <p:sp>
        <p:nvSpPr>
          <p:cNvPr id="14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1827215" y="4118372"/>
            <a:ext cx="3082927" cy="2131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>
                <a:latin typeface="Arial"/>
                <a:cs typeface="Arial"/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  <a:lvl3pPr marL="914400" indent="0">
              <a:buNone/>
              <a:defRPr sz="1400">
                <a:latin typeface="Arial"/>
                <a:cs typeface="Arial"/>
              </a:defRPr>
            </a:lvl3pPr>
            <a:lvl4pPr marL="1371600" indent="0">
              <a:buNone/>
              <a:defRPr sz="1200">
                <a:latin typeface="Arial"/>
                <a:cs typeface="Arial"/>
              </a:defRPr>
            </a:lvl4pPr>
            <a:lvl5pPr marL="1828800" indent="0">
              <a:buNone/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place (optional)</a:t>
            </a: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1827215" y="4484748"/>
            <a:ext cx="3082927" cy="2131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>
                <a:latin typeface="Arial"/>
                <a:cs typeface="Arial"/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  <a:lvl3pPr marL="914400" indent="0">
              <a:buNone/>
              <a:defRPr sz="1400">
                <a:latin typeface="Arial"/>
                <a:cs typeface="Arial"/>
              </a:defRPr>
            </a:lvl3pPr>
            <a:lvl4pPr marL="1371600" indent="0">
              <a:buNone/>
              <a:defRPr sz="1200">
                <a:latin typeface="Arial"/>
                <a:cs typeface="Arial"/>
              </a:defRPr>
            </a:lvl4pPr>
            <a:lvl5pPr marL="1828800" indent="0">
              <a:buNone/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 err="1"/>
              <a:t>iru.org</a:t>
            </a:r>
            <a:r>
              <a:rPr lang="en-GB" noProof="0" dirty="0"/>
              <a:t> (optional)</a:t>
            </a:r>
          </a:p>
        </p:txBody>
      </p:sp>
    </p:spTree>
    <p:extLst>
      <p:ext uri="{BB962C8B-B14F-4D97-AF65-F5344CB8AC3E}">
        <p14:creationId xmlns:p14="http://schemas.microsoft.com/office/powerpoint/2010/main" val="13171500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57200" y="1370014"/>
            <a:ext cx="7246938" cy="3387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1423806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Objec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57201" y="1370013"/>
            <a:ext cx="4003589" cy="33811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581270" y="1370013"/>
            <a:ext cx="4108706" cy="33811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218911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457201" y="1365939"/>
            <a:ext cx="8232775" cy="338523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32996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9820332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7199" y="3102662"/>
            <a:ext cx="8233230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457202" y="1727597"/>
            <a:ext cx="2670175" cy="128468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 baseline="0"/>
            </a:lvl1pPr>
          </a:lstStyle>
          <a:p>
            <a:r>
              <a:rPr lang="en-GB" noProof="0"/>
              <a:t>Pic 1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236913" y="1727597"/>
            <a:ext cx="2670175" cy="128468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 baseline="0"/>
            </a:lvl1pPr>
          </a:lstStyle>
          <a:p>
            <a:r>
              <a:rPr lang="en-GB" noProof="0"/>
              <a:t>Pic 2</a:t>
            </a: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6020256" y="1727597"/>
            <a:ext cx="2670175" cy="128468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 baseline="0"/>
            </a:lvl1pPr>
          </a:lstStyle>
          <a:p>
            <a:r>
              <a:rPr lang="en-GB" noProof="0"/>
              <a:t>Pic 3</a:t>
            </a:r>
          </a:p>
        </p:txBody>
      </p:sp>
      <p:sp>
        <p:nvSpPr>
          <p:cNvPr id="10" name="Text Placehold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2" y="3175398"/>
            <a:ext cx="2670175" cy="1360027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>
              <a:buNone/>
              <a:defRPr sz="1600" b="0" baseline="0"/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GB" noProof="0" dirty="0"/>
              <a:t>Heading 1 to go here</a:t>
            </a:r>
          </a:p>
          <a:p>
            <a:pPr lvl="0"/>
            <a:r>
              <a:rPr lang="en-GB" noProof="0" dirty="0" err="1"/>
              <a:t>Lorem</a:t>
            </a:r>
            <a:r>
              <a:rPr lang="en-GB" noProof="0" dirty="0"/>
              <a:t> </a:t>
            </a:r>
            <a:r>
              <a:rPr lang="en-GB" noProof="0" dirty="0" err="1"/>
              <a:t>ipsum</a:t>
            </a:r>
            <a:r>
              <a:rPr lang="en-GB" noProof="0" dirty="0"/>
              <a:t>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, </a:t>
            </a:r>
            <a:r>
              <a:rPr lang="en-GB" noProof="0" dirty="0" err="1"/>
              <a:t>consectetuer</a:t>
            </a:r>
            <a:r>
              <a:rPr lang="en-GB" noProof="0" dirty="0"/>
              <a:t> </a:t>
            </a:r>
            <a:r>
              <a:rPr lang="en-GB" noProof="0" dirty="0" err="1"/>
              <a:t>adipiscing</a:t>
            </a:r>
            <a:r>
              <a:rPr lang="en-GB" noProof="0" dirty="0"/>
              <a:t> </a:t>
            </a:r>
            <a:r>
              <a:rPr lang="en-GB" noProof="0" dirty="0" err="1"/>
              <a:t>elit</a:t>
            </a:r>
            <a:r>
              <a:rPr lang="en-GB" noProof="0" dirty="0"/>
              <a:t>, </a:t>
            </a:r>
            <a:r>
              <a:rPr lang="en-GB" noProof="0" dirty="0" err="1"/>
              <a:t>nonummy</a:t>
            </a:r>
            <a:r>
              <a:rPr lang="en-GB" noProof="0" dirty="0"/>
              <a:t> </a:t>
            </a:r>
            <a:r>
              <a:rPr lang="en-GB" noProof="0" dirty="0" err="1"/>
              <a:t>nibh</a:t>
            </a:r>
            <a:r>
              <a:rPr lang="en-GB" noProof="0" dirty="0"/>
              <a:t> </a:t>
            </a:r>
            <a:r>
              <a:rPr lang="en-GB" noProof="0" dirty="0" err="1"/>
              <a:t>euismod</a:t>
            </a:r>
            <a:r>
              <a:rPr lang="en-GB" noProof="0" dirty="0"/>
              <a:t> </a:t>
            </a:r>
            <a:r>
              <a:rPr lang="en-GB" noProof="0" dirty="0" err="1"/>
              <a:t>tunt</a:t>
            </a:r>
            <a:endParaRPr lang="en-GB" noProof="0" dirty="0"/>
          </a:p>
        </p:txBody>
      </p:sp>
      <p:sp>
        <p:nvSpPr>
          <p:cNvPr id="11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3236913" y="3175398"/>
            <a:ext cx="2670175" cy="1360027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>
              <a:buNone/>
              <a:defRPr sz="1600" b="0" baseline="0"/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GB" noProof="0" dirty="0"/>
              <a:t>Heading 2 to go here</a:t>
            </a:r>
          </a:p>
          <a:p>
            <a:pPr lvl="0"/>
            <a:r>
              <a:rPr lang="en-GB" noProof="0" dirty="0" err="1"/>
              <a:t>Lorem</a:t>
            </a:r>
            <a:r>
              <a:rPr lang="en-GB" noProof="0" dirty="0"/>
              <a:t> </a:t>
            </a:r>
            <a:r>
              <a:rPr lang="en-GB" noProof="0" dirty="0" err="1"/>
              <a:t>ipsum</a:t>
            </a:r>
            <a:r>
              <a:rPr lang="en-GB" noProof="0" dirty="0"/>
              <a:t>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, </a:t>
            </a:r>
            <a:r>
              <a:rPr lang="en-GB" noProof="0" dirty="0" err="1"/>
              <a:t>consectetuer</a:t>
            </a:r>
            <a:r>
              <a:rPr lang="en-GB" noProof="0" dirty="0"/>
              <a:t> </a:t>
            </a:r>
            <a:r>
              <a:rPr lang="en-GB" noProof="0" dirty="0" err="1"/>
              <a:t>adipiscing</a:t>
            </a:r>
            <a:r>
              <a:rPr lang="en-GB" noProof="0" dirty="0"/>
              <a:t> </a:t>
            </a:r>
            <a:r>
              <a:rPr lang="en-GB" noProof="0" dirty="0" err="1"/>
              <a:t>elit</a:t>
            </a:r>
            <a:r>
              <a:rPr lang="en-GB" noProof="0" dirty="0"/>
              <a:t>, </a:t>
            </a:r>
            <a:r>
              <a:rPr lang="en-GB" noProof="0" dirty="0" err="1"/>
              <a:t>nonummy</a:t>
            </a:r>
            <a:r>
              <a:rPr lang="en-GB" noProof="0" dirty="0"/>
              <a:t> </a:t>
            </a:r>
            <a:r>
              <a:rPr lang="en-GB" noProof="0" dirty="0" err="1"/>
              <a:t>nibh</a:t>
            </a:r>
            <a:r>
              <a:rPr lang="en-GB" noProof="0" dirty="0"/>
              <a:t> </a:t>
            </a:r>
            <a:r>
              <a:rPr lang="en-GB" noProof="0" dirty="0" err="1"/>
              <a:t>euismod</a:t>
            </a:r>
            <a:r>
              <a:rPr lang="en-GB" noProof="0" dirty="0"/>
              <a:t> </a:t>
            </a:r>
            <a:r>
              <a:rPr lang="en-GB" noProof="0" dirty="0" err="1"/>
              <a:t>tunt</a:t>
            </a:r>
            <a:endParaRPr lang="en-GB" noProof="0" dirty="0"/>
          </a:p>
        </p:txBody>
      </p:sp>
      <p:sp>
        <p:nvSpPr>
          <p:cNvPr id="12" name="Text Placeholder 22"/>
          <p:cNvSpPr>
            <a:spLocks noGrp="1"/>
          </p:cNvSpPr>
          <p:nvPr>
            <p:ph type="body" sz="quarter" idx="18" hasCustomPrompt="1"/>
          </p:nvPr>
        </p:nvSpPr>
        <p:spPr>
          <a:xfrm>
            <a:off x="6020255" y="3175398"/>
            <a:ext cx="2670175" cy="1360027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>
              <a:buNone/>
              <a:defRPr sz="1600" b="0" baseline="0"/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GB" noProof="0" dirty="0"/>
              <a:t>Heading 3 to go here</a:t>
            </a:r>
          </a:p>
          <a:p>
            <a:pPr lvl="0"/>
            <a:r>
              <a:rPr lang="en-GB" noProof="0" dirty="0" err="1"/>
              <a:t>Lorem</a:t>
            </a:r>
            <a:r>
              <a:rPr lang="en-GB" noProof="0" dirty="0"/>
              <a:t> </a:t>
            </a:r>
            <a:r>
              <a:rPr lang="en-GB" noProof="0" dirty="0" err="1"/>
              <a:t>ipsum</a:t>
            </a:r>
            <a:r>
              <a:rPr lang="en-GB" noProof="0" dirty="0"/>
              <a:t>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, </a:t>
            </a:r>
            <a:r>
              <a:rPr lang="en-GB" noProof="0" dirty="0" err="1"/>
              <a:t>consectetuer</a:t>
            </a:r>
            <a:r>
              <a:rPr lang="en-GB" noProof="0" dirty="0"/>
              <a:t> </a:t>
            </a:r>
            <a:r>
              <a:rPr lang="en-GB" noProof="0" dirty="0" err="1"/>
              <a:t>adipiscing</a:t>
            </a:r>
            <a:r>
              <a:rPr lang="en-GB" noProof="0" dirty="0"/>
              <a:t> </a:t>
            </a:r>
            <a:r>
              <a:rPr lang="en-GB" noProof="0" dirty="0" err="1"/>
              <a:t>elit</a:t>
            </a:r>
            <a:r>
              <a:rPr lang="en-GB" noProof="0" dirty="0"/>
              <a:t>, </a:t>
            </a:r>
            <a:r>
              <a:rPr lang="en-GB" noProof="0" dirty="0" err="1"/>
              <a:t>nonummy</a:t>
            </a:r>
            <a:r>
              <a:rPr lang="en-GB" noProof="0" dirty="0"/>
              <a:t> </a:t>
            </a:r>
            <a:r>
              <a:rPr lang="en-GB" noProof="0" dirty="0" err="1"/>
              <a:t>nibh</a:t>
            </a:r>
            <a:r>
              <a:rPr lang="en-GB" noProof="0" dirty="0"/>
              <a:t> </a:t>
            </a:r>
            <a:r>
              <a:rPr lang="en-GB" noProof="0" dirty="0" err="1"/>
              <a:t>euismod</a:t>
            </a:r>
            <a:r>
              <a:rPr lang="en-GB" noProof="0" dirty="0"/>
              <a:t> </a:t>
            </a:r>
            <a:r>
              <a:rPr lang="en-GB" noProof="0" dirty="0" err="1"/>
              <a:t>tunt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5115019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830011" y="1441903"/>
            <a:ext cx="5488365" cy="3492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marL="0" indent="0">
              <a:buFontTx/>
              <a:buNone/>
              <a:defRPr sz="2400" b="0"/>
            </a:lvl1pPr>
            <a:lvl2pPr marL="0" indent="-287993">
              <a:buClr>
                <a:schemeClr val="accent3"/>
              </a:buClr>
              <a:buFont typeface="Arial"/>
              <a:buChar char="•"/>
              <a:defRPr sz="2000"/>
            </a:lvl2pPr>
            <a:lvl3pPr marL="575986" indent="-287993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3978" indent="-287993">
              <a:buClr>
                <a:schemeClr val="accent1"/>
              </a:buClr>
              <a:buFont typeface="Arial"/>
              <a:buChar char="•"/>
              <a:defRPr sz="2000"/>
            </a:lvl4pPr>
            <a:lvl5pPr marL="1151972" indent="-287993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 dirty="0"/>
              <a:t>Click to edit big text 1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830011" y="1855106"/>
            <a:ext cx="5488365" cy="657677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>
              <a:buFontTx/>
              <a:buNone/>
              <a:defRPr sz="1800"/>
            </a:lvl1pPr>
            <a:lvl2pPr marL="0" indent="-287993">
              <a:buClr>
                <a:schemeClr val="accent3"/>
              </a:buClr>
              <a:buFont typeface="Arial"/>
              <a:buChar char="•"/>
              <a:defRPr sz="2000"/>
            </a:lvl2pPr>
            <a:lvl3pPr marL="575986" indent="-287993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3978" indent="-287993">
              <a:buClr>
                <a:schemeClr val="accent1"/>
              </a:buClr>
              <a:buFont typeface="Arial"/>
              <a:buChar char="•"/>
              <a:defRPr sz="2000"/>
            </a:lvl4pPr>
            <a:lvl5pPr marL="1151972" indent="-287993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 dirty="0"/>
              <a:t>Click to edit small text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1021488" y="1441902"/>
            <a:ext cx="720000" cy="7200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"/>
            </a:lvl1pPr>
          </a:lstStyle>
          <a:p>
            <a:r>
              <a:rPr lang="en-GB" noProof="0" dirty="0"/>
              <a:t>Icon 1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1830011" y="2553153"/>
            <a:ext cx="5488365" cy="3492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marL="0" indent="0">
              <a:buFontTx/>
              <a:buNone/>
              <a:defRPr sz="2400" b="0"/>
            </a:lvl1pPr>
            <a:lvl2pPr marL="0" indent="-287993">
              <a:buClr>
                <a:schemeClr val="accent3"/>
              </a:buClr>
              <a:buFont typeface="Arial"/>
              <a:buChar char="•"/>
              <a:defRPr sz="2000"/>
            </a:lvl2pPr>
            <a:lvl3pPr marL="575986" indent="-287993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3978" indent="-287993">
              <a:buClr>
                <a:schemeClr val="accent1"/>
              </a:buClr>
              <a:buFont typeface="Arial"/>
              <a:buChar char="•"/>
              <a:defRPr sz="2000"/>
            </a:lvl4pPr>
            <a:lvl5pPr marL="1151972" indent="-287993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 dirty="0"/>
              <a:t>Click to edit big text 2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1830011" y="2966355"/>
            <a:ext cx="5488365" cy="657677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>
              <a:buFontTx/>
              <a:buNone/>
              <a:defRPr sz="1800"/>
            </a:lvl1pPr>
            <a:lvl2pPr marL="0" indent="-287993">
              <a:buClr>
                <a:schemeClr val="accent3"/>
              </a:buClr>
              <a:buFont typeface="Arial"/>
              <a:buChar char="•"/>
              <a:defRPr sz="2000"/>
            </a:lvl2pPr>
            <a:lvl3pPr marL="575986" indent="-287993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3978" indent="-287993">
              <a:buClr>
                <a:schemeClr val="accent1"/>
              </a:buClr>
              <a:buFont typeface="Arial"/>
              <a:buChar char="•"/>
              <a:defRPr sz="2000"/>
            </a:lvl4pPr>
            <a:lvl5pPr marL="1151972" indent="-287993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 dirty="0"/>
              <a:t>Click to edit small text</a:t>
            </a:r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1021715" y="2617047"/>
            <a:ext cx="720000" cy="7200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"/>
            </a:lvl1pPr>
          </a:lstStyle>
          <a:p>
            <a:r>
              <a:rPr lang="en-GB" noProof="0"/>
              <a:t>Icon 2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1830011" y="3659868"/>
            <a:ext cx="5488365" cy="3492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marL="0" indent="0">
              <a:buFontTx/>
              <a:buNone/>
              <a:defRPr sz="2400" b="0"/>
            </a:lvl1pPr>
            <a:lvl2pPr marL="0" indent="-287993">
              <a:buClr>
                <a:schemeClr val="accent3"/>
              </a:buClr>
              <a:buFont typeface="Arial"/>
              <a:buChar char="•"/>
              <a:defRPr sz="2000"/>
            </a:lvl2pPr>
            <a:lvl3pPr marL="575986" indent="-287993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3978" indent="-287993">
              <a:buClr>
                <a:schemeClr val="accent1"/>
              </a:buClr>
              <a:buFont typeface="Arial"/>
              <a:buChar char="•"/>
              <a:defRPr sz="2000"/>
            </a:lvl4pPr>
            <a:lvl5pPr marL="1151972" indent="-287993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 dirty="0"/>
              <a:t>Click to edit big text 3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830011" y="4073072"/>
            <a:ext cx="5488365" cy="657677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>
              <a:buFontTx/>
              <a:buNone/>
              <a:defRPr sz="1800"/>
            </a:lvl1pPr>
            <a:lvl2pPr marL="0" indent="-287993">
              <a:buClr>
                <a:schemeClr val="accent3"/>
              </a:buClr>
              <a:buFont typeface="Arial"/>
              <a:buChar char="•"/>
              <a:defRPr sz="2000"/>
            </a:lvl2pPr>
            <a:lvl3pPr marL="575986" indent="-287993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3978" indent="-287993">
              <a:buClr>
                <a:schemeClr val="accent1"/>
              </a:buClr>
              <a:buFont typeface="Arial"/>
              <a:buChar char="•"/>
              <a:defRPr sz="2000"/>
            </a:lvl4pPr>
            <a:lvl5pPr marL="1151972" indent="-287993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 dirty="0"/>
              <a:t>Click to edit small text</a:t>
            </a:r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21" hasCustomPrompt="1"/>
          </p:nvPr>
        </p:nvSpPr>
        <p:spPr>
          <a:xfrm>
            <a:off x="1021488" y="3713071"/>
            <a:ext cx="720000" cy="7200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"/>
            </a:lvl1pPr>
          </a:lstStyle>
          <a:p>
            <a:r>
              <a:rPr lang="en-GB" noProof="0"/>
              <a:t>Icon 3</a:t>
            </a:r>
          </a:p>
        </p:txBody>
      </p:sp>
    </p:spTree>
    <p:extLst>
      <p:ext uri="{BB962C8B-B14F-4D97-AF65-F5344CB8AC3E}">
        <p14:creationId xmlns:p14="http://schemas.microsoft.com/office/powerpoint/2010/main" val="6993655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Layout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2519234" y="4864741"/>
            <a:ext cx="2057400" cy="207708"/>
          </a:xfrm>
          <a:prstGeom prst="rect">
            <a:avLst/>
          </a:prstGeom>
        </p:spPr>
        <p:txBody>
          <a:bodyPr/>
          <a:lstStyle/>
          <a:p>
            <a:pPr defTabSz="457189"/>
            <a:fld id="{409380A1-740C-46EB-A44F-F48F9C8FED37}" type="datetime1">
              <a:rPr lang="ru-RU" smtClean="0">
                <a:solidFill>
                  <a:srgbClr val="323232"/>
                </a:solidFill>
              </a:rPr>
              <a:pPr defTabSz="457189"/>
              <a:t>04.09.2021</a:t>
            </a:fld>
            <a:endParaRPr lang="fr-CH">
              <a:solidFill>
                <a:srgbClr val="323232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581269" y="4864741"/>
            <a:ext cx="4109160" cy="207708"/>
          </a:xfrm>
          <a:prstGeom prst="rect">
            <a:avLst/>
          </a:prstGeom>
        </p:spPr>
        <p:txBody>
          <a:bodyPr/>
          <a:lstStyle/>
          <a:p>
            <a:pPr defTabSz="457189"/>
            <a:endParaRPr lang="fr-CH" dirty="0">
              <a:solidFill>
                <a:srgbClr val="323232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57199" y="4864741"/>
            <a:ext cx="2057400" cy="207708"/>
          </a:xfrm>
          <a:prstGeom prst="rect">
            <a:avLst/>
          </a:prstGeom>
        </p:spPr>
        <p:txBody>
          <a:bodyPr/>
          <a:lstStyle/>
          <a:p>
            <a:pPr defTabSz="457189"/>
            <a:fld id="{9D5C9B18-DC48-42D9-8292-D3CD238A315E}" type="slidenum">
              <a:rPr lang="fr-CH" smtClean="0">
                <a:solidFill>
                  <a:srgbClr val="323232"/>
                </a:solidFill>
              </a:rPr>
              <a:pPr defTabSz="457189"/>
              <a:t>‹#›</a:t>
            </a:fld>
            <a:endParaRPr lang="fr-CH">
              <a:solidFill>
                <a:srgbClr val="323232"/>
              </a:solidFill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457200" y="1370013"/>
            <a:ext cx="7247239" cy="3387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33573752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2" y="205979"/>
            <a:ext cx="6860419" cy="441337"/>
          </a:xfrm>
          <a:prstGeom prst="rect">
            <a:avLst/>
          </a:prstGeom>
        </p:spPr>
        <p:txBody>
          <a:bodyPr lIns="0" tIns="46800" rIns="0" bIns="0" anchor="t"/>
          <a:lstStyle>
            <a:lvl1pPr algn="l">
              <a:defRPr sz="3000"/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830011" y="4866821"/>
            <a:ext cx="1375228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pPr defTabSz="457189"/>
            <a:fld id="{439F7796-8C99-034E-98DE-4C703EDD7C1A}" type="datetime3">
              <a:rPr lang="en-US" smtClean="0">
                <a:solidFill>
                  <a:srgbClr val="40C8F4"/>
                </a:solidFill>
              </a:rPr>
              <a:pPr defTabSz="457189"/>
              <a:t>4 September 2021</a:t>
            </a:fld>
            <a:endParaRPr lang="en-GB">
              <a:solidFill>
                <a:srgbClr val="40C8F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00" y="4866821"/>
            <a:ext cx="4118429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pPr defTabSz="457189"/>
            <a:r>
              <a:rPr lang="en-GB">
                <a:solidFill>
                  <a:srgbClr val="40C8F4"/>
                </a:solidFill>
              </a:rPr>
              <a:t>Presentation title/URL could go here – Change in footer options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1" y="4866821"/>
            <a:ext cx="1284515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pPr defTabSz="457189"/>
            <a:fld id="{8BC4BD7E-6A9D-424B-9890-D8BA950DB6FF}" type="slidenum">
              <a:rPr lang="en-GB" smtClean="0">
                <a:solidFill>
                  <a:srgbClr val="40C8F4"/>
                </a:solidFill>
              </a:rPr>
              <a:pPr defTabSz="457189"/>
              <a:t>‹#›</a:t>
            </a:fld>
            <a:endParaRPr lang="en-GB">
              <a:solidFill>
                <a:srgbClr val="40C8F4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57199" y="4862519"/>
            <a:ext cx="8233230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457202" y="830037"/>
            <a:ext cx="8232775" cy="393700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/>
            </a:lvl1pPr>
          </a:lstStyle>
          <a:p>
            <a:r>
              <a:rPr lang="en-GB" noProof="0"/>
              <a:t>image</a:t>
            </a:r>
          </a:p>
        </p:txBody>
      </p:sp>
      <p:pic>
        <p:nvPicPr>
          <p:cNvPr id="9" name="Picture 8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5929" y="228632"/>
            <a:ext cx="694500" cy="418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96159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2" y="205979"/>
            <a:ext cx="6860419" cy="959700"/>
          </a:xfrm>
          <a:prstGeom prst="rect">
            <a:avLst/>
          </a:prstGeom>
        </p:spPr>
        <p:txBody>
          <a:bodyPr lIns="0" tIns="46800" rIns="0" bIns="0" anchor="t"/>
          <a:lstStyle>
            <a:lvl1pPr algn="l">
              <a:defRPr sz="3000"/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830011" y="4866821"/>
            <a:ext cx="1375228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pPr defTabSz="457189"/>
            <a:endParaRPr lang="en-GB">
              <a:solidFill>
                <a:srgbClr val="0052A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00" y="4866821"/>
            <a:ext cx="4118429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pPr defTabSz="457189"/>
            <a:r>
              <a:rPr lang="en-GB">
                <a:solidFill>
                  <a:srgbClr val="0052A4"/>
                </a:solidFill>
              </a:rPr>
              <a:t>IRU pilot project: TIR fot alcohol</a:t>
            </a:r>
            <a:endParaRPr lang="en-GB" dirty="0">
              <a:solidFill>
                <a:srgbClr val="0052A4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1" y="4866821"/>
            <a:ext cx="1284515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pPr defTabSz="457189"/>
            <a:fld id="{8BC4BD7E-6A9D-424B-9890-D8BA950DB6FF}" type="slidenum">
              <a:rPr lang="en-GB" smtClean="0">
                <a:solidFill>
                  <a:srgbClr val="0052A4"/>
                </a:solidFill>
              </a:rPr>
              <a:pPr defTabSz="457189"/>
              <a:t>‹#›</a:t>
            </a:fld>
            <a:endParaRPr lang="en-GB">
              <a:solidFill>
                <a:srgbClr val="0052A4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57199" y="4862519"/>
            <a:ext cx="8233230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10" name="Picture 9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5929" y="228632"/>
            <a:ext cx="694500" cy="418684"/>
          </a:xfrm>
          <a:prstGeom prst="rect">
            <a:avLst/>
          </a:prstGeom>
        </p:spPr>
      </p:pic>
      <p:sp>
        <p:nvSpPr>
          <p:cNvPr id="1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57201" y="1503173"/>
            <a:ext cx="6860420" cy="322714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2000"/>
            </a:lvl1pPr>
            <a:lvl2pPr marL="0" indent="-287993">
              <a:buClr>
                <a:schemeClr val="accent3"/>
              </a:buClr>
              <a:buFont typeface="Arial"/>
              <a:buChar char="•"/>
              <a:defRPr sz="2000"/>
            </a:lvl2pPr>
            <a:lvl3pPr marL="1079973" indent="-431990">
              <a:buClr>
                <a:schemeClr val="accent3"/>
              </a:buClr>
              <a:buSzPct val="100000"/>
              <a:buFont typeface="Lucida Grande"/>
              <a:buChar char="-"/>
              <a:defRPr sz="2000"/>
            </a:lvl3pPr>
            <a:lvl4pPr marL="1799955" indent="-287993">
              <a:buClr>
                <a:schemeClr val="tx1">
                  <a:lumMod val="50000"/>
                  <a:lumOff val="50000"/>
                </a:schemeClr>
              </a:buClr>
              <a:buFont typeface="Arial"/>
              <a:buChar char="•"/>
              <a:defRPr sz="2000"/>
            </a:lvl4pPr>
            <a:lvl5pPr marL="2519937" indent="-431990">
              <a:buClr>
                <a:schemeClr val="tx1">
                  <a:lumMod val="50000"/>
                  <a:lumOff val="50000"/>
                </a:schemeClr>
              </a:buClr>
              <a:buFont typeface="Lucida Grande"/>
              <a:buChar char="-"/>
              <a:defRPr sz="20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7984809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 01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" y="2038651"/>
            <a:ext cx="1827363" cy="99131"/>
          </a:xfrm>
          <a:prstGeom prst="rect">
            <a:avLst/>
          </a:prstGeom>
          <a:solidFill>
            <a:srgbClr val="FFD6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27364" y="2227036"/>
            <a:ext cx="4633450" cy="88446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2800">
                <a:latin typeface="Arial"/>
                <a:cs typeface="Arial"/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27364" y="3229428"/>
            <a:ext cx="3082408" cy="53975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edit subtitle (optional)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1827215" y="3905250"/>
            <a:ext cx="3082927" cy="21317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1200" b="1">
                <a:latin typeface="Arial"/>
                <a:cs typeface="Arial"/>
              </a:defRPr>
            </a:lvl1pPr>
            <a:lvl2pPr marL="457200" indent="0">
              <a:buNone/>
              <a:defRPr sz="1400" b="1">
                <a:latin typeface="Arial"/>
                <a:cs typeface="Arial"/>
              </a:defRPr>
            </a:lvl2pPr>
            <a:lvl3pPr marL="914400" indent="0">
              <a:buNone/>
              <a:defRPr sz="1200" b="1">
                <a:latin typeface="Arial"/>
                <a:cs typeface="Arial"/>
              </a:defRPr>
            </a:lvl3pPr>
            <a:lvl4pPr marL="1371600" indent="0">
              <a:buNone/>
              <a:defRPr sz="1100" b="1">
                <a:latin typeface="Arial"/>
                <a:cs typeface="Arial"/>
              </a:defRPr>
            </a:lvl4pPr>
            <a:lvl5pPr marL="1828800" indent="0">
              <a:buNone/>
              <a:defRPr sz="1100" b="1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date (optional)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1827215" y="4118372"/>
            <a:ext cx="3082927" cy="2131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>
                <a:latin typeface="Arial"/>
                <a:cs typeface="Arial"/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  <a:lvl3pPr marL="914400" indent="0">
              <a:buNone/>
              <a:defRPr sz="1400">
                <a:latin typeface="Arial"/>
                <a:cs typeface="Arial"/>
              </a:defRPr>
            </a:lvl3pPr>
            <a:lvl4pPr marL="1371600" indent="0">
              <a:buNone/>
              <a:defRPr sz="1200">
                <a:latin typeface="Arial"/>
                <a:cs typeface="Arial"/>
              </a:defRPr>
            </a:lvl4pPr>
            <a:lvl5pPr marL="1828800" indent="0">
              <a:buNone/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place (optional)</a:t>
            </a:r>
          </a:p>
        </p:txBody>
      </p:sp>
      <p:pic>
        <p:nvPicPr>
          <p:cNvPr id="11" name="Picture 10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4810" y="1032469"/>
            <a:ext cx="905619" cy="545959"/>
          </a:xfrm>
          <a:prstGeom prst="rect">
            <a:avLst/>
          </a:prstGeom>
        </p:spPr>
      </p:pic>
      <p:sp>
        <p:nvSpPr>
          <p:cNvPr id="12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1827215" y="4484748"/>
            <a:ext cx="3082927" cy="2131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>
                <a:latin typeface="Arial"/>
                <a:cs typeface="Arial"/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  <a:lvl3pPr marL="914400" indent="0">
              <a:buNone/>
              <a:defRPr sz="1400">
                <a:latin typeface="Arial"/>
                <a:cs typeface="Arial"/>
              </a:defRPr>
            </a:lvl3pPr>
            <a:lvl4pPr marL="1371600" indent="0">
              <a:buNone/>
              <a:defRPr sz="1200">
                <a:latin typeface="Arial"/>
                <a:cs typeface="Arial"/>
              </a:defRPr>
            </a:lvl4pPr>
            <a:lvl5pPr marL="1828800" indent="0">
              <a:buNone/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 err="1"/>
              <a:t>iru.org</a:t>
            </a:r>
            <a:r>
              <a:rPr lang="en-GB" noProof="0" dirty="0"/>
              <a:t> (optional)</a:t>
            </a:r>
          </a:p>
        </p:txBody>
      </p:sp>
    </p:spTree>
    <p:extLst>
      <p:ext uri="{BB962C8B-B14F-4D97-AF65-F5344CB8AC3E}">
        <p14:creationId xmlns:p14="http://schemas.microsoft.com/office/powerpoint/2010/main" val="26044519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0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457199" y="2137783"/>
            <a:ext cx="6119072" cy="262948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noProof="0" dirty="0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" y="2038651"/>
            <a:ext cx="1827363" cy="99131"/>
          </a:xfrm>
          <a:prstGeom prst="rect">
            <a:avLst/>
          </a:prstGeom>
          <a:solidFill>
            <a:srgbClr val="FFD6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457199" y="396546"/>
            <a:ext cx="1181705" cy="1846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900" b="1" noProof="0" dirty="0">
                <a:solidFill>
                  <a:srgbClr val="0052A4"/>
                </a:solidFill>
                <a:latin typeface=""/>
              </a:rPr>
              <a:t>iru.org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27363" y="2227036"/>
            <a:ext cx="4657505" cy="67582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2800">
                <a:latin typeface="Arial"/>
                <a:cs typeface="Arial"/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2" hasCustomPrompt="1"/>
          </p:nvPr>
        </p:nvSpPr>
        <p:spPr>
          <a:xfrm>
            <a:off x="4024136" y="3107532"/>
            <a:ext cx="2552135" cy="1659732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Insert pictur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4024138" y="4767264"/>
            <a:ext cx="2552134" cy="271915"/>
          </a:xfrm>
          <a:prstGeom prst="rect">
            <a:avLst/>
          </a:prstGeom>
          <a:solidFill>
            <a:srgbClr val="00B5F0">
              <a:alpha val="51000"/>
            </a:srgb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noProof="0" dirty="0">
              <a:solidFill>
                <a:srgbClr val="000000"/>
              </a:solidFill>
            </a:endParaRPr>
          </a:p>
        </p:txBody>
      </p:sp>
      <p:pic>
        <p:nvPicPr>
          <p:cNvPr id="13" name="Picture 12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4810" y="1032469"/>
            <a:ext cx="905619" cy="545959"/>
          </a:xfrm>
          <a:prstGeom prst="rect">
            <a:avLst/>
          </a:prstGeom>
        </p:spPr>
      </p:pic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27364" y="3229428"/>
            <a:ext cx="2112510" cy="53975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edit subtitle (optional)</a:t>
            </a:r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1827216" y="3905250"/>
            <a:ext cx="2112866" cy="21317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1200" b="1">
                <a:latin typeface="Arial"/>
                <a:cs typeface="Arial"/>
              </a:defRPr>
            </a:lvl1pPr>
            <a:lvl2pPr marL="457200" indent="0">
              <a:buNone/>
              <a:defRPr sz="1400" b="1">
                <a:latin typeface="Arial"/>
                <a:cs typeface="Arial"/>
              </a:defRPr>
            </a:lvl2pPr>
            <a:lvl3pPr marL="914400" indent="0">
              <a:buNone/>
              <a:defRPr sz="1200" b="1">
                <a:latin typeface="Arial"/>
                <a:cs typeface="Arial"/>
              </a:defRPr>
            </a:lvl3pPr>
            <a:lvl4pPr marL="1371600" indent="0">
              <a:buNone/>
              <a:defRPr sz="1100" b="1">
                <a:latin typeface="Arial"/>
                <a:cs typeface="Arial"/>
              </a:defRPr>
            </a:lvl4pPr>
            <a:lvl5pPr marL="1828800" indent="0">
              <a:buNone/>
              <a:defRPr sz="1100" b="1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date (optional)</a:t>
            </a: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1827216" y="4118372"/>
            <a:ext cx="2112866" cy="2131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>
                <a:latin typeface="Arial"/>
                <a:cs typeface="Arial"/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  <a:lvl3pPr marL="914400" indent="0">
              <a:buNone/>
              <a:defRPr sz="1400">
                <a:latin typeface="Arial"/>
                <a:cs typeface="Arial"/>
              </a:defRPr>
            </a:lvl3pPr>
            <a:lvl4pPr marL="1371600" indent="0">
              <a:buNone/>
              <a:defRPr sz="1200">
                <a:latin typeface="Arial"/>
                <a:cs typeface="Arial"/>
              </a:defRPr>
            </a:lvl4pPr>
            <a:lvl5pPr marL="1828800" indent="0">
              <a:buNone/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place (optional)</a:t>
            </a:r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1827216" y="4484748"/>
            <a:ext cx="2112866" cy="2131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>
                <a:latin typeface="Arial"/>
                <a:cs typeface="Arial"/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  <a:lvl3pPr marL="914400" indent="0">
              <a:buNone/>
              <a:defRPr sz="1400">
                <a:latin typeface="Arial"/>
                <a:cs typeface="Arial"/>
              </a:defRPr>
            </a:lvl3pPr>
            <a:lvl4pPr marL="1371600" indent="0">
              <a:buNone/>
              <a:defRPr sz="1200">
                <a:latin typeface="Arial"/>
                <a:cs typeface="Arial"/>
              </a:defRPr>
            </a:lvl4pPr>
            <a:lvl5pPr marL="1828800" indent="0">
              <a:buNone/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 err="1"/>
              <a:t>iru.org</a:t>
            </a:r>
            <a:r>
              <a:rPr lang="en-GB" noProof="0" dirty="0"/>
              <a:t> (optional)</a:t>
            </a:r>
          </a:p>
        </p:txBody>
      </p:sp>
    </p:spTree>
    <p:extLst>
      <p:ext uri="{BB962C8B-B14F-4D97-AF65-F5344CB8AC3E}">
        <p14:creationId xmlns:p14="http://schemas.microsoft.com/office/powerpoint/2010/main" val="11565556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­- Simp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2" y="2038652"/>
            <a:ext cx="1827363" cy="99131"/>
          </a:xfrm>
          <a:prstGeom prst="rect">
            <a:avLst/>
          </a:prstGeom>
          <a:solidFill>
            <a:srgbClr val="FFD6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>
              <a:solidFill>
                <a:srgbClr val="32323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27216" y="2227037"/>
            <a:ext cx="4633450" cy="88446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ts val="3500"/>
              </a:lnSpc>
              <a:defRPr sz="3200">
                <a:latin typeface="Arial"/>
                <a:cs typeface="Arial"/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27216" y="3253813"/>
            <a:ext cx="3082408" cy="53975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Arial"/>
                <a:cs typeface="Arial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edit subtitle (optional)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1827216" y="3929635"/>
            <a:ext cx="3082927" cy="21317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1200" b="1">
                <a:latin typeface="Arial"/>
                <a:cs typeface="Arial"/>
              </a:defRPr>
            </a:lvl1pPr>
            <a:lvl2pPr marL="457189" indent="0">
              <a:buNone/>
              <a:defRPr sz="1400" b="1">
                <a:latin typeface="Arial"/>
                <a:cs typeface="Arial"/>
              </a:defRPr>
            </a:lvl2pPr>
            <a:lvl3pPr marL="914378" indent="0">
              <a:buNone/>
              <a:defRPr sz="1200" b="1">
                <a:latin typeface="Arial"/>
                <a:cs typeface="Arial"/>
              </a:defRPr>
            </a:lvl3pPr>
            <a:lvl4pPr marL="1371566" indent="0">
              <a:buNone/>
              <a:defRPr sz="1100" b="1">
                <a:latin typeface="Arial"/>
                <a:cs typeface="Arial"/>
              </a:defRPr>
            </a:lvl4pPr>
            <a:lvl5pPr marL="1828754" indent="0">
              <a:buNone/>
              <a:defRPr sz="1100" b="1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date (optional)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1827216" y="4142757"/>
            <a:ext cx="3082927" cy="2131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>
                <a:latin typeface="Arial"/>
                <a:cs typeface="Arial"/>
              </a:defRPr>
            </a:lvl1pPr>
            <a:lvl2pPr marL="457189" indent="0">
              <a:buNone/>
              <a:defRPr sz="1600">
                <a:latin typeface="Arial"/>
                <a:cs typeface="Arial"/>
              </a:defRPr>
            </a:lvl2pPr>
            <a:lvl3pPr marL="914378" indent="0">
              <a:buNone/>
              <a:defRPr sz="1400">
                <a:latin typeface="Arial"/>
                <a:cs typeface="Arial"/>
              </a:defRPr>
            </a:lvl3pPr>
            <a:lvl4pPr marL="1371566" indent="0">
              <a:buNone/>
              <a:defRPr sz="1200">
                <a:latin typeface="Arial"/>
                <a:cs typeface="Arial"/>
              </a:defRPr>
            </a:lvl4pPr>
            <a:lvl5pPr marL="1828754" indent="0">
              <a:buNone/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place or name (optional)</a:t>
            </a:r>
          </a:p>
        </p:txBody>
      </p:sp>
      <p:pic>
        <p:nvPicPr>
          <p:cNvPr id="11" name="Picture 10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4810" y="1032470"/>
            <a:ext cx="905619" cy="545959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754063" y="4478654"/>
            <a:ext cx="2438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89"/>
            <a:r>
              <a:rPr lang="fr-CH" sz="1200" dirty="0">
                <a:solidFill>
                  <a:srgbClr val="323232"/>
                </a:solidFill>
              </a:rPr>
              <a:t>iru.org</a:t>
            </a:r>
            <a:endParaRPr lang="fr-CH" dirty="0">
              <a:solidFill>
                <a:srgbClr val="3232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47744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­- Simp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2" y="2038652"/>
            <a:ext cx="1827363" cy="99131"/>
          </a:xfrm>
          <a:prstGeom prst="rect">
            <a:avLst/>
          </a:prstGeom>
          <a:solidFill>
            <a:srgbClr val="FFD6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>
              <a:solidFill>
                <a:srgbClr val="323232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457200" y="2137784"/>
            <a:ext cx="6114262" cy="262948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>
              <a:solidFill>
                <a:srgbClr val="000000"/>
              </a:solidFill>
            </a:endParaRPr>
          </a:p>
        </p:txBody>
      </p:sp>
      <p:pic>
        <p:nvPicPr>
          <p:cNvPr id="11" name="Picture 10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4810" y="1032470"/>
            <a:ext cx="905619" cy="545959"/>
          </a:xfrm>
          <a:prstGeom prst="rect">
            <a:avLst/>
          </a:prstGeom>
        </p:spPr>
      </p:pic>
      <p:sp>
        <p:nvSpPr>
          <p:cNvPr id="18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1827216" y="3929635"/>
            <a:ext cx="3082927" cy="21317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1200" b="1">
                <a:latin typeface="Arial"/>
                <a:cs typeface="Arial"/>
              </a:defRPr>
            </a:lvl1pPr>
            <a:lvl2pPr marL="457189" indent="0">
              <a:buNone/>
              <a:defRPr sz="1400" b="1">
                <a:latin typeface="Arial"/>
                <a:cs typeface="Arial"/>
              </a:defRPr>
            </a:lvl2pPr>
            <a:lvl3pPr marL="914378" indent="0">
              <a:buNone/>
              <a:defRPr sz="1200" b="1">
                <a:latin typeface="Arial"/>
                <a:cs typeface="Arial"/>
              </a:defRPr>
            </a:lvl3pPr>
            <a:lvl4pPr marL="1371566" indent="0">
              <a:buNone/>
              <a:defRPr sz="1100" b="1">
                <a:latin typeface="Arial"/>
                <a:cs typeface="Arial"/>
              </a:defRPr>
            </a:lvl4pPr>
            <a:lvl5pPr marL="1828754" indent="0">
              <a:buNone/>
              <a:defRPr sz="1100" b="1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date (optional)</a:t>
            </a:r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1827216" y="4142757"/>
            <a:ext cx="3082927" cy="2131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>
                <a:latin typeface="Arial"/>
                <a:cs typeface="Arial"/>
              </a:defRPr>
            </a:lvl1pPr>
            <a:lvl2pPr marL="457189" indent="0">
              <a:buNone/>
              <a:defRPr sz="1600">
                <a:latin typeface="Arial"/>
                <a:cs typeface="Arial"/>
              </a:defRPr>
            </a:lvl2pPr>
            <a:lvl3pPr marL="914378" indent="0">
              <a:buNone/>
              <a:defRPr sz="1400">
                <a:latin typeface="Arial"/>
                <a:cs typeface="Arial"/>
              </a:defRPr>
            </a:lvl3pPr>
            <a:lvl4pPr marL="1371566" indent="0">
              <a:buNone/>
              <a:defRPr sz="1200">
                <a:latin typeface="Arial"/>
                <a:cs typeface="Arial"/>
              </a:defRPr>
            </a:lvl4pPr>
            <a:lvl5pPr marL="1828754" indent="0">
              <a:buNone/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place or name (optional)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1827216" y="2227037"/>
            <a:ext cx="4633450" cy="88446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ts val="3500"/>
              </a:lnSpc>
              <a:defRPr sz="3200">
                <a:latin typeface="Arial"/>
                <a:cs typeface="Arial"/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27216" y="3253813"/>
            <a:ext cx="3082408" cy="53975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Arial"/>
                <a:cs typeface="Arial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edit subtitle (optional)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754063" y="4478654"/>
            <a:ext cx="2438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89"/>
            <a:r>
              <a:rPr lang="fr-CH" sz="1200" dirty="0">
                <a:solidFill>
                  <a:srgbClr val="323232"/>
                </a:solidFill>
              </a:rPr>
              <a:t>iru.org</a:t>
            </a:r>
            <a:endParaRPr lang="fr-CH" dirty="0">
              <a:solidFill>
                <a:srgbClr val="3232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199439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­-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457200" y="2137784"/>
            <a:ext cx="6119072" cy="262948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2" y="2038652"/>
            <a:ext cx="1827363" cy="99131"/>
          </a:xfrm>
          <a:prstGeom prst="rect">
            <a:avLst/>
          </a:prstGeom>
          <a:solidFill>
            <a:srgbClr val="FFD6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>
              <a:solidFill>
                <a:srgbClr val="323232"/>
              </a:solidFill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2" hasCustomPrompt="1"/>
          </p:nvPr>
        </p:nvSpPr>
        <p:spPr>
          <a:xfrm>
            <a:off x="4024137" y="3188208"/>
            <a:ext cx="2552135" cy="157905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/>
            </a:lvl1pPr>
          </a:lstStyle>
          <a:p>
            <a:r>
              <a:rPr lang="en-GB" noProof="0"/>
              <a:t>Insert pictur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4024139" y="4767265"/>
            <a:ext cx="2552134" cy="271915"/>
          </a:xfrm>
          <a:prstGeom prst="rect">
            <a:avLst/>
          </a:prstGeom>
          <a:solidFill>
            <a:schemeClr val="tx2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>
              <a:solidFill>
                <a:srgbClr val="000000"/>
              </a:solidFill>
            </a:endParaRPr>
          </a:p>
        </p:txBody>
      </p:sp>
      <p:pic>
        <p:nvPicPr>
          <p:cNvPr id="13" name="Picture 12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4810" y="1032470"/>
            <a:ext cx="905619" cy="545959"/>
          </a:xfrm>
          <a:prstGeom prst="rect">
            <a:avLst/>
          </a:prstGeom>
        </p:spPr>
      </p:pic>
      <p:sp>
        <p:nvSpPr>
          <p:cNvPr id="20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1827216" y="3929635"/>
            <a:ext cx="2055937" cy="21317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1200" b="1">
                <a:latin typeface="Arial"/>
                <a:cs typeface="Arial"/>
              </a:defRPr>
            </a:lvl1pPr>
            <a:lvl2pPr marL="457189" indent="0">
              <a:buNone/>
              <a:defRPr sz="1400" b="1">
                <a:latin typeface="Arial"/>
                <a:cs typeface="Arial"/>
              </a:defRPr>
            </a:lvl2pPr>
            <a:lvl3pPr marL="914378" indent="0">
              <a:buNone/>
              <a:defRPr sz="1200" b="1">
                <a:latin typeface="Arial"/>
                <a:cs typeface="Arial"/>
              </a:defRPr>
            </a:lvl3pPr>
            <a:lvl4pPr marL="1371566" indent="0">
              <a:buNone/>
              <a:defRPr sz="1100" b="1">
                <a:latin typeface="Arial"/>
                <a:cs typeface="Arial"/>
              </a:defRPr>
            </a:lvl4pPr>
            <a:lvl5pPr marL="1828754" indent="0">
              <a:buNone/>
              <a:defRPr sz="1100" b="1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date (optional)</a:t>
            </a:r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1827216" y="4142757"/>
            <a:ext cx="2055937" cy="2131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>
                <a:latin typeface="Arial"/>
                <a:cs typeface="Arial"/>
              </a:defRPr>
            </a:lvl1pPr>
            <a:lvl2pPr marL="457189" indent="0">
              <a:buNone/>
              <a:defRPr sz="1600">
                <a:latin typeface="Arial"/>
                <a:cs typeface="Arial"/>
              </a:defRPr>
            </a:lvl2pPr>
            <a:lvl3pPr marL="914378" indent="0">
              <a:buNone/>
              <a:defRPr sz="1400">
                <a:latin typeface="Arial"/>
                <a:cs typeface="Arial"/>
              </a:defRPr>
            </a:lvl3pPr>
            <a:lvl4pPr marL="1371566" indent="0">
              <a:buNone/>
              <a:defRPr sz="1200">
                <a:latin typeface="Arial"/>
                <a:cs typeface="Arial"/>
              </a:defRPr>
            </a:lvl4pPr>
            <a:lvl5pPr marL="1828754" indent="0">
              <a:buNone/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place (optional)</a:t>
            </a:r>
          </a:p>
        </p:txBody>
      </p:sp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1827216" y="2227037"/>
            <a:ext cx="4633450" cy="88446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ts val="3500"/>
              </a:lnSpc>
              <a:defRPr sz="3200">
                <a:latin typeface="Arial"/>
                <a:cs typeface="Arial"/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754063" y="4478654"/>
            <a:ext cx="2438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89"/>
            <a:r>
              <a:rPr lang="fr-CH" sz="1200" dirty="0">
                <a:solidFill>
                  <a:srgbClr val="323232"/>
                </a:solidFill>
              </a:rPr>
              <a:t>iru.org</a:t>
            </a:r>
            <a:endParaRPr lang="fr-CH" dirty="0">
              <a:solidFill>
                <a:srgbClr val="3232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063388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3477381" y="1557774"/>
            <a:ext cx="5666620" cy="2229548"/>
          </a:xfrm>
          <a:prstGeom prst="rect">
            <a:avLst/>
          </a:prstGeom>
          <a:solidFill>
            <a:schemeClr val="tx2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457201" y="1164629"/>
            <a:ext cx="5481563" cy="194233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2" y="1065499"/>
            <a:ext cx="1827363" cy="99131"/>
          </a:xfrm>
          <a:prstGeom prst="rect">
            <a:avLst/>
          </a:prstGeom>
          <a:solidFill>
            <a:srgbClr val="FFD6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>
              <a:solidFill>
                <a:srgbClr val="32323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27365" y="1253882"/>
            <a:ext cx="3917875" cy="995832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200">
                <a:latin typeface="Arial"/>
                <a:cs typeface="Arial"/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27365" y="2306168"/>
            <a:ext cx="3917875" cy="67379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Arial"/>
                <a:cs typeface="Arial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edit sub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765175" y="1000362"/>
            <a:ext cx="914400" cy="9144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0"/>
            </a:lvl1pPr>
          </a:lstStyle>
          <a:p>
            <a:pPr lvl="0"/>
            <a:r>
              <a:rPr lang="fr-CH" dirty="0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9399866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7165" y="1593557"/>
            <a:ext cx="1492891" cy="900000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762641" y="4592816"/>
            <a:ext cx="67358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457189"/>
            <a:r>
              <a:rPr lang="en-GB" sz="1200" b="1" dirty="0" err="1">
                <a:solidFill>
                  <a:srgbClr val="0070C0"/>
                </a:solidFill>
              </a:rPr>
              <a:t>iru.org</a:t>
            </a:r>
            <a:endParaRPr lang="en-GB" sz="1200" b="1" dirty="0">
              <a:solidFill>
                <a:srgbClr val="0070C0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238849" y="1599651"/>
            <a:ext cx="100800" cy="90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>
              <a:solidFill>
                <a:srgbClr val="323232"/>
              </a:solidFill>
            </a:endParaRPr>
          </a:p>
        </p:txBody>
      </p:sp>
      <p:sp>
        <p:nvSpPr>
          <p:cNvPr id="6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1591692" y="4600429"/>
            <a:ext cx="4601761" cy="29686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  <a:lvl2pPr marL="457189" indent="0">
              <a:buNone/>
              <a:defRPr sz="1100"/>
            </a:lvl2pPr>
            <a:lvl3pPr marL="914378" indent="0">
              <a:buNone/>
              <a:defRPr sz="1100"/>
            </a:lvl3pPr>
            <a:lvl4pPr marL="1371566" indent="0">
              <a:buNone/>
              <a:defRPr sz="1100"/>
            </a:lvl4pPr>
            <a:lvl5pPr marL="1828754" indent="0">
              <a:buNone/>
              <a:defRPr sz="1100"/>
            </a:lvl5pPr>
          </a:lstStyle>
          <a:p>
            <a:pPr lvl="0"/>
            <a:r>
              <a:rPr lang="fr-CH" dirty="0"/>
              <a:t>Optional contact information e.g. iru@iru.org</a:t>
            </a:r>
            <a:endParaRPr lang="en-GB" dirty="0"/>
          </a:p>
        </p:txBody>
      </p:sp>
      <p:sp>
        <p:nvSpPr>
          <p:cNvPr id="7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717052" y="1517214"/>
            <a:ext cx="5348384" cy="179455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aseline="0"/>
            </a:lvl1pPr>
            <a:lvl2pPr marL="457189" indent="0">
              <a:buNone/>
              <a:defRPr sz="2000"/>
            </a:lvl2pPr>
            <a:lvl3pPr marL="914378" indent="0">
              <a:buNone/>
              <a:defRPr sz="20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</a:lstStyle>
          <a:p>
            <a:pPr lvl="0"/>
            <a:r>
              <a:rPr lang="fr-CH" dirty="0"/>
              <a:t>Optional text e.g. key takeaway, uplifting quote, thanks or invite questions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322954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57200" y="1370014"/>
            <a:ext cx="7246938" cy="3387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35640226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Objec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57201" y="1370013"/>
            <a:ext cx="4003589" cy="33811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581270" y="1370013"/>
            <a:ext cx="4108706" cy="33811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001656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457201" y="1365939"/>
            <a:ext cx="8232775" cy="338523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819708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87297026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7199" y="3102662"/>
            <a:ext cx="8233230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457202" y="1727597"/>
            <a:ext cx="2670175" cy="128468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 baseline="0"/>
            </a:lvl1pPr>
          </a:lstStyle>
          <a:p>
            <a:r>
              <a:rPr lang="en-GB" noProof="0"/>
              <a:t>Pic 1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236913" y="1727597"/>
            <a:ext cx="2670175" cy="128468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 baseline="0"/>
            </a:lvl1pPr>
          </a:lstStyle>
          <a:p>
            <a:r>
              <a:rPr lang="en-GB" noProof="0"/>
              <a:t>Pic 2</a:t>
            </a: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6020256" y="1727597"/>
            <a:ext cx="2670175" cy="128468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 baseline="0"/>
            </a:lvl1pPr>
          </a:lstStyle>
          <a:p>
            <a:r>
              <a:rPr lang="en-GB" noProof="0"/>
              <a:t>Pic 3</a:t>
            </a:r>
          </a:p>
        </p:txBody>
      </p:sp>
      <p:sp>
        <p:nvSpPr>
          <p:cNvPr id="10" name="Text Placehold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2" y="3175398"/>
            <a:ext cx="2670175" cy="1360027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>
              <a:buNone/>
              <a:defRPr sz="1600" b="0" baseline="0"/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GB" noProof="0" dirty="0"/>
              <a:t>Heading 1 to go here</a:t>
            </a:r>
          </a:p>
          <a:p>
            <a:pPr lvl="0"/>
            <a:r>
              <a:rPr lang="en-GB" noProof="0" dirty="0" err="1"/>
              <a:t>Lorem</a:t>
            </a:r>
            <a:r>
              <a:rPr lang="en-GB" noProof="0" dirty="0"/>
              <a:t> </a:t>
            </a:r>
            <a:r>
              <a:rPr lang="en-GB" noProof="0" dirty="0" err="1"/>
              <a:t>ipsum</a:t>
            </a:r>
            <a:r>
              <a:rPr lang="en-GB" noProof="0" dirty="0"/>
              <a:t>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, </a:t>
            </a:r>
            <a:r>
              <a:rPr lang="en-GB" noProof="0" dirty="0" err="1"/>
              <a:t>consectetuer</a:t>
            </a:r>
            <a:r>
              <a:rPr lang="en-GB" noProof="0" dirty="0"/>
              <a:t> </a:t>
            </a:r>
            <a:r>
              <a:rPr lang="en-GB" noProof="0" dirty="0" err="1"/>
              <a:t>adipiscing</a:t>
            </a:r>
            <a:r>
              <a:rPr lang="en-GB" noProof="0" dirty="0"/>
              <a:t> </a:t>
            </a:r>
            <a:r>
              <a:rPr lang="en-GB" noProof="0" dirty="0" err="1"/>
              <a:t>elit</a:t>
            </a:r>
            <a:r>
              <a:rPr lang="en-GB" noProof="0" dirty="0"/>
              <a:t>, </a:t>
            </a:r>
            <a:r>
              <a:rPr lang="en-GB" noProof="0" dirty="0" err="1"/>
              <a:t>nonummy</a:t>
            </a:r>
            <a:r>
              <a:rPr lang="en-GB" noProof="0" dirty="0"/>
              <a:t> </a:t>
            </a:r>
            <a:r>
              <a:rPr lang="en-GB" noProof="0" dirty="0" err="1"/>
              <a:t>nibh</a:t>
            </a:r>
            <a:r>
              <a:rPr lang="en-GB" noProof="0" dirty="0"/>
              <a:t> </a:t>
            </a:r>
            <a:r>
              <a:rPr lang="en-GB" noProof="0" dirty="0" err="1"/>
              <a:t>euismod</a:t>
            </a:r>
            <a:r>
              <a:rPr lang="en-GB" noProof="0" dirty="0"/>
              <a:t> </a:t>
            </a:r>
            <a:r>
              <a:rPr lang="en-GB" noProof="0" dirty="0" err="1"/>
              <a:t>tunt</a:t>
            </a:r>
            <a:endParaRPr lang="en-GB" noProof="0" dirty="0"/>
          </a:p>
        </p:txBody>
      </p:sp>
      <p:sp>
        <p:nvSpPr>
          <p:cNvPr id="11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3236913" y="3175398"/>
            <a:ext cx="2670175" cy="1360027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>
              <a:buNone/>
              <a:defRPr sz="1600" b="0" baseline="0"/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GB" noProof="0" dirty="0"/>
              <a:t>Heading 2 to go here</a:t>
            </a:r>
          </a:p>
          <a:p>
            <a:pPr lvl="0"/>
            <a:r>
              <a:rPr lang="en-GB" noProof="0" dirty="0" err="1"/>
              <a:t>Lorem</a:t>
            </a:r>
            <a:r>
              <a:rPr lang="en-GB" noProof="0" dirty="0"/>
              <a:t> </a:t>
            </a:r>
            <a:r>
              <a:rPr lang="en-GB" noProof="0" dirty="0" err="1"/>
              <a:t>ipsum</a:t>
            </a:r>
            <a:r>
              <a:rPr lang="en-GB" noProof="0" dirty="0"/>
              <a:t>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, </a:t>
            </a:r>
            <a:r>
              <a:rPr lang="en-GB" noProof="0" dirty="0" err="1"/>
              <a:t>consectetuer</a:t>
            </a:r>
            <a:r>
              <a:rPr lang="en-GB" noProof="0" dirty="0"/>
              <a:t> </a:t>
            </a:r>
            <a:r>
              <a:rPr lang="en-GB" noProof="0" dirty="0" err="1"/>
              <a:t>adipiscing</a:t>
            </a:r>
            <a:r>
              <a:rPr lang="en-GB" noProof="0" dirty="0"/>
              <a:t> </a:t>
            </a:r>
            <a:r>
              <a:rPr lang="en-GB" noProof="0" dirty="0" err="1"/>
              <a:t>elit</a:t>
            </a:r>
            <a:r>
              <a:rPr lang="en-GB" noProof="0" dirty="0"/>
              <a:t>, </a:t>
            </a:r>
            <a:r>
              <a:rPr lang="en-GB" noProof="0" dirty="0" err="1"/>
              <a:t>nonummy</a:t>
            </a:r>
            <a:r>
              <a:rPr lang="en-GB" noProof="0" dirty="0"/>
              <a:t> </a:t>
            </a:r>
            <a:r>
              <a:rPr lang="en-GB" noProof="0" dirty="0" err="1"/>
              <a:t>nibh</a:t>
            </a:r>
            <a:r>
              <a:rPr lang="en-GB" noProof="0" dirty="0"/>
              <a:t> </a:t>
            </a:r>
            <a:r>
              <a:rPr lang="en-GB" noProof="0" dirty="0" err="1"/>
              <a:t>euismod</a:t>
            </a:r>
            <a:r>
              <a:rPr lang="en-GB" noProof="0" dirty="0"/>
              <a:t> </a:t>
            </a:r>
            <a:r>
              <a:rPr lang="en-GB" noProof="0" dirty="0" err="1"/>
              <a:t>tunt</a:t>
            </a:r>
            <a:endParaRPr lang="en-GB" noProof="0" dirty="0"/>
          </a:p>
        </p:txBody>
      </p:sp>
      <p:sp>
        <p:nvSpPr>
          <p:cNvPr id="12" name="Text Placeholder 22"/>
          <p:cNvSpPr>
            <a:spLocks noGrp="1"/>
          </p:cNvSpPr>
          <p:nvPr>
            <p:ph type="body" sz="quarter" idx="18" hasCustomPrompt="1"/>
          </p:nvPr>
        </p:nvSpPr>
        <p:spPr>
          <a:xfrm>
            <a:off x="6020255" y="3175398"/>
            <a:ext cx="2670175" cy="1360027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>
              <a:buNone/>
              <a:defRPr sz="1600" b="0" baseline="0"/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GB" noProof="0" dirty="0"/>
              <a:t>Heading 3 to go here</a:t>
            </a:r>
          </a:p>
          <a:p>
            <a:pPr lvl="0"/>
            <a:r>
              <a:rPr lang="en-GB" noProof="0" dirty="0" err="1"/>
              <a:t>Lorem</a:t>
            </a:r>
            <a:r>
              <a:rPr lang="en-GB" noProof="0" dirty="0"/>
              <a:t> </a:t>
            </a:r>
            <a:r>
              <a:rPr lang="en-GB" noProof="0" dirty="0" err="1"/>
              <a:t>ipsum</a:t>
            </a:r>
            <a:r>
              <a:rPr lang="en-GB" noProof="0" dirty="0"/>
              <a:t>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, </a:t>
            </a:r>
            <a:r>
              <a:rPr lang="en-GB" noProof="0" dirty="0" err="1"/>
              <a:t>consectetuer</a:t>
            </a:r>
            <a:r>
              <a:rPr lang="en-GB" noProof="0" dirty="0"/>
              <a:t> </a:t>
            </a:r>
            <a:r>
              <a:rPr lang="en-GB" noProof="0" dirty="0" err="1"/>
              <a:t>adipiscing</a:t>
            </a:r>
            <a:r>
              <a:rPr lang="en-GB" noProof="0" dirty="0"/>
              <a:t> </a:t>
            </a:r>
            <a:r>
              <a:rPr lang="en-GB" noProof="0" dirty="0" err="1"/>
              <a:t>elit</a:t>
            </a:r>
            <a:r>
              <a:rPr lang="en-GB" noProof="0" dirty="0"/>
              <a:t>, </a:t>
            </a:r>
            <a:r>
              <a:rPr lang="en-GB" noProof="0" dirty="0" err="1"/>
              <a:t>nonummy</a:t>
            </a:r>
            <a:r>
              <a:rPr lang="en-GB" noProof="0" dirty="0"/>
              <a:t> </a:t>
            </a:r>
            <a:r>
              <a:rPr lang="en-GB" noProof="0" dirty="0" err="1"/>
              <a:t>nibh</a:t>
            </a:r>
            <a:r>
              <a:rPr lang="en-GB" noProof="0" dirty="0"/>
              <a:t> </a:t>
            </a:r>
            <a:r>
              <a:rPr lang="en-GB" noProof="0" dirty="0" err="1"/>
              <a:t>euismod</a:t>
            </a:r>
            <a:r>
              <a:rPr lang="en-GB" noProof="0" dirty="0"/>
              <a:t> </a:t>
            </a:r>
            <a:r>
              <a:rPr lang="en-GB" noProof="0" dirty="0" err="1"/>
              <a:t>tunt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0548575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205979"/>
            <a:ext cx="6860419" cy="959700"/>
          </a:xfrm>
          <a:prstGeom prst="rect">
            <a:avLst/>
          </a:prstGeom>
        </p:spPr>
        <p:txBody>
          <a:bodyPr lIns="0" tIns="46800" rIns="0" bIns="0" anchor="t"/>
          <a:lstStyle>
            <a:lvl1pPr algn="l">
              <a:defRPr sz="3000"/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830010" y="4866821"/>
            <a:ext cx="1375228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E3A03981-5748-4D7C-80EE-6FE1F850597C}" type="datetime1">
              <a:rPr lang="en-US" noProof="0" smtClean="0"/>
              <a:t>04/09/2021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1999" y="4866821"/>
            <a:ext cx="4118429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noProof="0"/>
              <a:t>Санкт-Петербург  4 апреля 2019 г.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4866821"/>
            <a:ext cx="1284515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8BC4BD7E-6A9D-424B-9890-D8BA950DB6F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57199" y="4862519"/>
            <a:ext cx="8233230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10" name="Picture 9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5929" y="228631"/>
            <a:ext cx="694500" cy="418684"/>
          </a:xfrm>
          <a:prstGeom prst="rect">
            <a:avLst/>
          </a:prstGeom>
        </p:spPr>
      </p:pic>
      <p:sp>
        <p:nvSpPr>
          <p:cNvPr id="1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57200" y="1503172"/>
            <a:ext cx="6860420" cy="322714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2000"/>
            </a:lvl1pPr>
            <a:lvl2pPr marL="0" indent="-288000">
              <a:buClr>
                <a:schemeClr val="accent3"/>
              </a:buClr>
              <a:buFont typeface="Arial"/>
              <a:buChar char="•"/>
              <a:defRPr sz="2000"/>
            </a:lvl2pPr>
            <a:lvl3pPr marL="1080000" indent="-432000">
              <a:buClr>
                <a:schemeClr val="accent3"/>
              </a:buClr>
              <a:buSzPct val="100000"/>
              <a:buFont typeface="Lucida Grande"/>
              <a:buChar char="-"/>
              <a:defRPr sz="2000"/>
            </a:lvl3pPr>
            <a:lvl4pPr marL="1800000" indent="-288000">
              <a:buClr>
                <a:schemeClr val="tx1">
                  <a:lumMod val="50000"/>
                  <a:lumOff val="50000"/>
                </a:schemeClr>
              </a:buClr>
              <a:buFont typeface="Arial"/>
              <a:buChar char="•"/>
              <a:defRPr sz="2000"/>
            </a:lvl4pPr>
            <a:lvl5pPr marL="2520000" indent="-432000">
              <a:buClr>
                <a:schemeClr val="tx1">
                  <a:lumMod val="50000"/>
                  <a:lumOff val="50000"/>
                </a:schemeClr>
              </a:buClr>
              <a:buFont typeface="Lucida Grande"/>
              <a:buChar char="-"/>
              <a:defRPr sz="2000"/>
            </a:lvl5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6909162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830011" y="1441903"/>
            <a:ext cx="5488365" cy="3492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marL="0" indent="0">
              <a:buFontTx/>
              <a:buNone/>
              <a:defRPr sz="2400" b="0"/>
            </a:lvl1pPr>
            <a:lvl2pPr marL="0" indent="-287993">
              <a:buClr>
                <a:schemeClr val="accent3"/>
              </a:buClr>
              <a:buFont typeface="Arial"/>
              <a:buChar char="•"/>
              <a:defRPr sz="2000"/>
            </a:lvl2pPr>
            <a:lvl3pPr marL="575986" indent="-287993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3978" indent="-287993">
              <a:buClr>
                <a:schemeClr val="accent1"/>
              </a:buClr>
              <a:buFont typeface="Arial"/>
              <a:buChar char="•"/>
              <a:defRPr sz="2000"/>
            </a:lvl4pPr>
            <a:lvl5pPr marL="1151972" indent="-287993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 dirty="0"/>
              <a:t>Click to edit big text 1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830011" y="1855106"/>
            <a:ext cx="5488365" cy="657677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>
              <a:buFontTx/>
              <a:buNone/>
              <a:defRPr sz="1800"/>
            </a:lvl1pPr>
            <a:lvl2pPr marL="0" indent="-287993">
              <a:buClr>
                <a:schemeClr val="accent3"/>
              </a:buClr>
              <a:buFont typeface="Arial"/>
              <a:buChar char="•"/>
              <a:defRPr sz="2000"/>
            </a:lvl2pPr>
            <a:lvl3pPr marL="575986" indent="-287993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3978" indent="-287993">
              <a:buClr>
                <a:schemeClr val="accent1"/>
              </a:buClr>
              <a:buFont typeface="Arial"/>
              <a:buChar char="•"/>
              <a:defRPr sz="2000"/>
            </a:lvl4pPr>
            <a:lvl5pPr marL="1151972" indent="-287993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 dirty="0"/>
              <a:t>Click to edit small text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1021488" y="1441902"/>
            <a:ext cx="720000" cy="7200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"/>
            </a:lvl1pPr>
          </a:lstStyle>
          <a:p>
            <a:r>
              <a:rPr lang="en-GB" noProof="0" dirty="0"/>
              <a:t>Icon 1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1830011" y="2553153"/>
            <a:ext cx="5488365" cy="3492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marL="0" indent="0">
              <a:buFontTx/>
              <a:buNone/>
              <a:defRPr sz="2400" b="0"/>
            </a:lvl1pPr>
            <a:lvl2pPr marL="0" indent="-287993">
              <a:buClr>
                <a:schemeClr val="accent3"/>
              </a:buClr>
              <a:buFont typeface="Arial"/>
              <a:buChar char="•"/>
              <a:defRPr sz="2000"/>
            </a:lvl2pPr>
            <a:lvl3pPr marL="575986" indent="-287993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3978" indent="-287993">
              <a:buClr>
                <a:schemeClr val="accent1"/>
              </a:buClr>
              <a:buFont typeface="Arial"/>
              <a:buChar char="•"/>
              <a:defRPr sz="2000"/>
            </a:lvl4pPr>
            <a:lvl5pPr marL="1151972" indent="-287993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 dirty="0"/>
              <a:t>Click to edit big text 2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1830011" y="2966355"/>
            <a:ext cx="5488365" cy="657677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>
              <a:buFontTx/>
              <a:buNone/>
              <a:defRPr sz="1800"/>
            </a:lvl1pPr>
            <a:lvl2pPr marL="0" indent="-287993">
              <a:buClr>
                <a:schemeClr val="accent3"/>
              </a:buClr>
              <a:buFont typeface="Arial"/>
              <a:buChar char="•"/>
              <a:defRPr sz="2000"/>
            </a:lvl2pPr>
            <a:lvl3pPr marL="575986" indent="-287993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3978" indent="-287993">
              <a:buClr>
                <a:schemeClr val="accent1"/>
              </a:buClr>
              <a:buFont typeface="Arial"/>
              <a:buChar char="•"/>
              <a:defRPr sz="2000"/>
            </a:lvl4pPr>
            <a:lvl5pPr marL="1151972" indent="-287993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 dirty="0"/>
              <a:t>Click to edit small text</a:t>
            </a:r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1021715" y="2617047"/>
            <a:ext cx="720000" cy="7200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"/>
            </a:lvl1pPr>
          </a:lstStyle>
          <a:p>
            <a:r>
              <a:rPr lang="en-GB" noProof="0"/>
              <a:t>Icon 2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1830011" y="3659868"/>
            <a:ext cx="5488365" cy="3492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marL="0" indent="0">
              <a:buFontTx/>
              <a:buNone/>
              <a:defRPr sz="2400" b="0"/>
            </a:lvl1pPr>
            <a:lvl2pPr marL="0" indent="-287993">
              <a:buClr>
                <a:schemeClr val="accent3"/>
              </a:buClr>
              <a:buFont typeface="Arial"/>
              <a:buChar char="•"/>
              <a:defRPr sz="2000"/>
            </a:lvl2pPr>
            <a:lvl3pPr marL="575986" indent="-287993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3978" indent="-287993">
              <a:buClr>
                <a:schemeClr val="accent1"/>
              </a:buClr>
              <a:buFont typeface="Arial"/>
              <a:buChar char="•"/>
              <a:defRPr sz="2000"/>
            </a:lvl4pPr>
            <a:lvl5pPr marL="1151972" indent="-287993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 dirty="0"/>
              <a:t>Click to edit big text 3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830011" y="4073072"/>
            <a:ext cx="5488365" cy="657677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>
              <a:buFontTx/>
              <a:buNone/>
              <a:defRPr sz="1800"/>
            </a:lvl1pPr>
            <a:lvl2pPr marL="0" indent="-287993">
              <a:buClr>
                <a:schemeClr val="accent3"/>
              </a:buClr>
              <a:buFont typeface="Arial"/>
              <a:buChar char="•"/>
              <a:defRPr sz="2000"/>
            </a:lvl2pPr>
            <a:lvl3pPr marL="575986" indent="-287993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3978" indent="-287993">
              <a:buClr>
                <a:schemeClr val="accent1"/>
              </a:buClr>
              <a:buFont typeface="Arial"/>
              <a:buChar char="•"/>
              <a:defRPr sz="2000"/>
            </a:lvl4pPr>
            <a:lvl5pPr marL="1151972" indent="-287993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 dirty="0"/>
              <a:t>Click to edit small text</a:t>
            </a:r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21" hasCustomPrompt="1"/>
          </p:nvPr>
        </p:nvSpPr>
        <p:spPr>
          <a:xfrm>
            <a:off x="1021488" y="3713071"/>
            <a:ext cx="720000" cy="7200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"/>
            </a:lvl1pPr>
          </a:lstStyle>
          <a:p>
            <a:r>
              <a:rPr lang="en-GB" noProof="0"/>
              <a:t>Icon 3</a:t>
            </a:r>
          </a:p>
        </p:txBody>
      </p:sp>
    </p:spTree>
    <p:extLst>
      <p:ext uri="{BB962C8B-B14F-4D97-AF65-F5344CB8AC3E}">
        <p14:creationId xmlns:p14="http://schemas.microsoft.com/office/powerpoint/2010/main" val="74900874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2" y="205979"/>
            <a:ext cx="6860419" cy="959700"/>
          </a:xfrm>
          <a:prstGeom prst="rect">
            <a:avLst/>
          </a:prstGeom>
        </p:spPr>
        <p:txBody>
          <a:bodyPr lIns="0" tIns="46800" rIns="0" bIns="0" anchor="t"/>
          <a:lstStyle>
            <a:lvl1pPr algn="l">
              <a:defRPr sz="3000"/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830011" y="4866821"/>
            <a:ext cx="1375228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pPr defTabSz="457189"/>
            <a:fld id="{AC90AA9F-B1B2-7844-8D0A-6DF273931CBA}" type="datetime3">
              <a:rPr lang="en-US" smtClean="0">
                <a:solidFill>
                  <a:srgbClr val="40C8F4"/>
                </a:solidFill>
              </a:rPr>
              <a:pPr defTabSz="457189"/>
              <a:t>4 September 2021</a:t>
            </a:fld>
            <a:endParaRPr lang="en-GB" dirty="0">
              <a:solidFill>
                <a:srgbClr val="40C8F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00" y="4866821"/>
            <a:ext cx="4118429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pPr defTabSz="457189"/>
            <a:r>
              <a:rPr lang="en-GB">
                <a:solidFill>
                  <a:srgbClr val="40C8F4"/>
                </a:solidFill>
              </a:rPr>
              <a:t>Presentation title/URL could go here – Change in footer options  </a:t>
            </a:r>
            <a:endParaRPr lang="en-GB" dirty="0">
              <a:solidFill>
                <a:srgbClr val="40C8F4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1" y="4866821"/>
            <a:ext cx="1284515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pPr defTabSz="457189"/>
            <a:fld id="{8BC4BD7E-6A9D-424B-9890-D8BA950DB6FF}" type="slidenum">
              <a:rPr lang="en-GB" smtClean="0">
                <a:solidFill>
                  <a:srgbClr val="40C8F4"/>
                </a:solidFill>
              </a:rPr>
              <a:pPr defTabSz="457189"/>
              <a:t>‹#›</a:t>
            </a:fld>
            <a:endParaRPr lang="en-GB">
              <a:solidFill>
                <a:srgbClr val="40C8F4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57199" y="4862519"/>
            <a:ext cx="8233230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10" name="Picture 9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5929" y="228632"/>
            <a:ext cx="694500" cy="418684"/>
          </a:xfrm>
          <a:prstGeom prst="rect">
            <a:avLst/>
          </a:prstGeom>
        </p:spPr>
      </p:pic>
      <p:sp>
        <p:nvSpPr>
          <p:cNvPr id="1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57201" y="1503173"/>
            <a:ext cx="6860420" cy="322714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2000"/>
            </a:lvl1pPr>
            <a:lvl2pPr marL="0" indent="-287993">
              <a:buClr>
                <a:schemeClr val="accent3"/>
              </a:buClr>
              <a:buFont typeface="Arial"/>
              <a:buChar char="•"/>
              <a:defRPr sz="2000"/>
            </a:lvl2pPr>
            <a:lvl3pPr marL="1079973" indent="-431990">
              <a:buClr>
                <a:schemeClr val="accent3"/>
              </a:buClr>
              <a:buSzPct val="100000"/>
              <a:buFont typeface="Lucida Grande"/>
              <a:buChar char="-"/>
              <a:defRPr sz="2000"/>
            </a:lvl3pPr>
            <a:lvl4pPr marL="1799955" indent="-287993">
              <a:buClr>
                <a:schemeClr val="tx1">
                  <a:lumMod val="50000"/>
                  <a:lumOff val="50000"/>
                </a:schemeClr>
              </a:buClr>
              <a:buFont typeface="Arial"/>
              <a:buChar char="•"/>
              <a:defRPr sz="2000"/>
            </a:lvl4pPr>
            <a:lvl5pPr marL="2519937" indent="-431990">
              <a:buClr>
                <a:schemeClr val="tx1">
                  <a:lumMod val="50000"/>
                  <a:lumOff val="50000"/>
                </a:schemeClr>
              </a:buClr>
              <a:buFont typeface="Lucida Grande"/>
              <a:buChar char="-"/>
              <a:defRPr sz="2000"/>
            </a:lvl5pPr>
          </a:lstStyle>
          <a:p>
            <a:pPr lvl="0"/>
            <a:r>
              <a:rPr lang="fr-CH" noProof="0" dirty="0"/>
              <a:t>Click to edit Master text styles</a:t>
            </a:r>
          </a:p>
          <a:p>
            <a:pPr lvl="1"/>
            <a:r>
              <a:rPr lang="fr-CH" noProof="0" dirty="0"/>
              <a:t>Second level</a:t>
            </a:r>
          </a:p>
          <a:p>
            <a:pPr lvl="2"/>
            <a:r>
              <a:rPr lang="fr-CH" noProof="0" dirty="0"/>
              <a:t>Third level</a:t>
            </a:r>
          </a:p>
          <a:p>
            <a:pPr lvl="3"/>
            <a:r>
              <a:rPr lang="fr-CH" noProof="0" dirty="0"/>
              <a:t>Fourth level</a:t>
            </a:r>
          </a:p>
          <a:p>
            <a:pPr lvl="4"/>
            <a:r>
              <a:rPr lang="fr-CH" noProof="0" dirty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9111639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3" y="205980"/>
            <a:ext cx="6860419" cy="441337"/>
          </a:xfrm>
          <a:prstGeom prst="rect">
            <a:avLst/>
          </a:prstGeom>
        </p:spPr>
        <p:txBody>
          <a:bodyPr lIns="0" tIns="46800" rIns="0" bIns="0" anchor="t"/>
          <a:lstStyle>
            <a:lvl1pPr algn="l">
              <a:defRPr sz="3000"/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830012" y="4866821"/>
            <a:ext cx="1375228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pPr defTabSz="457189"/>
            <a:fld id="{4932F680-5BAE-45DD-9D52-4D18DF5688DF}" type="datetime1">
              <a:rPr lang="en-US" smtClean="0">
                <a:solidFill>
                  <a:srgbClr val="40C8F4"/>
                </a:solidFill>
              </a:rPr>
              <a:pPr defTabSz="457189"/>
              <a:t>04/09/2021</a:t>
            </a:fld>
            <a:endParaRPr lang="en-GB" dirty="0">
              <a:solidFill>
                <a:srgbClr val="40C8F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01" y="4866821"/>
            <a:ext cx="4118429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pPr defTabSz="457189"/>
            <a:r>
              <a:rPr lang="ru-RU">
                <a:solidFill>
                  <a:srgbClr val="40C8F4"/>
                </a:solidFill>
              </a:rPr>
              <a:t>Санкт-Петербург 05.04.2018 г.</a:t>
            </a:r>
            <a:endParaRPr lang="en-GB" dirty="0">
              <a:solidFill>
                <a:srgbClr val="40C8F4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2" y="4866821"/>
            <a:ext cx="1284515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pPr defTabSz="457189"/>
            <a:fld id="{8BC4BD7E-6A9D-424B-9890-D8BA950DB6FF}" type="slidenum">
              <a:rPr lang="en-GB" smtClean="0">
                <a:solidFill>
                  <a:srgbClr val="40C8F4"/>
                </a:solidFill>
              </a:rPr>
              <a:pPr defTabSz="457189"/>
              <a:t>‹#›</a:t>
            </a:fld>
            <a:endParaRPr lang="en-GB" dirty="0">
              <a:solidFill>
                <a:srgbClr val="40C8F4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57199" y="4862519"/>
            <a:ext cx="8233230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457203" y="830038"/>
            <a:ext cx="8232775" cy="393700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/>
            </a:lvl1pPr>
          </a:lstStyle>
          <a:p>
            <a:r>
              <a:rPr lang="en-GB" noProof="0" dirty="0"/>
              <a:t>image</a:t>
            </a:r>
          </a:p>
        </p:txBody>
      </p:sp>
      <p:pic>
        <p:nvPicPr>
          <p:cNvPr id="9" name="Picture 8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5929" y="228633"/>
            <a:ext cx="694500" cy="418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481380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­- Simp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2" y="2038652"/>
            <a:ext cx="1827363" cy="99131"/>
          </a:xfrm>
          <a:prstGeom prst="rect">
            <a:avLst/>
          </a:prstGeom>
          <a:solidFill>
            <a:srgbClr val="FFD6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 sz="1800">
              <a:solidFill>
                <a:srgbClr val="32323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27216" y="2227037"/>
            <a:ext cx="4633450" cy="88446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ts val="3500"/>
              </a:lnSpc>
              <a:defRPr sz="3200">
                <a:latin typeface="Arial"/>
                <a:cs typeface="Arial"/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27216" y="3253813"/>
            <a:ext cx="3082408" cy="53975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Arial"/>
                <a:cs typeface="Arial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edit subtitle (optional)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1827216" y="3929635"/>
            <a:ext cx="3082927" cy="21317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1200" b="1">
                <a:latin typeface="Arial"/>
                <a:cs typeface="Arial"/>
              </a:defRPr>
            </a:lvl1pPr>
            <a:lvl2pPr marL="457189" indent="0">
              <a:buNone/>
              <a:defRPr sz="1400" b="1">
                <a:latin typeface="Arial"/>
                <a:cs typeface="Arial"/>
              </a:defRPr>
            </a:lvl2pPr>
            <a:lvl3pPr marL="914378" indent="0">
              <a:buNone/>
              <a:defRPr sz="1200" b="1">
                <a:latin typeface="Arial"/>
                <a:cs typeface="Arial"/>
              </a:defRPr>
            </a:lvl3pPr>
            <a:lvl4pPr marL="1371566" indent="0">
              <a:buNone/>
              <a:defRPr sz="1100" b="1">
                <a:latin typeface="Arial"/>
                <a:cs typeface="Arial"/>
              </a:defRPr>
            </a:lvl4pPr>
            <a:lvl5pPr marL="1828754" indent="0">
              <a:buNone/>
              <a:defRPr sz="1100" b="1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date (optional)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1827216" y="4142757"/>
            <a:ext cx="3082927" cy="2131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>
                <a:latin typeface="Arial"/>
                <a:cs typeface="Arial"/>
              </a:defRPr>
            </a:lvl1pPr>
            <a:lvl2pPr marL="457189" indent="0">
              <a:buNone/>
              <a:defRPr sz="1600">
                <a:latin typeface="Arial"/>
                <a:cs typeface="Arial"/>
              </a:defRPr>
            </a:lvl2pPr>
            <a:lvl3pPr marL="914378" indent="0">
              <a:buNone/>
              <a:defRPr sz="1400">
                <a:latin typeface="Arial"/>
                <a:cs typeface="Arial"/>
              </a:defRPr>
            </a:lvl3pPr>
            <a:lvl4pPr marL="1371566" indent="0">
              <a:buNone/>
              <a:defRPr sz="1200">
                <a:latin typeface="Arial"/>
                <a:cs typeface="Arial"/>
              </a:defRPr>
            </a:lvl4pPr>
            <a:lvl5pPr marL="1828754" indent="0">
              <a:buNone/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place or name (optional)</a:t>
            </a:r>
          </a:p>
        </p:txBody>
      </p:sp>
      <p:pic>
        <p:nvPicPr>
          <p:cNvPr id="11" name="Picture 10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4810" y="1032470"/>
            <a:ext cx="905619" cy="545959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754063" y="4478654"/>
            <a:ext cx="2438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89"/>
            <a:r>
              <a:rPr lang="fr-CH" sz="1200" dirty="0">
                <a:solidFill>
                  <a:srgbClr val="323232"/>
                </a:solidFill>
              </a:rPr>
              <a:t>iru.org</a:t>
            </a:r>
            <a:endParaRPr lang="fr-CH" sz="1800" dirty="0">
              <a:solidFill>
                <a:srgbClr val="3232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270804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­- Simp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2" y="2038652"/>
            <a:ext cx="1827363" cy="99131"/>
          </a:xfrm>
          <a:prstGeom prst="rect">
            <a:avLst/>
          </a:prstGeom>
          <a:solidFill>
            <a:srgbClr val="FFD6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 sz="1800">
              <a:solidFill>
                <a:srgbClr val="323232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457200" y="2137784"/>
            <a:ext cx="6114262" cy="262948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 sz="1800">
              <a:solidFill>
                <a:srgbClr val="000000"/>
              </a:solidFill>
            </a:endParaRPr>
          </a:p>
        </p:txBody>
      </p:sp>
      <p:pic>
        <p:nvPicPr>
          <p:cNvPr id="11" name="Picture 10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4810" y="1032470"/>
            <a:ext cx="905619" cy="545959"/>
          </a:xfrm>
          <a:prstGeom prst="rect">
            <a:avLst/>
          </a:prstGeom>
        </p:spPr>
      </p:pic>
      <p:sp>
        <p:nvSpPr>
          <p:cNvPr id="18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1827216" y="3929635"/>
            <a:ext cx="3082927" cy="21317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1200" b="1">
                <a:latin typeface="Arial"/>
                <a:cs typeface="Arial"/>
              </a:defRPr>
            </a:lvl1pPr>
            <a:lvl2pPr marL="457189" indent="0">
              <a:buNone/>
              <a:defRPr sz="1400" b="1">
                <a:latin typeface="Arial"/>
                <a:cs typeface="Arial"/>
              </a:defRPr>
            </a:lvl2pPr>
            <a:lvl3pPr marL="914378" indent="0">
              <a:buNone/>
              <a:defRPr sz="1200" b="1">
                <a:latin typeface="Arial"/>
                <a:cs typeface="Arial"/>
              </a:defRPr>
            </a:lvl3pPr>
            <a:lvl4pPr marL="1371566" indent="0">
              <a:buNone/>
              <a:defRPr sz="1100" b="1">
                <a:latin typeface="Arial"/>
                <a:cs typeface="Arial"/>
              </a:defRPr>
            </a:lvl4pPr>
            <a:lvl5pPr marL="1828754" indent="0">
              <a:buNone/>
              <a:defRPr sz="1100" b="1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date (optional)</a:t>
            </a:r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1827216" y="4142757"/>
            <a:ext cx="3082927" cy="2131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>
                <a:latin typeface="Arial"/>
                <a:cs typeface="Arial"/>
              </a:defRPr>
            </a:lvl1pPr>
            <a:lvl2pPr marL="457189" indent="0">
              <a:buNone/>
              <a:defRPr sz="1600">
                <a:latin typeface="Arial"/>
                <a:cs typeface="Arial"/>
              </a:defRPr>
            </a:lvl2pPr>
            <a:lvl3pPr marL="914378" indent="0">
              <a:buNone/>
              <a:defRPr sz="1400">
                <a:latin typeface="Arial"/>
                <a:cs typeface="Arial"/>
              </a:defRPr>
            </a:lvl3pPr>
            <a:lvl4pPr marL="1371566" indent="0">
              <a:buNone/>
              <a:defRPr sz="1200">
                <a:latin typeface="Arial"/>
                <a:cs typeface="Arial"/>
              </a:defRPr>
            </a:lvl4pPr>
            <a:lvl5pPr marL="1828754" indent="0">
              <a:buNone/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place or name (optional)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1827216" y="2227037"/>
            <a:ext cx="4633450" cy="88446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ts val="3500"/>
              </a:lnSpc>
              <a:defRPr sz="3200">
                <a:latin typeface="Arial"/>
                <a:cs typeface="Arial"/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27216" y="3253813"/>
            <a:ext cx="3082408" cy="53975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Arial"/>
                <a:cs typeface="Arial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edit subtitle (optional)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754063" y="4478654"/>
            <a:ext cx="2438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89"/>
            <a:r>
              <a:rPr lang="fr-CH" sz="1200" dirty="0">
                <a:solidFill>
                  <a:srgbClr val="323232"/>
                </a:solidFill>
              </a:rPr>
              <a:t>iru.org</a:t>
            </a:r>
            <a:endParaRPr lang="fr-CH" sz="1800" dirty="0">
              <a:solidFill>
                <a:srgbClr val="3232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940687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­-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457200" y="2137784"/>
            <a:ext cx="6119072" cy="262948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2" y="2038652"/>
            <a:ext cx="1827363" cy="99131"/>
          </a:xfrm>
          <a:prstGeom prst="rect">
            <a:avLst/>
          </a:prstGeom>
          <a:solidFill>
            <a:srgbClr val="FFD6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 sz="1800">
              <a:solidFill>
                <a:srgbClr val="323232"/>
              </a:solidFill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2" hasCustomPrompt="1"/>
          </p:nvPr>
        </p:nvSpPr>
        <p:spPr>
          <a:xfrm>
            <a:off x="4024137" y="3188208"/>
            <a:ext cx="2552135" cy="157905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/>
            </a:lvl1pPr>
          </a:lstStyle>
          <a:p>
            <a:r>
              <a:rPr lang="en-GB" noProof="0"/>
              <a:t>Insert pictur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4024139" y="4767265"/>
            <a:ext cx="2552134" cy="271915"/>
          </a:xfrm>
          <a:prstGeom prst="rect">
            <a:avLst/>
          </a:prstGeom>
          <a:solidFill>
            <a:schemeClr val="tx2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 sz="1800">
              <a:solidFill>
                <a:srgbClr val="000000"/>
              </a:solidFill>
            </a:endParaRPr>
          </a:p>
        </p:txBody>
      </p:sp>
      <p:pic>
        <p:nvPicPr>
          <p:cNvPr id="13" name="Picture 12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4810" y="1032470"/>
            <a:ext cx="905619" cy="545959"/>
          </a:xfrm>
          <a:prstGeom prst="rect">
            <a:avLst/>
          </a:prstGeom>
        </p:spPr>
      </p:pic>
      <p:sp>
        <p:nvSpPr>
          <p:cNvPr id="20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1827216" y="3929635"/>
            <a:ext cx="2055937" cy="21317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buNone/>
              <a:defRPr sz="1200" b="1">
                <a:latin typeface="Arial"/>
                <a:cs typeface="Arial"/>
              </a:defRPr>
            </a:lvl1pPr>
            <a:lvl2pPr marL="457189" indent="0">
              <a:buNone/>
              <a:defRPr sz="1400" b="1">
                <a:latin typeface="Arial"/>
                <a:cs typeface="Arial"/>
              </a:defRPr>
            </a:lvl2pPr>
            <a:lvl3pPr marL="914378" indent="0">
              <a:buNone/>
              <a:defRPr sz="1200" b="1">
                <a:latin typeface="Arial"/>
                <a:cs typeface="Arial"/>
              </a:defRPr>
            </a:lvl3pPr>
            <a:lvl4pPr marL="1371566" indent="0">
              <a:buNone/>
              <a:defRPr sz="1100" b="1">
                <a:latin typeface="Arial"/>
                <a:cs typeface="Arial"/>
              </a:defRPr>
            </a:lvl4pPr>
            <a:lvl5pPr marL="1828754" indent="0">
              <a:buNone/>
              <a:defRPr sz="1100" b="1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date (optional)</a:t>
            </a:r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1827216" y="4142757"/>
            <a:ext cx="2055937" cy="213122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sz="1200">
                <a:latin typeface="Arial"/>
                <a:cs typeface="Arial"/>
              </a:defRPr>
            </a:lvl1pPr>
            <a:lvl2pPr marL="457189" indent="0">
              <a:buNone/>
              <a:defRPr sz="1600">
                <a:latin typeface="Arial"/>
                <a:cs typeface="Arial"/>
              </a:defRPr>
            </a:lvl2pPr>
            <a:lvl3pPr marL="914378" indent="0">
              <a:buNone/>
              <a:defRPr sz="1400">
                <a:latin typeface="Arial"/>
                <a:cs typeface="Arial"/>
              </a:defRPr>
            </a:lvl3pPr>
            <a:lvl4pPr marL="1371566" indent="0">
              <a:buNone/>
              <a:defRPr sz="1200">
                <a:latin typeface="Arial"/>
                <a:cs typeface="Arial"/>
              </a:defRPr>
            </a:lvl4pPr>
            <a:lvl5pPr marL="1828754" indent="0">
              <a:buNone/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Click to edit place (optional)</a:t>
            </a:r>
          </a:p>
        </p:txBody>
      </p:sp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1827216" y="2227037"/>
            <a:ext cx="4633450" cy="88446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ts val="3500"/>
              </a:lnSpc>
              <a:defRPr sz="3200">
                <a:latin typeface="Arial"/>
                <a:cs typeface="Arial"/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754063" y="4478654"/>
            <a:ext cx="2438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89"/>
            <a:r>
              <a:rPr lang="fr-CH" sz="1200" dirty="0">
                <a:solidFill>
                  <a:srgbClr val="323232"/>
                </a:solidFill>
              </a:rPr>
              <a:t>iru.org</a:t>
            </a:r>
            <a:endParaRPr lang="fr-CH" sz="1800" dirty="0">
              <a:solidFill>
                <a:srgbClr val="3232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626857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3477381" y="1557774"/>
            <a:ext cx="5666620" cy="2229548"/>
          </a:xfrm>
          <a:prstGeom prst="rect">
            <a:avLst/>
          </a:prstGeom>
          <a:solidFill>
            <a:schemeClr val="tx2">
              <a:lumMod val="60000"/>
              <a:lumOff val="40000"/>
              <a:alpha val="51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457201" y="1164629"/>
            <a:ext cx="5481563" cy="194233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 sz="1800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2" y="1065499"/>
            <a:ext cx="1827363" cy="99131"/>
          </a:xfrm>
          <a:prstGeom prst="rect">
            <a:avLst/>
          </a:prstGeom>
          <a:solidFill>
            <a:srgbClr val="FFD600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 sz="1800">
              <a:solidFill>
                <a:srgbClr val="32323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27365" y="1253882"/>
            <a:ext cx="3917875" cy="995832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3200">
                <a:latin typeface="Arial"/>
                <a:cs typeface="Arial"/>
              </a:defRPr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27365" y="2306168"/>
            <a:ext cx="3917875" cy="67379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Arial"/>
                <a:cs typeface="Arial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edit subtit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765175" y="1000362"/>
            <a:ext cx="914400" cy="9144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0"/>
            </a:lvl1pPr>
          </a:lstStyle>
          <a:p>
            <a:pPr lvl="0"/>
            <a:r>
              <a:rPr lang="fr-CH" dirty="0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423130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7165" y="1593557"/>
            <a:ext cx="1492891" cy="900000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762641" y="4592816"/>
            <a:ext cx="67358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457189"/>
            <a:r>
              <a:rPr lang="en-GB" sz="1200" b="1" dirty="0" err="1">
                <a:solidFill>
                  <a:srgbClr val="0070C0"/>
                </a:solidFill>
              </a:rPr>
              <a:t>iru.org</a:t>
            </a:r>
            <a:endParaRPr lang="en-GB" sz="1200" b="1" dirty="0">
              <a:solidFill>
                <a:srgbClr val="0070C0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238849" y="1599651"/>
            <a:ext cx="100800" cy="90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189"/>
            <a:endParaRPr lang="en-GB" sz="1800">
              <a:solidFill>
                <a:srgbClr val="323232"/>
              </a:solidFill>
            </a:endParaRPr>
          </a:p>
        </p:txBody>
      </p:sp>
      <p:sp>
        <p:nvSpPr>
          <p:cNvPr id="6" name="Text Placeholder 17"/>
          <p:cNvSpPr>
            <a:spLocks noGrp="1"/>
          </p:cNvSpPr>
          <p:nvPr>
            <p:ph type="body" sz="quarter" idx="10" hasCustomPrompt="1"/>
          </p:nvPr>
        </p:nvSpPr>
        <p:spPr>
          <a:xfrm>
            <a:off x="1591692" y="4600429"/>
            <a:ext cx="4601761" cy="29686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 baseline="0"/>
            </a:lvl1pPr>
            <a:lvl2pPr marL="457189" indent="0">
              <a:buNone/>
              <a:defRPr sz="1100"/>
            </a:lvl2pPr>
            <a:lvl3pPr marL="914378" indent="0">
              <a:buNone/>
              <a:defRPr sz="1100"/>
            </a:lvl3pPr>
            <a:lvl4pPr marL="1371566" indent="0">
              <a:buNone/>
              <a:defRPr sz="1100"/>
            </a:lvl4pPr>
            <a:lvl5pPr marL="1828754" indent="0">
              <a:buNone/>
              <a:defRPr sz="1100"/>
            </a:lvl5pPr>
          </a:lstStyle>
          <a:p>
            <a:pPr lvl="0"/>
            <a:r>
              <a:rPr lang="fr-CH" dirty="0"/>
              <a:t>Optional contact information e.g. iru@iru.org</a:t>
            </a:r>
            <a:endParaRPr lang="en-GB" dirty="0"/>
          </a:p>
        </p:txBody>
      </p:sp>
      <p:sp>
        <p:nvSpPr>
          <p:cNvPr id="7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717052" y="1517214"/>
            <a:ext cx="5348384" cy="179455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 baseline="0"/>
            </a:lvl1pPr>
            <a:lvl2pPr marL="457189" indent="0">
              <a:buNone/>
              <a:defRPr sz="2000"/>
            </a:lvl2pPr>
            <a:lvl3pPr marL="914378" indent="0">
              <a:buNone/>
              <a:defRPr sz="20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</a:lstStyle>
          <a:p>
            <a:pPr lvl="0"/>
            <a:r>
              <a:rPr lang="fr-CH" dirty="0"/>
              <a:t>Optional text e.g. key takeaway, uplifting quote, thanks or invite questions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683122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57200" y="1370014"/>
            <a:ext cx="7246938" cy="3387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232044349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Objec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57201" y="1370013"/>
            <a:ext cx="4003589" cy="33811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581270" y="1370013"/>
            <a:ext cx="4108706" cy="33811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30932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+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205979"/>
            <a:ext cx="6860419" cy="959700"/>
          </a:xfrm>
          <a:prstGeom prst="rect">
            <a:avLst/>
          </a:prstGeom>
        </p:spPr>
        <p:txBody>
          <a:bodyPr lIns="0" tIns="46800" rIns="0" bIns="0" anchor="t"/>
          <a:lstStyle>
            <a:lvl1pPr algn="l">
              <a:defRPr sz="3000"/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830010" y="4866821"/>
            <a:ext cx="1375228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3A8F5DA7-DE83-4111-AB62-59C5F3CAC152}" type="datetime1">
              <a:rPr lang="en-US" noProof="0" smtClean="0"/>
              <a:t>04/09/2021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1999" y="4866821"/>
            <a:ext cx="4118429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noProof="0"/>
              <a:t>Санкт-Петербург  4 апреля 2019 г.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4866821"/>
            <a:ext cx="1284515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8BC4BD7E-6A9D-424B-9890-D8BA950DB6F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57199" y="4862519"/>
            <a:ext cx="8233230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1" y="1503173"/>
            <a:ext cx="4117975" cy="322714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/>
            </a:lvl1pPr>
          </a:lstStyle>
          <a:p>
            <a:r>
              <a:rPr lang="en-GB" noProof="0" dirty="0"/>
              <a:t>image</a:t>
            </a:r>
          </a:p>
        </p:txBody>
      </p:sp>
      <p:pic>
        <p:nvPicPr>
          <p:cNvPr id="10" name="Picture 9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5929" y="228631"/>
            <a:ext cx="694500" cy="418684"/>
          </a:xfrm>
          <a:prstGeom prst="rect">
            <a:avLst/>
          </a:prstGeom>
        </p:spPr>
      </p:pic>
      <p:sp>
        <p:nvSpPr>
          <p:cNvPr id="14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57200" y="1503172"/>
            <a:ext cx="4044587" cy="322714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2000"/>
            </a:lvl1pPr>
            <a:lvl2pPr marL="0" indent="-288000">
              <a:buClr>
                <a:schemeClr val="accent3"/>
              </a:buClr>
              <a:buFont typeface="Arial"/>
              <a:buChar char="•"/>
              <a:defRPr sz="2000"/>
            </a:lvl2pPr>
            <a:lvl3pPr marL="1080000" indent="-432000">
              <a:buClr>
                <a:schemeClr val="accent3"/>
              </a:buClr>
              <a:buSzPct val="100000"/>
              <a:buFont typeface="Lucida Grande"/>
              <a:buChar char="-"/>
              <a:defRPr sz="2000"/>
            </a:lvl3pPr>
            <a:lvl4pPr marL="1800000" indent="-288000">
              <a:buClr>
                <a:schemeClr val="tx1">
                  <a:lumMod val="50000"/>
                  <a:lumOff val="50000"/>
                </a:schemeClr>
              </a:buClr>
              <a:buFont typeface="Arial"/>
              <a:buChar char="•"/>
              <a:defRPr sz="2000"/>
            </a:lvl4pPr>
            <a:lvl5pPr marL="2520000" indent="-432000">
              <a:buClr>
                <a:schemeClr val="tx1">
                  <a:lumMod val="50000"/>
                  <a:lumOff val="50000"/>
                </a:schemeClr>
              </a:buClr>
              <a:buFont typeface="Lucida Grande"/>
              <a:buChar char="-"/>
              <a:defRPr sz="2000"/>
            </a:lvl5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6524385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457201" y="1365939"/>
            <a:ext cx="8232775" cy="338523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492519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46527438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7199" y="3102662"/>
            <a:ext cx="8233230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457202" y="1727597"/>
            <a:ext cx="2670175" cy="128468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 baseline="0"/>
            </a:lvl1pPr>
          </a:lstStyle>
          <a:p>
            <a:r>
              <a:rPr lang="en-GB" noProof="0"/>
              <a:t>Pic 1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236913" y="1727597"/>
            <a:ext cx="2670175" cy="128468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 baseline="0"/>
            </a:lvl1pPr>
          </a:lstStyle>
          <a:p>
            <a:r>
              <a:rPr lang="en-GB" noProof="0"/>
              <a:t>Pic 2</a:t>
            </a: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6020256" y="1727597"/>
            <a:ext cx="2670175" cy="128468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 baseline="0"/>
            </a:lvl1pPr>
          </a:lstStyle>
          <a:p>
            <a:r>
              <a:rPr lang="en-GB" noProof="0"/>
              <a:t>Pic 3</a:t>
            </a:r>
          </a:p>
        </p:txBody>
      </p:sp>
      <p:sp>
        <p:nvSpPr>
          <p:cNvPr id="10" name="Text Placehold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2" y="3175398"/>
            <a:ext cx="2670175" cy="1360027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>
              <a:buNone/>
              <a:defRPr sz="1600" b="0" baseline="0"/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GB" noProof="0" dirty="0"/>
              <a:t>Heading 1 to go here</a:t>
            </a:r>
          </a:p>
          <a:p>
            <a:pPr lvl="0"/>
            <a:r>
              <a:rPr lang="en-GB" noProof="0" dirty="0" err="1"/>
              <a:t>Lorem</a:t>
            </a:r>
            <a:r>
              <a:rPr lang="en-GB" noProof="0" dirty="0"/>
              <a:t> </a:t>
            </a:r>
            <a:r>
              <a:rPr lang="en-GB" noProof="0" dirty="0" err="1"/>
              <a:t>ipsum</a:t>
            </a:r>
            <a:r>
              <a:rPr lang="en-GB" noProof="0" dirty="0"/>
              <a:t>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, </a:t>
            </a:r>
            <a:r>
              <a:rPr lang="en-GB" noProof="0" dirty="0" err="1"/>
              <a:t>consectetuer</a:t>
            </a:r>
            <a:r>
              <a:rPr lang="en-GB" noProof="0" dirty="0"/>
              <a:t> </a:t>
            </a:r>
            <a:r>
              <a:rPr lang="en-GB" noProof="0" dirty="0" err="1"/>
              <a:t>adipiscing</a:t>
            </a:r>
            <a:r>
              <a:rPr lang="en-GB" noProof="0" dirty="0"/>
              <a:t> </a:t>
            </a:r>
            <a:r>
              <a:rPr lang="en-GB" noProof="0" dirty="0" err="1"/>
              <a:t>elit</a:t>
            </a:r>
            <a:r>
              <a:rPr lang="en-GB" noProof="0" dirty="0"/>
              <a:t>, </a:t>
            </a:r>
            <a:r>
              <a:rPr lang="en-GB" noProof="0" dirty="0" err="1"/>
              <a:t>nonummy</a:t>
            </a:r>
            <a:r>
              <a:rPr lang="en-GB" noProof="0" dirty="0"/>
              <a:t> </a:t>
            </a:r>
            <a:r>
              <a:rPr lang="en-GB" noProof="0" dirty="0" err="1"/>
              <a:t>nibh</a:t>
            </a:r>
            <a:r>
              <a:rPr lang="en-GB" noProof="0" dirty="0"/>
              <a:t> </a:t>
            </a:r>
            <a:r>
              <a:rPr lang="en-GB" noProof="0" dirty="0" err="1"/>
              <a:t>euismod</a:t>
            </a:r>
            <a:r>
              <a:rPr lang="en-GB" noProof="0" dirty="0"/>
              <a:t> </a:t>
            </a:r>
            <a:r>
              <a:rPr lang="en-GB" noProof="0" dirty="0" err="1"/>
              <a:t>tunt</a:t>
            </a:r>
            <a:endParaRPr lang="en-GB" noProof="0" dirty="0"/>
          </a:p>
        </p:txBody>
      </p:sp>
      <p:sp>
        <p:nvSpPr>
          <p:cNvPr id="11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3236913" y="3175398"/>
            <a:ext cx="2670175" cy="1360027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>
              <a:buNone/>
              <a:defRPr sz="1600" b="0" baseline="0"/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GB" noProof="0" dirty="0"/>
              <a:t>Heading 2 to go here</a:t>
            </a:r>
          </a:p>
          <a:p>
            <a:pPr lvl="0"/>
            <a:r>
              <a:rPr lang="en-GB" noProof="0" dirty="0" err="1"/>
              <a:t>Lorem</a:t>
            </a:r>
            <a:r>
              <a:rPr lang="en-GB" noProof="0" dirty="0"/>
              <a:t> </a:t>
            </a:r>
            <a:r>
              <a:rPr lang="en-GB" noProof="0" dirty="0" err="1"/>
              <a:t>ipsum</a:t>
            </a:r>
            <a:r>
              <a:rPr lang="en-GB" noProof="0" dirty="0"/>
              <a:t>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, </a:t>
            </a:r>
            <a:r>
              <a:rPr lang="en-GB" noProof="0" dirty="0" err="1"/>
              <a:t>consectetuer</a:t>
            </a:r>
            <a:r>
              <a:rPr lang="en-GB" noProof="0" dirty="0"/>
              <a:t> </a:t>
            </a:r>
            <a:r>
              <a:rPr lang="en-GB" noProof="0" dirty="0" err="1"/>
              <a:t>adipiscing</a:t>
            </a:r>
            <a:r>
              <a:rPr lang="en-GB" noProof="0" dirty="0"/>
              <a:t> </a:t>
            </a:r>
            <a:r>
              <a:rPr lang="en-GB" noProof="0" dirty="0" err="1"/>
              <a:t>elit</a:t>
            </a:r>
            <a:r>
              <a:rPr lang="en-GB" noProof="0" dirty="0"/>
              <a:t>, </a:t>
            </a:r>
            <a:r>
              <a:rPr lang="en-GB" noProof="0" dirty="0" err="1"/>
              <a:t>nonummy</a:t>
            </a:r>
            <a:r>
              <a:rPr lang="en-GB" noProof="0" dirty="0"/>
              <a:t> </a:t>
            </a:r>
            <a:r>
              <a:rPr lang="en-GB" noProof="0" dirty="0" err="1"/>
              <a:t>nibh</a:t>
            </a:r>
            <a:r>
              <a:rPr lang="en-GB" noProof="0" dirty="0"/>
              <a:t> </a:t>
            </a:r>
            <a:r>
              <a:rPr lang="en-GB" noProof="0" dirty="0" err="1"/>
              <a:t>euismod</a:t>
            </a:r>
            <a:r>
              <a:rPr lang="en-GB" noProof="0" dirty="0"/>
              <a:t> </a:t>
            </a:r>
            <a:r>
              <a:rPr lang="en-GB" noProof="0" dirty="0" err="1"/>
              <a:t>tunt</a:t>
            </a:r>
            <a:endParaRPr lang="en-GB" noProof="0" dirty="0"/>
          </a:p>
        </p:txBody>
      </p:sp>
      <p:sp>
        <p:nvSpPr>
          <p:cNvPr id="12" name="Text Placeholder 22"/>
          <p:cNvSpPr>
            <a:spLocks noGrp="1"/>
          </p:cNvSpPr>
          <p:nvPr>
            <p:ph type="body" sz="quarter" idx="18" hasCustomPrompt="1"/>
          </p:nvPr>
        </p:nvSpPr>
        <p:spPr>
          <a:xfrm>
            <a:off x="6020255" y="3175398"/>
            <a:ext cx="2670175" cy="1360027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>
              <a:buNone/>
              <a:defRPr sz="1600" b="0" baseline="0"/>
            </a:lvl1pPr>
            <a:lvl2pPr marL="457189" indent="0">
              <a:buNone/>
              <a:defRPr/>
            </a:lvl2pPr>
            <a:lvl3pPr marL="914378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GB" noProof="0" dirty="0"/>
              <a:t>Heading 3 to go here</a:t>
            </a:r>
          </a:p>
          <a:p>
            <a:pPr lvl="0"/>
            <a:r>
              <a:rPr lang="en-GB" noProof="0" dirty="0" err="1"/>
              <a:t>Lorem</a:t>
            </a:r>
            <a:r>
              <a:rPr lang="en-GB" noProof="0" dirty="0"/>
              <a:t> </a:t>
            </a:r>
            <a:r>
              <a:rPr lang="en-GB" noProof="0" dirty="0" err="1"/>
              <a:t>ipsum</a:t>
            </a:r>
            <a:r>
              <a:rPr lang="en-GB" noProof="0" dirty="0"/>
              <a:t>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, </a:t>
            </a:r>
            <a:r>
              <a:rPr lang="en-GB" noProof="0" dirty="0" err="1"/>
              <a:t>consectetuer</a:t>
            </a:r>
            <a:r>
              <a:rPr lang="en-GB" noProof="0" dirty="0"/>
              <a:t> </a:t>
            </a:r>
            <a:r>
              <a:rPr lang="en-GB" noProof="0" dirty="0" err="1"/>
              <a:t>adipiscing</a:t>
            </a:r>
            <a:r>
              <a:rPr lang="en-GB" noProof="0" dirty="0"/>
              <a:t> </a:t>
            </a:r>
            <a:r>
              <a:rPr lang="en-GB" noProof="0" dirty="0" err="1"/>
              <a:t>elit</a:t>
            </a:r>
            <a:r>
              <a:rPr lang="en-GB" noProof="0" dirty="0"/>
              <a:t>, </a:t>
            </a:r>
            <a:r>
              <a:rPr lang="en-GB" noProof="0" dirty="0" err="1"/>
              <a:t>nonummy</a:t>
            </a:r>
            <a:r>
              <a:rPr lang="en-GB" noProof="0" dirty="0"/>
              <a:t> </a:t>
            </a:r>
            <a:r>
              <a:rPr lang="en-GB" noProof="0" dirty="0" err="1"/>
              <a:t>nibh</a:t>
            </a:r>
            <a:r>
              <a:rPr lang="en-GB" noProof="0" dirty="0"/>
              <a:t> </a:t>
            </a:r>
            <a:r>
              <a:rPr lang="en-GB" noProof="0" dirty="0" err="1"/>
              <a:t>euismod</a:t>
            </a:r>
            <a:r>
              <a:rPr lang="en-GB" noProof="0" dirty="0"/>
              <a:t> </a:t>
            </a:r>
            <a:r>
              <a:rPr lang="en-GB" noProof="0" dirty="0" err="1"/>
              <a:t>tunt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7306024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830011" y="1441903"/>
            <a:ext cx="5488365" cy="3492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marL="0" indent="0">
              <a:buFontTx/>
              <a:buNone/>
              <a:defRPr sz="2400" b="0"/>
            </a:lvl1pPr>
            <a:lvl2pPr marL="0" indent="-287993">
              <a:buClr>
                <a:schemeClr val="accent3"/>
              </a:buClr>
              <a:buFont typeface="Arial"/>
              <a:buChar char="•"/>
              <a:defRPr sz="2000"/>
            </a:lvl2pPr>
            <a:lvl3pPr marL="575986" indent="-287993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3978" indent="-287993">
              <a:buClr>
                <a:schemeClr val="accent1"/>
              </a:buClr>
              <a:buFont typeface="Arial"/>
              <a:buChar char="•"/>
              <a:defRPr sz="2000"/>
            </a:lvl4pPr>
            <a:lvl5pPr marL="1151972" indent="-287993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 dirty="0"/>
              <a:t>Click to edit big text 1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830011" y="1855106"/>
            <a:ext cx="5488365" cy="657677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>
              <a:buFontTx/>
              <a:buNone/>
              <a:defRPr sz="1800"/>
            </a:lvl1pPr>
            <a:lvl2pPr marL="0" indent="-287993">
              <a:buClr>
                <a:schemeClr val="accent3"/>
              </a:buClr>
              <a:buFont typeface="Arial"/>
              <a:buChar char="•"/>
              <a:defRPr sz="2000"/>
            </a:lvl2pPr>
            <a:lvl3pPr marL="575986" indent="-287993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3978" indent="-287993">
              <a:buClr>
                <a:schemeClr val="accent1"/>
              </a:buClr>
              <a:buFont typeface="Arial"/>
              <a:buChar char="•"/>
              <a:defRPr sz="2000"/>
            </a:lvl4pPr>
            <a:lvl5pPr marL="1151972" indent="-287993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 dirty="0"/>
              <a:t>Click to edit small text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1021488" y="1441902"/>
            <a:ext cx="720000" cy="7200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"/>
            </a:lvl1pPr>
          </a:lstStyle>
          <a:p>
            <a:r>
              <a:rPr lang="en-GB" noProof="0" dirty="0"/>
              <a:t>Icon 1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1830011" y="2553153"/>
            <a:ext cx="5488365" cy="3492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marL="0" indent="0">
              <a:buFontTx/>
              <a:buNone/>
              <a:defRPr sz="2400" b="0"/>
            </a:lvl1pPr>
            <a:lvl2pPr marL="0" indent="-287993">
              <a:buClr>
                <a:schemeClr val="accent3"/>
              </a:buClr>
              <a:buFont typeface="Arial"/>
              <a:buChar char="•"/>
              <a:defRPr sz="2000"/>
            </a:lvl2pPr>
            <a:lvl3pPr marL="575986" indent="-287993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3978" indent="-287993">
              <a:buClr>
                <a:schemeClr val="accent1"/>
              </a:buClr>
              <a:buFont typeface="Arial"/>
              <a:buChar char="•"/>
              <a:defRPr sz="2000"/>
            </a:lvl4pPr>
            <a:lvl5pPr marL="1151972" indent="-287993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 dirty="0"/>
              <a:t>Click to edit big text 2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1830011" y="2966355"/>
            <a:ext cx="5488365" cy="657677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>
              <a:buFontTx/>
              <a:buNone/>
              <a:defRPr sz="1800"/>
            </a:lvl1pPr>
            <a:lvl2pPr marL="0" indent="-287993">
              <a:buClr>
                <a:schemeClr val="accent3"/>
              </a:buClr>
              <a:buFont typeface="Arial"/>
              <a:buChar char="•"/>
              <a:defRPr sz="2000"/>
            </a:lvl2pPr>
            <a:lvl3pPr marL="575986" indent="-287993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3978" indent="-287993">
              <a:buClr>
                <a:schemeClr val="accent1"/>
              </a:buClr>
              <a:buFont typeface="Arial"/>
              <a:buChar char="•"/>
              <a:defRPr sz="2000"/>
            </a:lvl4pPr>
            <a:lvl5pPr marL="1151972" indent="-287993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 dirty="0"/>
              <a:t>Click to edit small text</a:t>
            </a:r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1021715" y="2617047"/>
            <a:ext cx="720000" cy="7200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"/>
            </a:lvl1pPr>
          </a:lstStyle>
          <a:p>
            <a:r>
              <a:rPr lang="en-GB" noProof="0"/>
              <a:t>Icon 2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1830011" y="3659868"/>
            <a:ext cx="5488365" cy="34925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marL="0" indent="0">
              <a:buFontTx/>
              <a:buNone/>
              <a:defRPr sz="2400" b="0"/>
            </a:lvl1pPr>
            <a:lvl2pPr marL="0" indent="-287993">
              <a:buClr>
                <a:schemeClr val="accent3"/>
              </a:buClr>
              <a:buFont typeface="Arial"/>
              <a:buChar char="•"/>
              <a:defRPr sz="2000"/>
            </a:lvl2pPr>
            <a:lvl3pPr marL="575986" indent="-287993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3978" indent="-287993">
              <a:buClr>
                <a:schemeClr val="accent1"/>
              </a:buClr>
              <a:buFont typeface="Arial"/>
              <a:buChar char="•"/>
              <a:defRPr sz="2000"/>
            </a:lvl4pPr>
            <a:lvl5pPr marL="1151972" indent="-287993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 dirty="0"/>
              <a:t>Click to edit big text 3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830011" y="4073072"/>
            <a:ext cx="5488365" cy="657677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 marL="0" indent="0">
              <a:buFontTx/>
              <a:buNone/>
              <a:defRPr sz="1800"/>
            </a:lvl1pPr>
            <a:lvl2pPr marL="0" indent="-287993">
              <a:buClr>
                <a:schemeClr val="accent3"/>
              </a:buClr>
              <a:buFont typeface="Arial"/>
              <a:buChar char="•"/>
              <a:defRPr sz="2000"/>
            </a:lvl2pPr>
            <a:lvl3pPr marL="575986" indent="-287993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3978" indent="-287993">
              <a:buClr>
                <a:schemeClr val="accent1"/>
              </a:buClr>
              <a:buFont typeface="Arial"/>
              <a:buChar char="•"/>
              <a:defRPr sz="2000"/>
            </a:lvl4pPr>
            <a:lvl5pPr marL="1151972" indent="-287993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 dirty="0"/>
              <a:t>Click to edit small text</a:t>
            </a:r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21" hasCustomPrompt="1"/>
          </p:nvPr>
        </p:nvSpPr>
        <p:spPr>
          <a:xfrm>
            <a:off x="1021488" y="3713071"/>
            <a:ext cx="720000" cy="7200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"/>
            </a:lvl1pPr>
          </a:lstStyle>
          <a:p>
            <a:r>
              <a:rPr lang="en-GB" noProof="0"/>
              <a:t>Icon 3</a:t>
            </a:r>
          </a:p>
        </p:txBody>
      </p:sp>
    </p:spTree>
    <p:extLst>
      <p:ext uri="{BB962C8B-B14F-4D97-AF65-F5344CB8AC3E}">
        <p14:creationId xmlns:p14="http://schemas.microsoft.com/office/powerpoint/2010/main" val="98175316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Layout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2519234" y="4864741"/>
            <a:ext cx="2057400" cy="207708"/>
          </a:xfrm>
          <a:prstGeom prst="rect">
            <a:avLst/>
          </a:prstGeom>
        </p:spPr>
        <p:txBody>
          <a:bodyPr/>
          <a:lstStyle/>
          <a:p>
            <a:pPr defTabSz="457189"/>
            <a:fld id="{409380A1-740C-46EB-A44F-F48F9C8FED37}" type="datetime1">
              <a:rPr lang="ru-RU" smtClean="0">
                <a:solidFill>
                  <a:srgbClr val="323232"/>
                </a:solidFill>
              </a:rPr>
              <a:pPr defTabSz="457189"/>
              <a:t>04.09.2021</a:t>
            </a:fld>
            <a:endParaRPr lang="fr-CH">
              <a:solidFill>
                <a:srgbClr val="323232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581269" y="4864741"/>
            <a:ext cx="4109160" cy="207708"/>
          </a:xfrm>
          <a:prstGeom prst="rect">
            <a:avLst/>
          </a:prstGeom>
        </p:spPr>
        <p:txBody>
          <a:bodyPr/>
          <a:lstStyle/>
          <a:p>
            <a:pPr defTabSz="457189"/>
            <a:endParaRPr lang="fr-CH" dirty="0">
              <a:solidFill>
                <a:srgbClr val="323232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57199" y="4864741"/>
            <a:ext cx="2057400" cy="207708"/>
          </a:xfrm>
          <a:prstGeom prst="rect">
            <a:avLst/>
          </a:prstGeom>
        </p:spPr>
        <p:txBody>
          <a:bodyPr/>
          <a:lstStyle/>
          <a:p>
            <a:pPr defTabSz="457189"/>
            <a:fld id="{9D5C9B18-DC48-42D9-8292-D3CD238A315E}" type="slidenum">
              <a:rPr lang="fr-CH" smtClean="0">
                <a:solidFill>
                  <a:srgbClr val="323232"/>
                </a:solidFill>
              </a:rPr>
              <a:pPr defTabSz="457189"/>
              <a:t>‹#›</a:t>
            </a:fld>
            <a:endParaRPr lang="fr-CH">
              <a:solidFill>
                <a:srgbClr val="323232"/>
              </a:solidFill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457200" y="1370013"/>
            <a:ext cx="7247239" cy="3387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254210941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2" y="205979"/>
            <a:ext cx="6860419" cy="441337"/>
          </a:xfrm>
          <a:prstGeom prst="rect">
            <a:avLst/>
          </a:prstGeom>
        </p:spPr>
        <p:txBody>
          <a:bodyPr lIns="0" tIns="46800" rIns="0" bIns="0" anchor="t"/>
          <a:lstStyle>
            <a:lvl1pPr algn="l">
              <a:defRPr sz="3000"/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830011" y="4866821"/>
            <a:ext cx="1375228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pPr defTabSz="457189"/>
            <a:fld id="{439F7796-8C99-034E-98DE-4C703EDD7C1A}" type="datetime3">
              <a:rPr lang="en-US" smtClean="0">
                <a:solidFill>
                  <a:srgbClr val="40C8F4"/>
                </a:solidFill>
              </a:rPr>
              <a:pPr defTabSz="457189"/>
              <a:t>4 September 2021</a:t>
            </a:fld>
            <a:endParaRPr lang="en-GB">
              <a:solidFill>
                <a:srgbClr val="40C8F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00" y="4866821"/>
            <a:ext cx="4118429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pPr defTabSz="457189"/>
            <a:r>
              <a:rPr lang="en-GB">
                <a:solidFill>
                  <a:srgbClr val="40C8F4"/>
                </a:solidFill>
              </a:rPr>
              <a:t>Presentation title/URL could go here – Change in footer options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1" y="4866821"/>
            <a:ext cx="1284515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pPr defTabSz="457189"/>
            <a:fld id="{8BC4BD7E-6A9D-424B-9890-D8BA950DB6FF}" type="slidenum">
              <a:rPr lang="en-GB" smtClean="0">
                <a:solidFill>
                  <a:srgbClr val="40C8F4"/>
                </a:solidFill>
              </a:rPr>
              <a:pPr defTabSz="457189"/>
              <a:t>‹#›</a:t>
            </a:fld>
            <a:endParaRPr lang="en-GB">
              <a:solidFill>
                <a:srgbClr val="40C8F4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57199" y="4862519"/>
            <a:ext cx="8233230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457202" y="830037"/>
            <a:ext cx="8232775" cy="393700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/>
            </a:lvl1pPr>
          </a:lstStyle>
          <a:p>
            <a:r>
              <a:rPr lang="en-GB" noProof="0"/>
              <a:t>image</a:t>
            </a:r>
          </a:p>
        </p:txBody>
      </p:sp>
      <p:pic>
        <p:nvPicPr>
          <p:cNvPr id="9" name="Picture 8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5929" y="228632"/>
            <a:ext cx="694500" cy="418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820953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2" y="205979"/>
            <a:ext cx="6860419" cy="959700"/>
          </a:xfrm>
          <a:prstGeom prst="rect">
            <a:avLst/>
          </a:prstGeom>
        </p:spPr>
        <p:txBody>
          <a:bodyPr lIns="0" tIns="46800" rIns="0" bIns="0" anchor="t"/>
          <a:lstStyle>
            <a:lvl1pPr algn="l">
              <a:defRPr sz="3000"/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830011" y="4866821"/>
            <a:ext cx="1375228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pPr defTabSz="457189"/>
            <a:endParaRPr lang="en-GB">
              <a:solidFill>
                <a:srgbClr val="0052A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00" y="4866821"/>
            <a:ext cx="4118429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pPr defTabSz="457189"/>
            <a:r>
              <a:rPr lang="en-GB">
                <a:solidFill>
                  <a:srgbClr val="0052A4"/>
                </a:solidFill>
              </a:rPr>
              <a:t>IRU pilot project: TIR fot alcohol</a:t>
            </a:r>
            <a:endParaRPr lang="en-GB" dirty="0">
              <a:solidFill>
                <a:srgbClr val="0052A4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1" y="4866821"/>
            <a:ext cx="1284515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pPr defTabSz="457189"/>
            <a:fld id="{8BC4BD7E-6A9D-424B-9890-D8BA950DB6FF}" type="slidenum">
              <a:rPr lang="en-GB" smtClean="0">
                <a:solidFill>
                  <a:srgbClr val="0052A4"/>
                </a:solidFill>
              </a:rPr>
              <a:pPr defTabSz="457189"/>
              <a:t>‹#›</a:t>
            </a:fld>
            <a:endParaRPr lang="en-GB">
              <a:solidFill>
                <a:srgbClr val="0052A4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57199" y="4862519"/>
            <a:ext cx="8233230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10" name="Picture 9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5929" y="228632"/>
            <a:ext cx="694500" cy="418684"/>
          </a:xfrm>
          <a:prstGeom prst="rect">
            <a:avLst/>
          </a:prstGeom>
        </p:spPr>
      </p:pic>
      <p:sp>
        <p:nvSpPr>
          <p:cNvPr id="1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57201" y="1503173"/>
            <a:ext cx="6860420" cy="322714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2000"/>
            </a:lvl1pPr>
            <a:lvl2pPr marL="0" indent="-287993">
              <a:buClr>
                <a:schemeClr val="accent3"/>
              </a:buClr>
              <a:buFont typeface="Arial"/>
              <a:buChar char="•"/>
              <a:defRPr sz="2000"/>
            </a:lvl2pPr>
            <a:lvl3pPr marL="1079973" indent="-431990">
              <a:buClr>
                <a:schemeClr val="accent3"/>
              </a:buClr>
              <a:buSzPct val="100000"/>
              <a:buFont typeface="Lucida Grande"/>
              <a:buChar char="-"/>
              <a:defRPr sz="2000"/>
            </a:lvl3pPr>
            <a:lvl4pPr marL="1799955" indent="-287993">
              <a:buClr>
                <a:schemeClr val="tx1">
                  <a:lumMod val="50000"/>
                  <a:lumOff val="50000"/>
                </a:schemeClr>
              </a:buClr>
              <a:buFont typeface="Arial"/>
              <a:buChar char="•"/>
              <a:defRPr sz="2000"/>
            </a:lvl4pPr>
            <a:lvl5pPr marL="2519937" indent="-431990">
              <a:buClr>
                <a:schemeClr val="tx1">
                  <a:lumMod val="50000"/>
                  <a:lumOff val="50000"/>
                </a:schemeClr>
              </a:buClr>
              <a:buFont typeface="Lucida Grande"/>
              <a:buChar char="-"/>
              <a:defRPr sz="20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9144966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icture Placeholder 1">
            <a:extLst>
              <a:ext uri="{FF2B5EF4-FFF2-40B4-BE49-F238E27FC236}">
                <a16:creationId xmlns:a16="http://schemas.microsoft.com/office/drawing/2014/main" id="{8D5B1E2A-FE76-1340-8B6A-0A88A3381C3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8769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350" baseline="0"/>
            </a:lvl1pPr>
          </a:lstStyle>
          <a:p>
            <a:r>
              <a:rPr lang="en-US" dirty="0"/>
              <a:t>Click to add image &gt; send to back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B34553C-0E64-0C49-860D-665C440A482D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1716932" y="3999208"/>
            <a:ext cx="3200400" cy="5095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5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dirty="0"/>
              <a:t>Click to edit Master subtitl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E1C12A7-275D-4840-8C99-6C2B8702BDE8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1716932" y="3380361"/>
            <a:ext cx="3200400" cy="61884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1800" b="1"/>
            </a:lvl1pPr>
          </a:lstStyle>
          <a:p>
            <a:r>
              <a:rPr lang="en-GB" dirty="0"/>
              <a:t>Click to edit Mas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5599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3.7037E-6 L 0 -0.125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25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2" presetClass="entr" presetSubtype="8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2" presetClass="entr" presetSubtype="8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2" presetClass="entr" presetSubtype="8" decel="5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" grpId="0"/>
    </p:bld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kg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0C3158A8-C809-8142-B23D-690BA6FF6E0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558403" y="-502443"/>
            <a:ext cx="10334626" cy="62043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/>
            </a:lvl1pPr>
          </a:lstStyle>
          <a:p>
            <a:r>
              <a:rPr lang="en-US" dirty="0"/>
              <a:t>Click to add image &gt; send to back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598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10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eme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0C3158A8-C809-8142-B23D-690BA6FF6E0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65053" y="456765"/>
            <a:ext cx="8213895" cy="4229972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None/>
              <a:defRPr sz="1500"/>
            </a:lvl1pPr>
          </a:lstStyle>
          <a:p>
            <a:r>
              <a:rPr lang="en-US" dirty="0"/>
              <a:t>Click to add image &gt; send to back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34267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+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205979"/>
            <a:ext cx="6860419" cy="959700"/>
          </a:xfrm>
          <a:prstGeom prst="rect">
            <a:avLst/>
          </a:prstGeom>
        </p:spPr>
        <p:txBody>
          <a:bodyPr lIns="0" tIns="46800" rIns="0" bIns="0" anchor="t"/>
          <a:lstStyle>
            <a:lvl1pPr algn="l">
              <a:defRPr sz="3000"/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830010" y="4866821"/>
            <a:ext cx="1375228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E8746A15-121C-437B-A7A1-BF114E21678F}" type="datetime1">
              <a:rPr lang="en-US" noProof="0" smtClean="0"/>
              <a:t>04/09/2021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1999" y="4866821"/>
            <a:ext cx="4118429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noProof="0"/>
              <a:t>Санкт-Петербург  4 апреля 2019 г.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4866821"/>
            <a:ext cx="1284515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8BC4BD7E-6A9D-424B-9890-D8BA950DB6F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57199" y="4862519"/>
            <a:ext cx="8233230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9" name="Chart Placeholder 8"/>
          <p:cNvSpPr>
            <a:spLocks noGrp="1"/>
          </p:cNvSpPr>
          <p:nvPr>
            <p:ph type="chart" sz="quarter" idx="14" hasCustomPrompt="1"/>
          </p:nvPr>
        </p:nvSpPr>
        <p:spPr>
          <a:xfrm>
            <a:off x="4572001" y="1503171"/>
            <a:ext cx="4117975" cy="322714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/>
            </a:lvl1pPr>
          </a:lstStyle>
          <a:p>
            <a:r>
              <a:rPr lang="en-GB" noProof="0" dirty="0"/>
              <a:t>chart</a:t>
            </a:r>
          </a:p>
        </p:txBody>
      </p:sp>
      <p:pic>
        <p:nvPicPr>
          <p:cNvPr id="10" name="Picture 9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5929" y="228631"/>
            <a:ext cx="694500" cy="418684"/>
          </a:xfrm>
          <a:prstGeom prst="rect">
            <a:avLst/>
          </a:prstGeom>
        </p:spPr>
      </p:pic>
      <p:sp>
        <p:nvSpPr>
          <p:cNvPr id="1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57200" y="1503172"/>
            <a:ext cx="4044587" cy="322714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2000"/>
            </a:lvl1pPr>
            <a:lvl2pPr marL="0" indent="-288000">
              <a:buClr>
                <a:schemeClr val="accent3"/>
              </a:buClr>
              <a:buFont typeface="Arial"/>
              <a:buChar char="•"/>
              <a:defRPr sz="2000"/>
            </a:lvl2pPr>
            <a:lvl3pPr marL="1080000" indent="-432000">
              <a:buClr>
                <a:schemeClr val="accent3"/>
              </a:buClr>
              <a:buSzPct val="100000"/>
              <a:buFont typeface="Lucida Grande"/>
              <a:buChar char="-"/>
              <a:defRPr sz="2000"/>
            </a:lvl3pPr>
            <a:lvl4pPr marL="1800000" indent="-288000">
              <a:buClr>
                <a:schemeClr val="tx1">
                  <a:lumMod val="50000"/>
                  <a:lumOff val="50000"/>
                </a:schemeClr>
              </a:buClr>
              <a:buFont typeface="Arial"/>
              <a:buChar char="•"/>
              <a:defRPr sz="2000"/>
            </a:lvl4pPr>
            <a:lvl5pPr marL="2520000" indent="-432000">
              <a:buClr>
                <a:schemeClr val="tx1">
                  <a:lumMod val="50000"/>
                  <a:lumOff val="50000"/>
                </a:schemeClr>
              </a:buClr>
              <a:buFont typeface="Lucida Grande"/>
              <a:buChar char="-"/>
              <a:defRPr sz="2000"/>
            </a:lvl5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4437498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9AE45BCA-5AA5-EC42-9FA9-F7848290AC2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1877204"/>
          </a:xfrm>
          <a:prstGeom prst="rect">
            <a:avLst/>
          </a:prstGeo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Insert image &gt; use “crop” to adjust &gt; send to back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E2535B-B6E6-B045-96C0-6D95AD3815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65984-D348-BF47-86A8-7DC2AFD6D920}" type="datetimeFigureOut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04/09/2021</a:t>
            </a:fld>
            <a:endParaRPr lang="en-US" dirty="0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8636DE-BF6E-7E4F-BC50-F94C91B2FC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C6508A-CE19-CD42-A4D0-0C62D6E4F9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6F86F5-1EE3-164C-BBF2-87129EE00A76}" type="slidenum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25" name="Title 24">
            <a:extLst>
              <a:ext uri="{FF2B5EF4-FFF2-40B4-BE49-F238E27FC236}">
                <a16:creationId xmlns:a16="http://schemas.microsoft.com/office/drawing/2014/main" id="{93CC24B2-2E12-7E4E-BE96-7E2300F339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256141"/>
            <a:ext cx="2366023" cy="644004"/>
          </a:xfrm>
          <a:prstGeom prst="rect">
            <a:avLst/>
          </a:prstGeom>
          <a:solidFill>
            <a:srgbClr val="0C95C6">
              <a:alpha val="9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72000" rIns="36000" bIns="7200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>
              <a:defRPr lang="en-US" sz="3600" dirty="0">
                <a:solidFill>
                  <a:schemeClr val="bg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</a:lstStyle>
          <a:p>
            <a:pPr marL="301229" lvl="0">
              <a:tabLst>
                <a:tab pos="255985" algn="l"/>
                <a:tab pos="301229" algn="l"/>
              </a:tabLst>
            </a:pPr>
            <a:r>
              <a:rPr lang="en-GB" dirty="0"/>
              <a:t>  CLICK TO</a:t>
            </a:r>
            <a:endParaRPr lang="en-US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BFE539A2-81CE-064E-BF16-091C7B7E87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1872720"/>
            <a:ext cx="2531064" cy="571301"/>
          </a:xfrm>
          <a:prstGeom prst="rect">
            <a:avLst/>
          </a:prstGeom>
          <a:solidFill>
            <a:srgbClr val="19B6F1">
              <a:alpha val="9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72000" bIns="3600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 marL="129779" indent="0">
              <a:buNone/>
              <a:defRPr lang="en-GB" sz="3600" dirty="0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en-GB" sz="1350" dirty="0" smtClean="0">
                <a:solidFill>
                  <a:schemeClr val="lt1"/>
                </a:solidFill>
                <a:latin typeface="Corbel" panose="020B0503020204020204" pitchFamily="34" charset="0"/>
              </a:defRPr>
            </a:lvl2pPr>
            <a:lvl3pPr>
              <a:defRPr lang="en-GB" sz="1350" dirty="0" smtClean="0">
                <a:solidFill>
                  <a:schemeClr val="lt1"/>
                </a:solidFill>
                <a:latin typeface="Corbel" panose="020B0503020204020204" pitchFamily="34" charset="0"/>
              </a:defRPr>
            </a:lvl3pPr>
            <a:lvl4pPr>
              <a:defRPr lang="en-GB" dirty="0" smtClean="0">
                <a:solidFill>
                  <a:schemeClr val="lt1"/>
                </a:solidFill>
                <a:latin typeface="Corbel" panose="020B0503020204020204" pitchFamily="34" charset="0"/>
              </a:defRPr>
            </a:lvl4pPr>
            <a:lvl5pPr>
              <a:defRPr lang="en-US" dirty="0">
                <a:solidFill>
                  <a:schemeClr val="lt1"/>
                </a:solidFill>
                <a:latin typeface="Corbel" panose="020B0503020204020204" pitchFamily="34" charset="0"/>
              </a:defRPr>
            </a:lvl5pPr>
          </a:lstStyle>
          <a:p>
            <a:pPr marL="301229" lvl="0"/>
            <a:r>
              <a:rPr lang="en-GB" dirty="0"/>
              <a:t>EDIT TITLE</a:t>
            </a:r>
            <a:endParaRPr lang="en-US" dirty="0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5881F67F-729C-6F43-9DF6-B5664EBE0E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650" y="2708569"/>
            <a:ext cx="5486400" cy="18943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 marL="600075" indent="-257175">
              <a:buFont typeface="Arial" panose="020B0604020202020204" pitchFamily="34" charset="0"/>
              <a:buChar char="•"/>
              <a:defRPr sz="1500"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GB" dirty="0"/>
              <a:t>First level text</a:t>
            </a:r>
          </a:p>
          <a:p>
            <a:pPr lvl="1"/>
            <a:r>
              <a:rPr lang="en-GB" dirty="0"/>
              <a:t>Second level text</a:t>
            </a:r>
          </a:p>
        </p:txBody>
      </p:sp>
      <p:sp>
        <p:nvSpPr>
          <p:cNvPr id="12" name="Content Placeholder 15">
            <a:extLst>
              <a:ext uri="{FF2B5EF4-FFF2-40B4-BE49-F238E27FC236}">
                <a16:creationId xmlns:a16="http://schemas.microsoft.com/office/drawing/2014/main" id="{EACF175F-3D14-3741-9AEA-0E299862FB50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457950" y="2708569"/>
            <a:ext cx="2057400" cy="18943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First level text</a:t>
            </a:r>
          </a:p>
          <a:p>
            <a:pPr lvl="1"/>
            <a:r>
              <a:rPr lang="en-GB" dirty="0"/>
              <a:t>Second level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B37141C2-3413-3B42-B190-8F312360317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92186" y="4839295"/>
            <a:ext cx="216000" cy="129778"/>
            <a:chOff x="5342425" y="2976487"/>
            <a:chExt cx="1506305" cy="905027"/>
          </a:xfrm>
        </p:grpSpPr>
        <p:sp>
          <p:nvSpPr>
            <p:cNvPr id="11" name="Freeform: Shape 30">
              <a:extLst>
                <a:ext uri="{FF2B5EF4-FFF2-40B4-BE49-F238E27FC236}">
                  <a16:creationId xmlns:a16="http://schemas.microsoft.com/office/drawing/2014/main" id="{522E486A-E665-1A44-861E-CF997C380190}"/>
                </a:ext>
              </a:extLst>
            </p:cNvPr>
            <p:cNvSpPr/>
            <p:nvPr/>
          </p:nvSpPr>
          <p:spPr>
            <a:xfrm>
              <a:off x="6162929" y="2976631"/>
              <a:ext cx="685801" cy="904876"/>
            </a:xfrm>
            <a:custGeom>
              <a:avLst/>
              <a:gdLst>
                <a:gd name="connsiteX0" fmla="*/ 419281 w 685800"/>
                <a:gd name="connsiteY0" fmla="*/ 0 h 904875"/>
                <a:gd name="connsiteX1" fmla="*/ 419281 w 685800"/>
                <a:gd name="connsiteY1" fmla="*/ 534876 h 904875"/>
                <a:gd name="connsiteX2" fmla="*/ 279302 w 685800"/>
                <a:gd name="connsiteY2" fmla="*/ 702840 h 904875"/>
                <a:gd name="connsiteX3" fmla="*/ 138046 w 685800"/>
                <a:gd name="connsiteY3" fmla="*/ 534876 h 904875"/>
                <a:gd name="connsiteX4" fmla="*/ 138046 w 685800"/>
                <a:gd name="connsiteY4" fmla="*/ 285007 h 904875"/>
                <a:gd name="connsiteX5" fmla="*/ 0 w 685800"/>
                <a:gd name="connsiteY5" fmla="*/ 499529 h 904875"/>
                <a:gd name="connsiteX6" fmla="*/ 219999 w 685800"/>
                <a:gd name="connsiteY6" fmla="*/ 905780 h 904875"/>
                <a:gd name="connsiteX7" fmla="*/ 237125 w 685800"/>
                <a:gd name="connsiteY7" fmla="*/ 906075 h 904875"/>
                <a:gd name="connsiteX8" fmla="*/ 286084 w 685800"/>
                <a:gd name="connsiteY8" fmla="*/ 906075 h 904875"/>
                <a:gd name="connsiteX9" fmla="*/ 584997 w 685800"/>
                <a:gd name="connsiteY9" fmla="*/ 811644 h 904875"/>
                <a:gd name="connsiteX10" fmla="*/ 690658 w 685800"/>
                <a:gd name="connsiteY10" fmla="*/ 523532 h 904875"/>
                <a:gd name="connsiteX11" fmla="*/ 690658 w 685800"/>
                <a:gd name="connsiteY11" fmla="*/ 0 h 904875"/>
                <a:gd name="connsiteX12" fmla="*/ 419281 w 685800"/>
                <a:gd name="connsiteY12" fmla="*/ 0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85800" h="904875">
                  <a:moveTo>
                    <a:pt x="419281" y="0"/>
                  </a:moveTo>
                  <a:lnTo>
                    <a:pt x="419281" y="534876"/>
                  </a:lnTo>
                  <a:cubicBezTo>
                    <a:pt x="419281" y="651358"/>
                    <a:pt x="352911" y="702840"/>
                    <a:pt x="279302" y="702840"/>
                  </a:cubicBezTo>
                  <a:cubicBezTo>
                    <a:pt x="202540" y="702840"/>
                    <a:pt x="138046" y="651358"/>
                    <a:pt x="138046" y="534876"/>
                  </a:cubicBezTo>
                  <a:lnTo>
                    <a:pt x="138046" y="285007"/>
                  </a:lnTo>
                  <a:cubicBezTo>
                    <a:pt x="138046" y="419967"/>
                    <a:pt x="0" y="499529"/>
                    <a:pt x="0" y="499529"/>
                  </a:cubicBezTo>
                  <a:lnTo>
                    <a:pt x="219999" y="905780"/>
                  </a:lnTo>
                  <a:cubicBezTo>
                    <a:pt x="225609" y="905961"/>
                    <a:pt x="231305" y="906075"/>
                    <a:pt x="237125" y="906075"/>
                  </a:cubicBezTo>
                  <a:lnTo>
                    <a:pt x="286084" y="906075"/>
                  </a:lnTo>
                  <a:cubicBezTo>
                    <a:pt x="418700" y="906075"/>
                    <a:pt x="507121" y="874205"/>
                    <a:pt x="584997" y="811644"/>
                  </a:cubicBezTo>
                  <a:cubicBezTo>
                    <a:pt x="668417" y="744255"/>
                    <a:pt x="690658" y="654729"/>
                    <a:pt x="690658" y="523532"/>
                  </a:cubicBezTo>
                  <a:lnTo>
                    <a:pt x="690658" y="0"/>
                  </a:lnTo>
                  <a:lnTo>
                    <a:pt x="419281" y="0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reeform: Shape 31">
              <a:extLst>
                <a:ext uri="{FF2B5EF4-FFF2-40B4-BE49-F238E27FC236}">
                  <a16:creationId xmlns:a16="http://schemas.microsoft.com/office/drawing/2014/main" id="{FD93A3B3-869E-D048-BDBC-279822AEA908}"/>
                </a:ext>
              </a:extLst>
            </p:cNvPr>
            <p:cNvSpPr/>
            <p:nvPr/>
          </p:nvSpPr>
          <p:spPr>
            <a:xfrm>
              <a:off x="5342425" y="2976631"/>
              <a:ext cx="190499" cy="904876"/>
            </a:xfrm>
            <a:custGeom>
              <a:avLst/>
              <a:gdLst>
                <a:gd name="connsiteX0" fmla="*/ 0 w 190500"/>
                <a:gd name="connsiteY0" fmla="*/ 0 h 904875"/>
                <a:gd name="connsiteX1" fmla="*/ 193062 w 190500"/>
                <a:gd name="connsiteY1" fmla="*/ 0 h 904875"/>
                <a:gd name="connsiteX2" fmla="*/ 193062 w 190500"/>
                <a:gd name="connsiteY2" fmla="*/ 906075 h 904875"/>
                <a:gd name="connsiteX3" fmla="*/ 0 w 1905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904875">
                  <a:moveTo>
                    <a:pt x="0" y="0"/>
                  </a:moveTo>
                  <a:lnTo>
                    <a:pt x="193062" y="0"/>
                  </a:lnTo>
                  <a:lnTo>
                    <a:pt x="193062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reeform: Shape 32">
              <a:extLst>
                <a:ext uri="{FF2B5EF4-FFF2-40B4-BE49-F238E27FC236}">
                  <a16:creationId xmlns:a16="http://schemas.microsoft.com/office/drawing/2014/main" id="{CE73B699-6BB9-0E4D-96A0-B8ED96CB78CE}"/>
                </a:ext>
              </a:extLst>
            </p:cNvPr>
            <p:cNvSpPr/>
            <p:nvPr/>
          </p:nvSpPr>
          <p:spPr>
            <a:xfrm>
              <a:off x="5688984" y="2976638"/>
              <a:ext cx="685801" cy="904876"/>
            </a:xfrm>
            <a:custGeom>
              <a:avLst/>
              <a:gdLst>
                <a:gd name="connsiteX0" fmla="*/ 343967 w 685800"/>
                <a:gd name="connsiteY0" fmla="*/ 523532 h 904875"/>
                <a:gd name="connsiteX1" fmla="*/ 343967 w 685800"/>
                <a:gd name="connsiteY1" fmla="*/ 0 h 904875"/>
                <a:gd name="connsiteX2" fmla="*/ 0 w 685800"/>
                <a:gd name="connsiteY2" fmla="*/ 0 h 904875"/>
                <a:gd name="connsiteX3" fmla="*/ 0 w 685800"/>
                <a:gd name="connsiteY3" fmla="*/ 906066 h 904875"/>
                <a:gd name="connsiteX4" fmla="*/ 112795 w 685800"/>
                <a:gd name="connsiteY4" fmla="*/ 906066 h 904875"/>
                <a:gd name="connsiteX5" fmla="*/ 112795 w 685800"/>
                <a:gd name="connsiteY5" fmla="*/ 567100 h 904875"/>
                <a:gd name="connsiteX6" fmla="*/ 250965 w 685800"/>
                <a:gd name="connsiteY6" fmla="*/ 567100 h 904875"/>
                <a:gd name="connsiteX7" fmla="*/ 404689 w 685800"/>
                <a:gd name="connsiteY7" fmla="*/ 906066 h 904875"/>
                <a:gd name="connsiteX8" fmla="*/ 694963 w 685800"/>
                <a:gd name="connsiteY8" fmla="*/ 906066 h 904875"/>
                <a:gd name="connsiteX9" fmla="*/ 694782 w 685800"/>
                <a:gd name="connsiteY9" fmla="*/ 905770 h 904875"/>
                <a:gd name="connsiteX10" fmla="*/ 451009 w 685800"/>
                <a:gd name="connsiteY10" fmla="*/ 811635 h 904875"/>
                <a:gd name="connsiteX11" fmla="*/ 343967 w 685800"/>
                <a:gd name="connsiteY11" fmla="*/ 523532 h 904875"/>
                <a:gd name="connsiteX12" fmla="*/ 232743 w 685800"/>
                <a:gd name="connsiteY12" fmla="*/ 388125 h 904875"/>
                <a:gd name="connsiteX13" fmla="*/ 112795 w 685800"/>
                <a:gd name="connsiteY13" fmla="*/ 388125 h 904875"/>
                <a:gd name="connsiteX14" fmla="*/ 112795 w 685800"/>
                <a:gd name="connsiteY14" fmla="*/ 181461 h 904875"/>
                <a:gd name="connsiteX15" fmla="*/ 239153 w 685800"/>
                <a:gd name="connsiteY15" fmla="*/ 181461 h 904875"/>
                <a:gd name="connsiteX16" fmla="*/ 342995 w 685800"/>
                <a:gd name="connsiteY16" fmla="*/ 279749 h 904875"/>
                <a:gd name="connsiteX17" fmla="*/ 232743 w 685800"/>
                <a:gd name="connsiteY17" fmla="*/ 38812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85800" h="904875">
                  <a:moveTo>
                    <a:pt x="343967" y="523532"/>
                  </a:moveTo>
                  <a:lnTo>
                    <a:pt x="343967" y="0"/>
                  </a:lnTo>
                  <a:lnTo>
                    <a:pt x="0" y="0"/>
                  </a:lnTo>
                  <a:lnTo>
                    <a:pt x="0" y="906066"/>
                  </a:lnTo>
                  <a:lnTo>
                    <a:pt x="112795" y="906066"/>
                  </a:lnTo>
                  <a:lnTo>
                    <a:pt x="112795" y="567100"/>
                  </a:lnTo>
                  <a:lnTo>
                    <a:pt x="250965" y="567100"/>
                  </a:lnTo>
                  <a:cubicBezTo>
                    <a:pt x="250965" y="567100"/>
                    <a:pt x="376533" y="830447"/>
                    <a:pt x="404689" y="906066"/>
                  </a:cubicBezTo>
                  <a:lnTo>
                    <a:pt x="694963" y="906066"/>
                  </a:lnTo>
                  <a:lnTo>
                    <a:pt x="694782" y="905770"/>
                  </a:lnTo>
                  <a:cubicBezTo>
                    <a:pt x="587626" y="902084"/>
                    <a:pt x="515950" y="863813"/>
                    <a:pt x="451009" y="811635"/>
                  </a:cubicBezTo>
                  <a:cubicBezTo>
                    <a:pt x="367599" y="744245"/>
                    <a:pt x="343967" y="654720"/>
                    <a:pt x="343967" y="523532"/>
                  </a:cubicBezTo>
                  <a:moveTo>
                    <a:pt x="232743" y="388125"/>
                  </a:moveTo>
                  <a:lnTo>
                    <a:pt x="112795" y="388125"/>
                  </a:lnTo>
                  <a:lnTo>
                    <a:pt x="112795" y="181461"/>
                  </a:lnTo>
                  <a:lnTo>
                    <a:pt x="239153" y="181461"/>
                  </a:lnTo>
                  <a:cubicBezTo>
                    <a:pt x="293837" y="181461"/>
                    <a:pt x="342995" y="212960"/>
                    <a:pt x="342995" y="279749"/>
                  </a:cubicBezTo>
                  <a:cubicBezTo>
                    <a:pt x="342995" y="355340"/>
                    <a:pt x="291989" y="388125"/>
                    <a:pt x="232743" y="388125"/>
                  </a:cubicBezTo>
                </a:path>
              </a:pathLst>
            </a:custGeom>
            <a:solidFill>
              <a:srgbClr val="2484C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reeform: Shape 33">
              <a:extLst>
                <a:ext uri="{FF2B5EF4-FFF2-40B4-BE49-F238E27FC236}">
                  <a16:creationId xmlns:a16="http://schemas.microsoft.com/office/drawing/2014/main" id="{4B481F92-AB61-1947-9E81-499225E71224}"/>
                </a:ext>
              </a:extLst>
            </p:cNvPr>
            <p:cNvSpPr/>
            <p:nvPr/>
          </p:nvSpPr>
          <p:spPr>
            <a:xfrm>
              <a:off x="6032105" y="2976487"/>
              <a:ext cx="342900" cy="904875"/>
            </a:xfrm>
            <a:custGeom>
              <a:avLst/>
              <a:gdLst>
                <a:gd name="connsiteX0" fmla="*/ 268871 w 342900"/>
                <a:gd name="connsiteY0" fmla="*/ 285007 h 904875"/>
                <a:gd name="connsiteX1" fmla="*/ 268871 w 342900"/>
                <a:gd name="connsiteY1" fmla="*/ 243878 h 904875"/>
                <a:gd name="connsiteX2" fmla="*/ 0 w 342900"/>
                <a:gd name="connsiteY2" fmla="*/ 0 h 904875"/>
                <a:gd name="connsiteX3" fmla="*/ 0 w 342900"/>
                <a:gd name="connsiteY3" fmla="*/ 523532 h 904875"/>
                <a:gd name="connsiteX4" fmla="*/ 107052 w 342900"/>
                <a:gd name="connsiteY4" fmla="*/ 811644 h 904875"/>
                <a:gd name="connsiteX5" fmla="*/ 350825 w 342900"/>
                <a:gd name="connsiteY5" fmla="*/ 905789 h 904875"/>
                <a:gd name="connsiteX6" fmla="*/ 130836 w 342900"/>
                <a:gd name="connsiteY6" fmla="*/ 499539 h 904875"/>
                <a:gd name="connsiteX7" fmla="*/ 268871 w 342900"/>
                <a:gd name="connsiteY7" fmla="*/ 285007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2900" h="904875">
                  <a:moveTo>
                    <a:pt x="268871" y="285007"/>
                  </a:moveTo>
                  <a:lnTo>
                    <a:pt x="268871" y="243878"/>
                  </a:lnTo>
                  <a:cubicBezTo>
                    <a:pt x="268871" y="94393"/>
                    <a:pt x="110528" y="0"/>
                    <a:pt x="0" y="0"/>
                  </a:cubicBezTo>
                  <a:lnTo>
                    <a:pt x="0" y="523532"/>
                  </a:lnTo>
                  <a:cubicBezTo>
                    <a:pt x="0" y="654729"/>
                    <a:pt x="23641" y="744264"/>
                    <a:pt x="107052" y="811644"/>
                  </a:cubicBezTo>
                  <a:cubicBezTo>
                    <a:pt x="171993" y="863813"/>
                    <a:pt x="243668" y="902084"/>
                    <a:pt x="350825" y="905789"/>
                  </a:cubicBezTo>
                  <a:lnTo>
                    <a:pt x="130836" y="499539"/>
                  </a:lnTo>
                  <a:cubicBezTo>
                    <a:pt x="130836" y="499539"/>
                    <a:pt x="268871" y="419957"/>
                    <a:pt x="268871" y="285007"/>
                  </a:cubicBezTo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reeform: Shape 34">
              <a:extLst>
                <a:ext uri="{FF2B5EF4-FFF2-40B4-BE49-F238E27FC236}">
                  <a16:creationId xmlns:a16="http://schemas.microsoft.com/office/drawing/2014/main" id="{A3D858F5-89A4-4941-A001-A7AF60DFE1E5}"/>
                </a:ext>
              </a:extLst>
            </p:cNvPr>
            <p:cNvSpPr/>
            <p:nvPr/>
          </p:nvSpPr>
          <p:spPr>
            <a:xfrm>
              <a:off x="5535487" y="2976487"/>
              <a:ext cx="152399" cy="904875"/>
            </a:xfrm>
            <a:custGeom>
              <a:avLst/>
              <a:gdLst>
                <a:gd name="connsiteX0" fmla="*/ 0 w 152400"/>
                <a:gd name="connsiteY0" fmla="*/ 0 h 904875"/>
                <a:gd name="connsiteX1" fmla="*/ 153495 w 152400"/>
                <a:gd name="connsiteY1" fmla="*/ 0 h 904875"/>
                <a:gd name="connsiteX2" fmla="*/ 153495 w 152400"/>
                <a:gd name="connsiteY2" fmla="*/ 906075 h 904875"/>
                <a:gd name="connsiteX3" fmla="*/ 0 w 1524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400" h="904875">
                  <a:moveTo>
                    <a:pt x="0" y="0"/>
                  </a:moveTo>
                  <a:lnTo>
                    <a:pt x="153495" y="0"/>
                  </a:lnTo>
                  <a:lnTo>
                    <a:pt x="153495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0824472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img_h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9AE45BCA-5AA5-EC42-9FA9-F7848290AC2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1877204"/>
          </a:xfrm>
          <a:prstGeom prst="rect">
            <a:avLst/>
          </a:prstGeo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Insert image &gt; use “crop” to adjust &gt; send to back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E2535B-B6E6-B045-96C0-6D95AD3815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65984-D348-BF47-86A8-7DC2AFD6D920}" type="datetimeFigureOut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04/09/2021</a:t>
            </a:fld>
            <a:endParaRPr lang="en-US" dirty="0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8636DE-BF6E-7E4F-BC50-F94C91B2FC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C6508A-CE19-CD42-A4D0-0C62D6E4F9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6F86F5-1EE3-164C-BBF2-87129EE00A76}" type="slidenum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25" name="Title 24">
            <a:extLst>
              <a:ext uri="{FF2B5EF4-FFF2-40B4-BE49-F238E27FC236}">
                <a16:creationId xmlns:a16="http://schemas.microsoft.com/office/drawing/2014/main" id="{93CC24B2-2E12-7E4E-BE96-7E2300F339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256141"/>
            <a:ext cx="2366023" cy="644004"/>
          </a:xfrm>
          <a:prstGeom prst="rect">
            <a:avLst/>
          </a:prstGeom>
          <a:solidFill>
            <a:srgbClr val="0C95C6">
              <a:alpha val="9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72000" rIns="36000" bIns="7200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>
              <a:defRPr lang="en-US" sz="3600" dirty="0">
                <a:solidFill>
                  <a:schemeClr val="bg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</a:lstStyle>
          <a:p>
            <a:pPr marL="301229" lvl="0">
              <a:tabLst>
                <a:tab pos="255985" algn="l"/>
                <a:tab pos="301229" algn="l"/>
              </a:tabLst>
            </a:pPr>
            <a:r>
              <a:rPr lang="en-GB" dirty="0"/>
              <a:t>  CLICK TO</a:t>
            </a:r>
            <a:endParaRPr lang="en-US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BFE539A2-81CE-064E-BF16-091C7B7E87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1872720"/>
            <a:ext cx="2531064" cy="571301"/>
          </a:xfrm>
          <a:prstGeom prst="rect">
            <a:avLst/>
          </a:prstGeom>
          <a:solidFill>
            <a:srgbClr val="19B6F1">
              <a:alpha val="9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72000" bIns="3600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 marL="129779" indent="0">
              <a:buNone/>
              <a:defRPr lang="en-GB" sz="3600" dirty="0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en-GB" sz="1350" dirty="0" smtClean="0">
                <a:solidFill>
                  <a:schemeClr val="lt1"/>
                </a:solidFill>
                <a:latin typeface="Corbel" panose="020B0503020204020204" pitchFamily="34" charset="0"/>
              </a:defRPr>
            </a:lvl2pPr>
            <a:lvl3pPr>
              <a:defRPr lang="en-GB" sz="1350" dirty="0" smtClean="0">
                <a:solidFill>
                  <a:schemeClr val="lt1"/>
                </a:solidFill>
                <a:latin typeface="Corbel" panose="020B0503020204020204" pitchFamily="34" charset="0"/>
              </a:defRPr>
            </a:lvl3pPr>
            <a:lvl4pPr>
              <a:defRPr lang="en-GB" dirty="0" smtClean="0">
                <a:solidFill>
                  <a:schemeClr val="lt1"/>
                </a:solidFill>
                <a:latin typeface="Corbel" panose="020B0503020204020204" pitchFamily="34" charset="0"/>
              </a:defRPr>
            </a:lvl4pPr>
            <a:lvl5pPr>
              <a:defRPr lang="en-US" dirty="0">
                <a:solidFill>
                  <a:schemeClr val="lt1"/>
                </a:solidFill>
                <a:latin typeface="Corbel" panose="020B0503020204020204" pitchFamily="34" charset="0"/>
              </a:defRPr>
            </a:lvl5pPr>
          </a:lstStyle>
          <a:p>
            <a:pPr marL="301229" lvl="0"/>
            <a:r>
              <a:rPr lang="en-GB" dirty="0"/>
              <a:t>EDIT TITLE</a:t>
            </a:r>
            <a:endParaRPr lang="en-US" dirty="0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5881F67F-729C-6F43-9DF6-B5664EBE0E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650" y="2708569"/>
            <a:ext cx="5486400" cy="18943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 marL="600075" indent="-257175">
              <a:buFont typeface="Arial" panose="020B0604020202020204" pitchFamily="34" charset="0"/>
              <a:buChar char="•"/>
              <a:defRPr sz="1500"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GB" dirty="0"/>
              <a:t>First level text</a:t>
            </a:r>
          </a:p>
          <a:p>
            <a:pPr lvl="1"/>
            <a:r>
              <a:rPr lang="en-GB" dirty="0"/>
              <a:t>Second level text</a:t>
            </a:r>
          </a:p>
        </p:txBody>
      </p:sp>
      <p:sp>
        <p:nvSpPr>
          <p:cNvPr id="33" name="Text Placeholder 31">
            <a:extLst>
              <a:ext uri="{FF2B5EF4-FFF2-40B4-BE49-F238E27FC236}">
                <a16:creationId xmlns:a16="http://schemas.microsoft.com/office/drawing/2014/main" id="{EDF976E4-0C3A-164F-B867-BA1AFE98249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55648" y="2708569"/>
            <a:ext cx="2057400" cy="1894388"/>
          </a:xfrm>
          <a:prstGeom prst="rect">
            <a:avLst/>
          </a:prstGeom>
          <a:solidFill>
            <a:schemeClr val="accent5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500" b="1"/>
            </a:lvl1pPr>
            <a:lvl2pPr marL="600075" indent="-257175">
              <a:buFont typeface="Arial" panose="020B0604020202020204" pitchFamily="34" charset="0"/>
              <a:buChar char="•"/>
              <a:defRPr sz="1500"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GB" dirty="0"/>
              <a:t>Text box highlight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399239A-EC88-3E4C-9B9A-ACC106535C5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92186" y="4839295"/>
            <a:ext cx="216000" cy="129778"/>
            <a:chOff x="5342425" y="2976487"/>
            <a:chExt cx="1506305" cy="905027"/>
          </a:xfrm>
        </p:grpSpPr>
        <p:sp>
          <p:nvSpPr>
            <p:cNvPr id="11" name="Freeform: Shape 30">
              <a:extLst>
                <a:ext uri="{FF2B5EF4-FFF2-40B4-BE49-F238E27FC236}">
                  <a16:creationId xmlns:a16="http://schemas.microsoft.com/office/drawing/2014/main" id="{CF986196-4F93-2C4D-8938-2EAEB906FDC9}"/>
                </a:ext>
              </a:extLst>
            </p:cNvPr>
            <p:cNvSpPr/>
            <p:nvPr/>
          </p:nvSpPr>
          <p:spPr>
            <a:xfrm>
              <a:off x="6162929" y="2976631"/>
              <a:ext cx="685801" cy="904876"/>
            </a:xfrm>
            <a:custGeom>
              <a:avLst/>
              <a:gdLst>
                <a:gd name="connsiteX0" fmla="*/ 419281 w 685800"/>
                <a:gd name="connsiteY0" fmla="*/ 0 h 904875"/>
                <a:gd name="connsiteX1" fmla="*/ 419281 w 685800"/>
                <a:gd name="connsiteY1" fmla="*/ 534876 h 904875"/>
                <a:gd name="connsiteX2" fmla="*/ 279302 w 685800"/>
                <a:gd name="connsiteY2" fmla="*/ 702840 h 904875"/>
                <a:gd name="connsiteX3" fmla="*/ 138046 w 685800"/>
                <a:gd name="connsiteY3" fmla="*/ 534876 h 904875"/>
                <a:gd name="connsiteX4" fmla="*/ 138046 w 685800"/>
                <a:gd name="connsiteY4" fmla="*/ 285007 h 904875"/>
                <a:gd name="connsiteX5" fmla="*/ 0 w 685800"/>
                <a:gd name="connsiteY5" fmla="*/ 499529 h 904875"/>
                <a:gd name="connsiteX6" fmla="*/ 219999 w 685800"/>
                <a:gd name="connsiteY6" fmla="*/ 905780 h 904875"/>
                <a:gd name="connsiteX7" fmla="*/ 237125 w 685800"/>
                <a:gd name="connsiteY7" fmla="*/ 906075 h 904875"/>
                <a:gd name="connsiteX8" fmla="*/ 286084 w 685800"/>
                <a:gd name="connsiteY8" fmla="*/ 906075 h 904875"/>
                <a:gd name="connsiteX9" fmla="*/ 584997 w 685800"/>
                <a:gd name="connsiteY9" fmla="*/ 811644 h 904875"/>
                <a:gd name="connsiteX10" fmla="*/ 690658 w 685800"/>
                <a:gd name="connsiteY10" fmla="*/ 523532 h 904875"/>
                <a:gd name="connsiteX11" fmla="*/ 690658 w 685800"/>
                <a:gd name="connsiteY11" fmla="*/ 0 h 904875"/>
                <a:gd name="connsiteX12" fmla="*/ 419281 w 685800"/>
                <a:gd name="connsiteY12" fmla="*/ 0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85800" h="904875">
                  <a:moveTo>
                    <a:pt x="419281" y="0"/>
                  </a:moveTo>
                  <a:lnTo>
                    <a:pt x="419281" y="534876"/>
                  </a:lnTo>
                  <a:cubicBezTo>
                    <a:pt x="419281" y="651358"/>
                    <a:pt x="352911" y="702840"/>
                    <a:pt x="279302" y="702840"/>
                  </a:cubicBezTo>
                  <a:cubicBezTo>
                    <a:pt x="202540" y="702840"/>
                    <a:pt x="138046" y="651358"/>
                    <a:pt x="138046" y="534876"/>
                  </a:cubicBezTo>
                  <a:lnTo>
                    <a:pt x="138046" y="285007"/>
                  </a:lnTo>
                  <a:cubicBezTo>
                    <a:pt x="138046" y="419967"/>
                    <a:pt x="0" y="499529"/>
                    <a:pt x="0" y="499529"/>
                  </a:cubicBezTo>
                  <a:lnTo>
                    <a:pt x="219999" y="905780"/>
                  </a:lnTo>
                  <a:cubicBezTo>
                    <a:pt x="225609" y="905961"/>
                    <a:pt x="231305" y="906075"/>
                    <a:pt x="237125" y="906075"/>
                  </a:cubicBezTo>
                  <a:lnTo>
                    <a:pt x="286084" y="906075"/>
                  </a:lnTo>
                  <a:cubicBezTo>
                    <a:pt x="418700" y="906075"/>
                    <a:pt x="507121" y="874205"/>
                    <a:pt x="584997" y="811644"/>
                  </a:cubicBezTo>
                  <a:cubicBezTo>
                    <a:pt x="668417" y="744255"/>
                    <a:pt x="690658" y="654729"/>
                    <a:pt x="690658" y="523532"/>
                  </a:cubicBezTo>
                  <a:lnTo>
                    <a:pt x="690658" y="0"/>
                  </a:lnTo>
                  <a:lnTo>
                    <a:pt x="419281" y="0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reeform: Shape 31">
              <a:extLst>
                <a:ext uri="{FF2B5EF4-FFF2-40B4-BE49-F238E27FC236}">
                  <a16:creationId xmlns:a16="http://schemas.microsoft.com/office/drawing/2014/main" id="{935EFBE0-4EED-9D40-B582-C466F849B025}"/>
                </a:ext>
              </a:extLst>
            </p:cNvPr>
            <p:cNvSpPr/>
            <p:nvPr/>
          </p:nvSpPr>
          <p:spPr>
            <a:xfrm>
              <a:off x="5342425" y="2976631"/>
              <a:ext cx="190499" cy="904876"/>
            </a:xfrm>
            <a:custGeom>
              <a:avLst/>
              <a:gdLst>
                <a:gd name="connsiteX0" fmla="*/ 0 w 190500"/>
                <a:gd name="connsiteY0" fmla="*/ 0 h 904875"/>
                <a:gd name="connsiteX1" fmla="*/ 193062 w 190500"/>
                <a:gd name="connsiteY1" fmla="*/ 0 h 904875"/>
                <a:gd name="connsiteX2" fmla="*/ 193062 w 190500"/>
                <a:gd name="connsiteY2" fmla="*/ 906075 h 904875"/>
                <a:gd name="connsiteX3" fmla="*/ 0 w 1905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904875">
                  <a:moveTo>
                    <a:pt x="0" y="0"/>
                  </a:moveTo>
                  <a:lnTo>
                    <a:pt x="193062" y="0"/>
                  </a:lnTo>
                  <a:lnTo>
                    <a:pt x="193062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reeform: Shape 32">
              <a:extLst>
                <a:ext uri="{FF2B5EF4-FFF2-40B4-BE49-F238E27FC236}">
                  <a16:creationId xmlns:a16="http://schemas.microsoft.com/office/drawing/2014/main" id="{B18D9DF4-4B24-844D-AC8E-7A52F84AB165}"/>
                </a:ext>
              </a:extLst>
            </p:cNvPr>
            <p:cNvSpPr/>
            <p:nvPr/>
          </p:nvSpPr>
          <p:spPr>
            <a:xfrm>
              <a:off x="5688984" y="2976638"/>
              <a:ext cx="685801" cy="904876"/>
            </a:xfrm>
            <a:custGeom>
              <a:avLst/>
              <a:gdLst>
                <a:gd name="connsiteX0" fmla="*/ 343967 w 685800"/>
                <a:gd name="connsiteY0" fmla="*/ 523532 h 904875"/>
                <a:gd name="connsiteX1" fmla="*/ 343967 w 685800"/>
                <a:gd name="connsiteY1" fmla="*/ 0 h 904875"/>
                <a:gd name="connsiteX2" fmla="*/ 0 w 685800"/>
                <a:gd name="connsiteY2" fmla="*/ 0 h 904875"/>
                <a:gd name="connsiteX3" fmla="*/ 0 w 685800"/>
                <a:gd name="connsiteY3" fmla="*/ 906066 h 904875"/>
                <a:gd name="connsiteX4" fmla="*/ 112795 w 685800"/>
                <a:gd name="connsiteY4" fmla="*/ 906066 h 904875"/>
                <a:gd name="connsiteX5" fmla="*/ 112795 w 685800"/>
                <a:gd name="connsiteY5" fmla="*/ 567100 h 904875"/>
                <a:gd name="connsiteX6" fmla="*/ 250965 w 685800"/>
                <a:gd name="connsiteY6" fmla="*/ 567100 h 904875"/>
                <a:gd name="connsiteX7" fmla="*/ 404689 w 685800"/>
                <a:gd name="connsiteY7" fmla="*/ 906066 h 904875"/>
                <a:gd name="connsiteX8" fmla="*/ 694963 w 685800"/>
                <a:gd name="connsiteY8" fmla="*/ 906066 h 904875"/>
                <a:gd name="connsiteX9" fmla="*/ 694782 w 685800"/>
                <a:gd name="connsiteY9" fmla="*/ 905770 h 904875"/>
                <a:gd name="connsiteX10" fmla="*/ 451009 w 685800"/>
                <a:gd name="connsiteY10" fmla="*/ 811635 h 904875"/>
                <a:gd name="connsiteX11" fmla="*/ 343967 w 685800"/>
                <a:gd name="connsiteY11" fmla="*/ 523532 h 904875"/>
                <a:gd name="connsiteX12" fmla="*/ 232743 w 685800"/>
                <a:gd name="connsiteY12" fmla="*/ 388125 h 904875"/>
                <a:gd name="connsiteX13" fmla="*/ 112795 w 685800"/>
                <a:gd name="connsiteY13" fmla="*/ 388125 h 904875"/>
                <a:gd name="connsiteX14" fmla="*/ 112795 w 685800"/>
                <a:gd name="connsiteY14" fmla="*/ 181461 h 904875"/>
                <a:gd name="connsiteX15" fmla="*/ 239153 w 685800"/>
                <a:gd name="connsiteY15" fmla="*/ 181461 h 904875"/>
                <a:gd name="connsiteX16" fmla="*/ 342995 w 685800"/>
                <a:gd name="connsiteY16" fmla="*/ 279749 h 904875"/>
                <a:gd name="connsiteX17" fmla="*/ 232743 w 685800"/>
                <a:gd name="connsiteY17" fmla="*/ 38812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85800" h="904875">
                  <a:moveTo>
                    <a:pt x="343967" y="523532"/>
                  </a:moveTo>
                  <a:lnTo>
                    <a:pt x="343967" y="0"/>
                  </a:lnTo>
                  <a:lnTo>
                    <a:pt x="0" y="0"/>
                  </a:lnTo>
                  <a:lnTo>
                    <a:pt x="0" y="906066"/>
                  </a:lnTo>
                  <a:lnTo>
                    <a:pt x="112795" y="906066"/>
                  </a:lnTo>
                  <a:lnTo>
                    <a:pt x="112795" y="567100"/>
                  </a:lnTo>
                  <a:lnTo>
                    <a:pt x="250965" y="567100"/>
                  </a:lnTo>
                  <a:cubicBezTo>
                    <a:pt x="250965" y="567100"/>
                    <a:pt x="376533" y="830447"/>
                    <a:pt x="404689" y="906066"/>
                  </a:cubicBezTo>
                  <a:lnTo>
                    <a:pt x="694963" y="906066"/>
                  </a:lnTo>
                  <a:lnTo>
                    <a:pt x="694782" y="905770"/>
                  </a:lnTo>
                  <a:cubicBezTo>
                    <a:pt x="587626" y="902084"/>
                    <a:pt x="515950" y="863813"/>
                    <a:pt x="451009" y="811635"/>
                  </a:cubicBezTo>
                  <a:cubicBezTo>
                    <a:pt x="367599" y="744245"/>
                    <a:pt x="343967" y="654720"/>
                    <a:pt x="343967" y="523532"/>
                  </a:cubicBezTo>
                  <a:moveTo>
                    <a:pt x="232743" y="388125"/>
                  </a:moveTo>
                  <a:lnTo>
                    <a:pt x="112795" y="388125"/>
                  </a:lnTo>
                  <a:lnTo>
                    <a:pt x="112795" y="181461"/>
                  </a:lnTo>
                  <a:lnTo>
                    <a:pt x="239153" y="181461"/>
                  </a:lnTo>
                  <a:cubicBezTo>
                    <a:pt x="293837" y="181461"/>
                    <a:pt x="342995" y="212960"/>
                    <a:pt x="342995" y="279749"/>
                  </a:cubicBezTo>
                  <a:cubicBezTo>
                    <a:pt x="342995" y="355340"/>
                    <a:pt x="291989" y="388125"/>
                    <a:pt x="232743" y="388125"/>
                  </a:cubicBezTo>
                </a:path>
              </a:pathLst>
            </a:custGeom>
            <a:solidFill>
              <a:srgbClr val="2484C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reeform: Shape 33">
              <a:extLst>
                <a:ext uri="{FF2B5EF4-FFF2-40B4-BE49-F238E27FC236}">
                  <a16:creationId xmlns:a16="http://schemas.microsoft.com/office/drawing/2014/main" id="{9AE6F092-3DCC-EB40-9DA9-60229C62927A}"/>
                </a:ext>
              </a:extLst>
            </p:cNvPr>
            <p:cNvSpPr/>
            <p:nvPr/>
          </p:nvSpPr>
          <p:spPr>
            <a:xfrm>
              <a:off x="6032105" y="2976487"/>
              <a:ext cx="342900" cy="904875"/>
            </a:xfrm>
            <a:custGeom>
              <a:avLst/>
              <a:gdLst>
                <a:gd name="connsiteX0" fmla="*/ 268871 w 342900"/>
                <a:gd name="connsiteY0" fmla="*/ 285007 h 904875"/>
                <a:gd name="connsiteX1" fmla="*/ 268871 w 342900"/>
                <a:gd name="connsiteY1" fmla="*/ 243878 h 904875"/>
                <a:gd name="connsiteX2" fmla="*/ 0 w 342900"/>
                <a:gd name="connsiteY2" fmla="*/ 0 h 904875"/>
                <a:gd name="connsiteX3" fmla="*/ 0 w 342900"/>
                <a:gd name="connsiteY3" fmla="*/ 523532 h 904875"/>
                <a:gd name="connsiteX4" fmla="*/ 107052 w 342900"/>
                <a:gd name="connsiteY4" fmla="*/ 811644 h 904875"/>
                <a:gd name="connsiteX5" fmla="*/ 350825 w 342900"/>
                <a:gd name="connsiteY5" fmla="*/ 905789 h 904875"/>
                <a:gd name="connsiteX6" fmla="*/ 130836 w 342900"/>
                <a:gd name="connsiteY6" fmla="*/ 499539 h 904875"/>
                <a:gd name="connsiteX7" fmla="*/ 268871 w 342900"/>
                <a:gd name="connsiteY7" fmla="*/ 285007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2900" h="904875">
                  <a:moveTo>
                    <a:pt x="268871" y="285007"/>
                  </a:moveTo>
                  <a:lnTo>
                    <a:pt x="268871" y="243878"/>
                  </a:lnTo>
                  <a:cubicBezTo>
                    <a:pt x="268871" y="94393"/>
                    <a:pt x="110528" y="0"/>
                    <a:pt x="0" y="0"/>
                  </a:cubicBezTo>
                  <a:lnTo>
                    <a:pt x="0" y="523532"/>
                  </a:lnTo>
                  <a:cubicBezTo>
                    <a:pt x="0" y="654729"/>
                    <a:pt x="23641" y="744264"/>
                    <a:pt x="107052" y="811644"/>
                  </a:cubicBezTo>
                  <a:cubicBezTo>
                    <a:pt x="171993" y="863813"/>
                    <a:pt x="243668" y="902084"/>
                    <a:pt x="350825" y="905789"/>
                  </a:cubicBezTo>
                  <a:lnTo>
                    <a:pt x="130836" y="499539"/>
                  </a:lnTo>
                  <a:cubicBezTo>
                    <a:pt x="130836" y="499539"/>
                    <a:pt x="268871" y="419957"/>
                    <a:pt x="268871" y="285007"/>
                  </a:cubicBezTo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reeform: Shape 34">
              <a:extLst>
                <a:ext uri="{FF2B5EF4-FFF2-40B4-BE49-F238E27FC236}">
                  <a16:creationId xmlns:a16="http://schemas.microsoft.com/office/drawing/2014/main" id="{898548ED-2C9F-164E-A25D-36292334266A}"/>
                </a:ext>
              </a:extLst>
            </p:cNvPr>
            <p:cNvSpPr/>
            <p:nvPr/>
          </p:nvSpPr>
          <p:spPr>
            <a:xfrm>
              <a:off x="5535487" y="2976487"/>
              <a:ext cx="152399" cy="904875"/>
            </a:xfrm>
            <a:custGeom>
              <a:avLst/>
              <a:gdLst>
                <a:gd name="connsiteX0" fmla="*/ 0 w 152400"/>
                <a:gd name="connsiteY0" fmla="*/ 0 h 904875"/>
                <a:gd name="connsiteX1" fmla="*/ 153495 w 152400"/>
                <a:gd name="connsiteY1" fmla="*/ 0 h 904875"/>
                <a:gd name="connsiteX2" fmla="*/ 153495 w 152400"/>
                <a:gd name="connsiteY2" fmla="*/ 906075 h 904875"/>
                <a:gd name="connsiteX3" fmla="*/ 0 w 1524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400" h="904875">
                  <a:moveTo>
                    <a:pt x="0" y="0"/>
                  </a:moveTo>
                  <a:lnTo>
                    <a:pt x="153495" y="0"/>
                  </a:lnTo>
                  <a:lnTo>
                    <a:pt x="153495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0588860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E2535B-B6E6-B045-96C0-6D95AD3815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65984-D348-BF47-86A8-7DC2AFD6D920}" type="datetimeFigureOut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04/09/2021</a:t>
            </a:fld>
            <a:endParaRPr lang="en-US" dirty="0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8636DE-BF6E-7E4F-BC50-F94C91B2FC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C6508A-CE19-CD42-A4D0-0C62D6E4F9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6F86F5-1EE3-164C-BBF2-87129EE00A76}" type="slidenum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25" name="Title 24">
            <a:extLst>
              <a:ext uri="{FF2B5EF4-FFF2-40B4-BE49-F238E27FC236}">
                <a16:creationId xmlns:a16="http://schemas.microsoft.com/office/drawing/2014/main" id="{93CC24B2-2E12-7E4E-BE96-7E2300F339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71620"/>
            <a:ext cx="2366023" cy="644004"/>
          </a:xfrm>
          <a:prstGeom prst="rect">
            <a:avLst/>
          </a:prstGeom>
          <a:solidFill>
            <a:srgbClr val="0C95C6">
              <a:alpha val="9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72000" rIns="36000" bIns="7200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>
              <a:defRPr lang="en-US" sz="3600" dirty="0">
                <a:solidFill>
                  <a:schemeClr val="bg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</a:lstStyle>
          <a:p>
            <a:pPr marL="301229" lvl="0">
              <a:tabLst>
                <a:tab pos="255985" algn="l"/>
                <a:tab pos="301229" algn="l"/>
              </a:tabLst>
            </a:pPr>
            <a:r>
              <a:rPr lang="en-GB" dirty="0"/>
              <a:t>  CLICK TO</a:t>
            </a:r>
            <a:endParaRPr lang="en-US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BFE539A2-81CE-064E-BF16-091C7B7E87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788199"/>
            <a:ext cx="2531064" cy="571301"/>
          </a:xfrm>
          <a:prstGeom prst="rect">
            <a:avLst/>
          </a:prstGeom>
          <a:solidFill>
            <a:srgbClr val="19B6F1">
              <a:alpha val="9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72000" bIns="3600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 marL="129779" indent="0">
              <a:buNone/>
              <a:defRPr lang="en-GB" sz="3600" dirty="0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en-GB" sz="1350" dirty="0" smtClean="0">
                <a:solidFill>
                  <a:schemeClr val="lt1"/>
                </a:solidFill>
                <a:latin typeface="Corbel" panose="020B0503020204020204" pitchFamily="34" charset="0"/>
              </a:defRPr>
            </a:lvl2pPr>
            <a:lvl3pPr>
              <a:defRPr lang="en-GB" sz="1350" dirty="0" smtClean="0">
                <a:solidFill>
                  <a:schemeClr val="lt1"/>
                </a:solidFill>
                <a:latin typeface="Corbel" panose="020B0503020204020204" pitchFamily="34" charset="0"/>
              </a:defRPr>
            </a:lvl3pPr>
            <a:lvl4pPr>
              <a:defRPr lang="en-GB" dirty="0" smtClean="0">
                <a:solidFill>
                  <a:schemeClr val="lt1"/>
                </a:solidFill>
                <a:latin typeface="Corbel" panose="020B0503020204020204" pitchFamily="34" charset="0"/>
              </a:defRPr>
            </a:lvl4pPr>
            <a:lvl5pPr>
              <a:defRPr lang="en-US" dirty="0">
                <a:solidFill>
                  <a:schemeClr val="lt1"/>
                </a:solidFill>
                <a:latin typeface="Corbel" panose="020B0503020204020204" pitchFamily="34" charset="0"/>
              </a:defRPr>
            </a:lvl5pPr>
          </a:lstStyle>
          <a:p>
            <a:pPr marL="301229" lvl="0"/>
            <a:r>
              <a:rPr lang="en-GB" dirty="0"/>
              <a:t>EDIT TITLE</a:t>
            </a:r>
            <a:endParaRPr lang="en-US" dirty="0"/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16710074-5457-5A4B-8418-53AD4808E749}"/>
              </a:ext>
            </a:extLst>
          </p:cNvPr>
          <p:cNvSpPr/>
          <p:nvPr userDrawn="1"/>
        </p:nvSpPr>
        <p:spPr>
          <a:xfrm>
            <a:off x="3028951" y="1544638"/>
            <a:ext cx="1686143" cy="2722259"/>
          </a:xfrm>
          <a:prstGeom prst="roundRect">
            <a:avLst>
              <a:gd name="adj" fmla="val 2075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922FE022-9E96-B140-802F-2F552F9A660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32021" y="1738862"/>
            <a:ext cx="1080000" cy="1080000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050">
                <a:latin typeface="Corbel" panose="020B0503020204020204" pitchFamily="34" charset="0"/>
                <a:ea typeface="Corbel" panose="020B0503020204020204" pitchFamily="34" charset="0"/>
                <a:cs typeface="Corbel" panose="020B0503020204020204" pitchFamily="34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ED00F8EF-E0CD-E844-B92B-24BFA1D429B7}"/>
              </a:ext>
            </a:extLst>
          </p:cNvPr>
          <p:cNvSpPr/>
          <p:nvPr userDrawn="1"/>
        </p:nvSpPr>
        <p:spPr>
          <a:xfrm>
            <a:off x="4945003" y="1544638"/>
            <a:ext cx="1686143" cy="2722259"/>
          </a:xfrm>
          <a:prstGeom prst="roundRect">
            <a:avLst>
              <a:gd name="adj" fmla="val 2075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0FA0F4B-4928-BF4F-AE17-108F4B4CA97D}"/>
              </a:ext>
            </a:extLst>
          </p:cNvPr>
          <p:cNvSpPr/>
          <p:nvPr userDrawn="1"/>
        </p:nvSpPr>
        <p:spPr>
          <a:xfrm>
            <a:off x="6861054" y="1544638"/>
            <a:ext cx="1686143" cy="2722259"/>
          </a:xfrm>
          <a:prstGeom prst="roundRect">
            <a:avLst>
              <a:gd name="adj" fmla="val 2075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91BCC46F-E34E-F84C-BB4B-077756A32B5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248073" y="1738862"/>
            <a:ext cx="1080000" cy="1080000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050">
                <a:latin typeface="Corbel" panose="020B0503020204020204" pitchFamily="34" charset="0"/>
                <a:ea typeface="Corbel" panose="020B0503020204020204" pitchFamily="34" charset="0"/>
                <a:cs typeface="Corbel" panose="020B0503020204020204" pitchFamily="34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A0E7B8DE-F62B-984D-8682-62AADC307BA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164125" y="1738862"/>
            <a:ext cx="1080000" cy="1080000"/>
          </a:xfrm>
          <a:prstGeom prst="ellipse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050">
                <a:latin typeface="Corbel" panose="020B0503020204020204" pitchFamily="34" charset="0"/>
                <a:ea typeface="Corbel" panose="020B0503020204020204" pitchFamily="34" charset="0"/>
                <a:cs typeface="Corbel" panose="020B0503020204020204" pitchFamily="34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6" name="Text Placeholder 31">
            <a:extLst>
              <a:ext uri="{FF2B5EF4-FFF2-40B4-BE49-F238E27FC236}">
                <a16:creationId xmlns:a16="http://schemas.microsoft.com/office/drawing/2014/main" id="{83C84677-DED7-D646-B69C-3C3C31D5805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8650" y="1544638"/>
            <a:ext cx="2057400" cy="30583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 marL="600075" indent="-257175">
              <a:buFont typeface="Arial" panose="020B0604020202020204" pitchFamily="34" charset="0"/>
              <a:buChar char="•"/>
              <a:defRPr sz="1500"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GB" dirty="0"/>
              <a:t>First level text</a:t>
            </a:r>
          </a:p>
          <a:p>
            <a:pPr lvl="1"/>
            <a:r>
              <a:rPr lang="en-GB" dirty="0"/>
              <a:t>Second level text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28D9A71-C072-5746-A67B-A8DED9A2A02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92186" y="4839295"/>
            <a:ext cx="216000" cy="129778"/>
            <a:chOff x="5342425" y="2976487"/>
            <a:chExt cx="1506305" cy="905027"/>
          </a:xfrm>
        </p:grpSpPr>
        <p:sp>
          <p:nvSpPr>
            <p:cNvPr id="18" name="Freeform: Shape 30">
              <a:extLst>
                <a:ext uri="{FF2B5EF4-FFF2-40B4-BE49-F238E27FC236}">
                  <a16:creationId xmlns:a16="http://schemas.microsoft.com/office/drawing/2014/main" id="{99085403-E9A3-FB41-A774-CF3C4E56ED23}"/>
                </a:ext>
              </a:extLst>
            </p:cNvPr>
            <p:cNvSpPr/>
            <p:nvPr/>
          </p:nvSpPr>
          <p:spPr>
            <a:xfrm>
              <a:off x="6162929" y="2976631"/>
              <a:ext cx="685801" cy="904876"/>
            </a:xfrm>
            <a:custGeom>
              <a:avLst/>
              <a:gdLst>
                <a:gd name="connsiteX0" fmla="*/ 419281 w 685800"/>
                <a:gd name="connsiteY0" fmla="*/ 0 h 904875"/>
                <a:gd name="connsiteX1" fmla="*/ 419281 w 685800"/>
                <a:gd name="connsiteY1" fmla="*/ 534876 h 904875"/>
                <a:gd name="connsiteX2" fmla="*/ 279302 w 685800"/>
                <a:gd name="connsiteY2" fmla="*/ 702840 h 904875"/>
                <a:gd name="connsiteX3" fmla="*/ 138046 w 685800"/>
                <a:gd name="connsiteY3" fmla="*/ 534876 h 904875"/>
                <a:gd name="connsiteX4" fmla="*/ 138046 w 685800"/>
                <a:gd name="connsiteY4" fmla="*/ 285007 h 904875"/>
                <a:gd name="connsiteX5" fmla="*/ 0 w 685800"/>
                <a:gd name="connsiteY5" fmla="*/ 499529 h 904875"/>
                <a:gd name="connsiteX6" fmla="*/ 219999 w 685800"/>
                <a:gd name="connsiteY6" fmla="*/ 905780 h 904875"/>
                <a:gd name="connsiteX7" fmla="*/ 237125 w 685800"/>
                <a:gd name="connsiteY7" fmla="*/ 906075 h 904875"/>
                <a:gd name="connsiteX8" fmla="*/ 286084 w 685800"/>
                <a:gd name="connsiteY8" fmla="*/ 906075 h 904875"/>
                <a:gd name="connsiteX9" fmla="*/ 584997 w 685800"/>
                <a:gd name="connsiteY9" fmla="*/ 811644 h 904875"/>
                <a:gd name="connsiteX10" fmla="*/ 690658 w 685800"/>
                <a:gd name="connsiteY10" fmla="*/ 523532 h 904875"/>
                <a:gd name="connsiteX11" fmla="*/ 690658 w 685800"/>
                <a:gd name="connsiteY11" fmla="*/ 0 h 904875"/>
                <a:gd name="connsiteX12" fmla="*/ 419281 w 685800"/>
                <a:gd name="connsiteY12" fmla="*/ 0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85800" h="904875">
                  <a:moveTo>
                    <a:pt x="419281" y="0"/>
                  </a:moveTo>
                  <a:lnTo>
                    <a:pt x="419281" y="534876"/>
                  </a:lnTo>
                  <a:cubicBezTo>
                    <a:pt x="419281" y="651358"/>
                    <a:pt x="352911" y="702840"/>
                    <a:pt x="279302" y="702840"/>
                  </a:cubicBezTo>
                  <a:cubicBezTo>
                    <a:pt x="202540" y="702840"/>
                    <a:pt x="138046" y="651358"/>
                    <a:pt x="138046" y="534876"/>
                  </a:cubicBezTo>
                  <a:lnTo>
                    <a:pt x="138046" y="285007"/>
                  </a:lnTo>
                  <a:cubicBezTo>
                    <a:pt x="138046" y="419967"/>
                    <a:pt x="0" y="499529"/>
                    <a:pt x="0" y="499529"/>
                  </a:cubicBezTo>
                  <a:lnTo>
                    <a:pt x="219999" y="905780"/>
                  </a:lnTo>
                  <a:cubicBezTo>
                    <a:pt x="225609" y="905961"/>
                    <a:pt x="231305" y="906075"/>
                    <a:pt x="237125" y="906075"/>
                  </a:cubicBezTo>
                  <a:lnTo>
                    <a:pt x="286084" y="906075"/>
                  </a:lnTo>
                  <a:cubicBezTo>
                    <a:pt x="418700" y="906075"/>
                    <a:pt x="507121" y="874205"/>
                    <a:pt x="584997" y="811644"/>
                  </a:cubicBezTo>
                  <a:cubicBezTo>
                    <a:pt x="668417" y="744255"/>
                    <a:pt x="690658" y="654729"/>
                    <a:pt x="690658" y="523532"/>
                  </a:cubicBezTo>
                  <a:lnTo>
                    <a:pt x="690658" y="0"/>
                  </a:lnTo>
                  <a:lnTo>
                    <a:pt x="419281" y="0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reeform: Shape 31">
              <a:extLst>
                <a:ext uri="{FF2B5EF4-FFF2-40B4-BE49-F238E27FC236}">
                  <a16:creationId xmlns:a16="http://schemas.microsoft.com/office/drawing/2014/main" id="{05374FBA-1E5F-5646-AC03-A3DFCD03DA6B}"/>
                </a:ext>
              </a:extLst>
            </p:cNvPr>
            <p:cNvSpPr/>
            <p:nvPr/>
          </p:nvSpPr>
          <p:spPr>
            <a:xfrm>
              <a:off x="5342425" y="2976631"/>
              <a:ext cx="190499" cy="904876"/>
            </a:xfrm>
            <a:custGeom>
              <a:avLst/>
              <a:gdLst>
                <a:gd name="connsiteX0" fmla="*/ 0 w 190500"/>
                <a:gd name="connsiteY0" fmla="*/ 0 h 904875"/>
                <a:gd name="connsiteX1" fmla="*/ 193062 w 190500"/>
                <a:gd name="connsiteY1" fmla="*/ 0 h 904875"/>
                <a:gd name="connsiteX2" fmla="*/ 193062 w 190500"/>
                <a:gd name="connsiteY2" fmla="*/ 906075 h 904875"/>
                <a:gd name="connsiteX3" fmla="*/ 0 w 1905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904875">
                  <a:moveTo>
                    <a:pt x="0" y="0"/>
                  </a:moveTo>
                  <a:lnTo>
                    <a:pt x="193062" y="0"/>
                  </a:lnTo>
                  <a:lnTo>
                    <a:pt x="193062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reeform: Shape 32">
              <a:extLst>
                <a:ext uri="{FF2B5EF4-FFF2-40B4-BE49-F238E27FC236}">
                  <a16:creationId xmlns:a16="http://schemas.microsoft.com/office/drawing/2014/main" id="{0688E803-DE26-D241-B428-E5A2AF8FA2C8}"/>
                </a:ext>
              </a:extLst>
            </p:cNvPr>
            <p:cNvSpPr/>
            <p:nvPr/>
          </p:nvSpPr>
          <p:spPr>
            <a:xfrm>
              <a:off x="5688984" y="2976638"/>
              <a:ext cx="685801" cy="904876"/>
            </a:xfrm>
            <a:custGeom>
              <a:avLst/>
              <a:gdLst>
                <a:gd name="connsiteX0" fmla="*/ 343967 w 685800"/>
                <a:gd name="connsiteY0" fmla="*/ 523532 h 904875"/>
                <a:gd name="connsiteX1" fmla="*/ 343967 w 685800"/>
                <a:gd name="connsiteY1" fmla="*/ 0 h 904875"/>
                <a:gd name="connsiteX2" fmla="*/ 0 w 685800"/>
                <a:gd name="connsiteY2" fmla="*/ 0 h 904875"/>
                <a:gd name="connsiteX3" fmla="*/ 0 w 685800"/>
                <a:gd name="connsiteY3" fmla="*/ 906066 h 904875"/>
                <a:gd name="connsiteX4" fmla="*/ 112795 w 685800"/>
                <a:gd name="connsiteY4" fmla="*/ 906066 h 904875"/>
                <a:gd name="connsiteX5" fmla="*/ 112795 w 685800"/>
                <a:gd name="connsiteY5" fmla="*/ 567100 h 904875"/>
                <a:gd name="connsiteX6" fmla="*/ 250965 w 685800"/>
                <a:gd name="connsiteY6" fmla="*/ 567100 h 904875"/>
                <a:gd name="connsiteX7" fmla="*/ 404689 w 685800"/>
                <a:gd name="connsiteY7" fmla="*/ 906066 h 904875"/>
                <a:gd name="connsiteX8" fmla="*/ 694963 w 685800"/>
                <a:gd name="connsiteY8" fmla="*/ 906066 h 904875"/>
                <a:gd name="connsiteX9" fmla="*/ 694782 w 685800"/>
                <a:gd name="connsiteY9" fmla="*/ 905770 h 904875"/>
                <a:gd name="connsiteX10" fmla="*/ 451009 w 685800"/>
                <a:gd name="connsiteY10" fmla="*/ 811635 h 904875"/>
                <a:gd name="connsiteX11" fmla="*/ 343967 w 685800"/>
                <a:gd name="connsiteY11" fmla="*/ 523532 h 904875"/>
                <a:gd name="connsiteX12" fmla="*/ 232743 w 685800"/>
                <a:gd name="connsiteY12" fmla="*/ 388125 h 904875"/>
                <a:gd name="connsiteX13" fmla="*/ 112795 w 685800"/>
                <a:gd name="connsiteY13" fmla="*/ 388125 h 904875"/>
                <a:gd name="connsiteX14" fmla="*/ 112795 w 685800"/>
                <a:gd name="connsiteY14" fmla="*/ 181461 h 904875"/>
                <a:gd name="connsiteX15" fmla="*/ 239153 w 685800"/>
                <a:gd name="connsiteY15" fmla="*/ 181461 h 904875"/>
                <a:gd name="connsiteX16" fmla="*/ 342995 w 685800"/>
                <a:gd name="connsiteY16" fmla="*/ 279749 h 904875"/>
                <a:gd name="connsiteX17" fmla="*/ 232743 w 685800"/>
                <a:gd name="connsiteY17" fmla="*/ 38812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85800" h="904875">
                  <a:moveTo>
                    <a:pt x="343967" y="523532"/>
                  </a:moveTo>
                  <a:lnTo>
                    <a:pt x="343967" y="0"/>
                  </a:lnTo>
                  <a:lnTo>
                    <a:pt x="0" y="0"/>
                  </a:lnTo>
                  <a:lnTo>
                    <a:pt x="0" y="906066"/>
                  </a:lnTo>
                  <a:lnTo>
                    <a:pt x="112795" y="906066"/>
                  </a:lnTo>
                  <a:lnTo>
                    <a:pt x="112795" y="567100"/>
                  </a:lnTo>
                  <a:lnTo>
                    <a:pt x="250965" y="567100"/>
                  </a:lnTo>
                  <a:cubicBezTo>
                    <a:pt x="250965" y="567100"/>
                    <a:pt x="376533" y="830447"/>
                    <a:pt x="404689" y="906066"/>
                  </a:cubicBezTo>
                  <a:lnTo>
                    <a:pt x="694963" y="906066"/>
                  </a:lnTo>
                  <a:lnTo>
                    <a:pt x="694782" y="905770"/>
                  </a:lnTo>
                  <a:cubicBezTo>
                    <a:pt x="587626" y="902084"/>
                    <a:pt x="515950" y="863813"/>
                    <a:pt x="451009" y="811635"/>
                  </a:cubicBezTo>
                  <a:cubicBezTo>
                    <a:pt x="367599" y="744245"/>
                    <a:pt x="343967" y="654720"/>
                    <a:pt x="343967" y="523532"/>
                  </a:cubicBezTo>
                  <a:moveTo>
                    <a:pt x="232743" y="388125"/>
                  </a:moveTo>
                  <a:lnTo>
                    <a:pt x="112795" y="388125"/>
                  </a:lnTo>
                  <a:lnTo>
                    <a:pt x="112795" y="181461"/>
                  </a:lnTo>
                  <a:lnTo>
                    <a:pt x="239153" y="181461"/>
                  </a:lnTo>
                  <a:cubicBezTo>
                    <a:pt x="293837" y="181461"/>
                    <a:pt x="342995" y="212960"/>
                    <a:pt x="342995" y="279749"/>
                  </a:cubicBezTo>
                  <a:cubicBezTo>
                    <a:pt x="342995" y="355340"/>
                    <a:pt x="291989" y="388125"/>
                    <a:pt x="232743" y="388125"/>
                  </a:cubicBezTo>
                </a:path>
              </a:pathLst>
            </a:custGeom>
            <a:solidFill>
              <a:srgbClr val="2484C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reeform: Shape 33">
              <a:extLst>
                <a:ext uri="{FF2B5EF4-FFF2-40B4-BE49-F238E27FC236}">
                  <a16:creationId xmlns:a16="http://schemas.microsoft.com/office/drawing/2014/main" id="{99D30FDB-65B3-A042-801E-0CFC05A2E792}"/>
                </a:ext>
              </a:extLst>
            </p:cNvPr>
            <p:cNvSpPr/>
            <p:nvPr/>
          </p:nvSpPr>
          <p:spPr>
            <a:xfrm>
              <a:off x="6032105" y="2976487"/>
              <a:ext cx="342900" cy="904875"/>
            </a:xfrm>
            <a:custGeom>
              <a:avLst/>
              <a:gdLst>
                <a:gd name="connsiteX0" fmla="*/ 268871 w 342900"/>
                <a:gd name="connsiteY0" fmla="*/ 285007 h 904875"/>
                <a:gd name="connsiteX1" fmla="*/ 268871 w 342900"/>
                <a:gd name="connsiteY1" fmla="*/ 243878 h 904875"/>
                <a:gd name="connsiteX2" fmla="*/ 0 w 342900"/>
                <a:gd name="connsiteY2" fmla="*/ 0 h 904875"/>
                <a:gd name="connsiteX3" fmla="*/ 0 w 342900"/>
                <a:gd name="connsiteY3" fmla="*/ 523532 h 904875"/>
                <a:gd name="connsiteX4" fmla="*/ 107052 w 342900"/>
                <a:gd name="connsiteY4" fmla="*/ 811644 h 904875"/>
                <a:gd name="connsiteX5" fmla="*/ 350825 w 342900"/>
                <a:gd name="connsiteY5" fmla="*/ 905789 h 904875"/>
                <a:gd name="connsiteX6" fmla="*/ 130836 w 342900"/>
                <a:gd name="connsiteY6" fmla="*/ 499539 h 904875"/>
                <a:gd name="connsiteX7" fmla="*/ 268871 w 342900"/>
                <a:gd name="connsiteY7" fmla="*/ 285007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2900" h="904875">
                  <a:moveTo>
                    <a:pt x="268871" y="285007"/>
                  </a:moveTo>
                  <a:lnTo>
                    <a:pt x="268871" y="243878"/>
                  </a:lnTo>
                  <a:cubicBezTo>
                    <a:pt x="268871" y="94393"/>
                    <a:pt x="110528" y="0"/>
                    <a:pt x="0" y="0"/>
                  </a:cubicBezTo>
                  <a:lnTo>
                    <a:pt x="0" y="523532"/>
                  </a:lnTo>
                  <a:cubicBezTo>
                    <a:pt x="0" y="654729"/>
                    <a:pt x="23641" y="744264"/>
                    <a:pt x="107052" y="811644"/>
                  </a:cubicBezTo>
                  <a:cubicBezTo>
                    <a:pt x="171993" y="863813"/>
                    <a:pt x="243668" y="902084"/>
                    <a:pt x="350825" y="905789"/>
                  </a:cubicBezTo>
                  <a:lnTo>
                    <a:pt x="130836" y="499539"/>
                  </a:lnTo>
                  <a:cubicBezTo>
                    <a:pt x="130836" y="499539"/>
                    <a:pt x="268871" y="419957"/>
                    <a:pt x="268871" y="285007"/>
                  </a:cubicBezTo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reeform: Shape 34">
              <a:extLst>
                <a:ext uri="{FF2B5EF4-FFF2-40B4-BE49-F238E27FC236}">
                  <a16:creationId xmlns:a16="http://schemas.microsoft.com/office/drawing/2014/main" id="{EA884863-3C8A-B949-8B0C-70444A6A6A4D}"/>
                </a:ext>
              </a:extLst>
            </p:cNvPr>
            <p:cNvSpPr/>
            <p:nvPr/>
          </p:nvSpPr>
          <p:spPr>
            <a:xfrm>
              <a:off x="5535487" y="2976487"/>
              <a:ext cx="152399" cy="904875"/>
            </a:xfrm>
            <a:custGeom>
              <a:avLst/>
              <a:gdLst>
                <a:gd name="connsiteX0" fmla="*/ 0 w 152400"/>
                <a:gd name="connsiteY0" fmla="*/ 0 h 904875"/>
                <a:gd name="connsiteX1" fmla="*/ 153495 w 152400"/>
                <a:gd name="connsiteY1" fmla="*/ 0 h 904875"/>
                <a:gd name="connsiteX2" fmla="*/ 153495 w 152400"/>
                <a:gd name="connsiteY2" fmla="*/ 906075 h 904875"/>
                <a:gd name="connsiteX3" fmla="*/ 0 w 1524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400" h="904875">
                  <a:moveTo>
                    <a:pt x="0" y="0"/>
                  </a:moveTo>
                  <a:lnTo>
                    <a:pt x="153495" y="0"/>
                  </a:lnTo>
                  <a:lnTo>
                    <a:pt x="153495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4311225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big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CAB1A6-EB36-1C41-A21F-DAB30053333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2858267" y="0"/>
            <a:ext cx="6285733" cy="51435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lIns="360000" tIns="2088000" rIns="360000" bIns="540000"/>
          <a:lstStyle>
            <a:lvl1pPr>
              <a:defRPr sz="1800"/>
            </a:lvl1pPr>
            <a:lvl2pPr>
              <a:defRPr sz="1500"/>
            </a:lvl2pPr>
            <a:lvl3pPr marL="685800" indent="0">
              <a:buNone/>
              <a:defRPr sz="135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E2535B-B6E6-B045-96C0-6D95AD3815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65984-D348-BF47-86A8-7DC2AFD6D920}" type="datetimeFigureOut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04/09/2021</a:t>
            </a:fld>
            <a:endParaRPr lang="en-US" dirty="0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8636DE-BF6E-7E4F-BC50-F94C91B2FC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C6508A-CE19-CD42-A4D0-0C62D6E4F9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6F86F5-1EE3-164C-BBF2-87129EE00A76}" type="slidenum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25" name="Title 24">
            <a:extLst>
              <a:ext uri="{FF2B5EF4-FFF2-40B4-BE49-F238E27FC236}">
                <a16:creationId xmlns:a16="http://schemas.microsoft.com/office/drawing/2014/main" id="{93CC24B2-2E12-7E4E-BE96-7E2300F339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71620"/>
            <a:ext cx="2366023" cy="644004"/>
          </a:xfrm>
          <a:prstGeom prst="rect">
            <a:avLst/>
          </a:prstGeom>
          <a:solidFill>
            <a:srgbClr val="0C95C6">
              <a:alpha val="9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72000" rIns="36000" bIns="7200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>
              <a:defRPr lang="en-US" sz="3600" dirty="0">
                <a:solidFill>
                  <a:schemeClr val="bg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</a:lstStyle>
          <a:p>
            <a:pPr marL="301229" lvl="0">
              <a:tabLst>
                <a:tab pos="255985" algn="l"/>
                <a:tab pos="301229" algn="l"/>
              </a:tabLst>
            </a:pPr>
            <a:r>
              <a:rPr lang="en-GB" dirty="0"/>
              <a:t>  CLICK TO</a:t>
            </a:r>
            <a:endParaRPr lang="en-US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BFE539A2-81CE-064E-BF16-091C7B7E87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788199"/>
            <a:ext cx="2531064" cy="571301"/>
          </a:xfrm>
          <a:prstGeom prst="rect">
            <a:avLst/>
          </a:prstGeom>
          <a:solidFill>
            <a:srgbClr val="19B6F1">
              <a:alpha val="9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72000" bIns="3600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 marL="129779" indent="0">
              <a:buNone/>
              <a:defRPr lang="en-GB" sz="3600" dirty="0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en-GB" sz="1350" dirty="0" smtClean="0">
                <a:solidFill>
                  <a:schemeClr val="lt1"/>
                </a:solidFill>
                <a:latin typeface="Corbel" panose="020B0503020204020204" pitchFamily="34" charset="0"/>
              </a:defRPr>
            </a:lvl2pPr>
            <a:lvl3pPr>
              <a:defRPr lang="en-GB" sz="1350" dirty="0" smtClean="0">
                <a:solidFill>
                  <a:schemeClr val="lt1"/>
                </a:solidFill>
                <a:latin typeface="Corbel" panose="020B0503020204020204" pitchFamily="34" charset="0"/>
              </a:defRPr>
            </a:lvl3pPr>
            <a:lvl4pPr>
              <a:defRPr lang="en-GB" dirty="0" smtClean="0">
                <a:solidFill>
                  <a:schemeClr val="lt1"/>
                </a:solidFill>
                <a:latin typeface="Corbel" panose="020B0503020204020204" pitchFamily="34" charset="0"/>
              </a:defRPr>
            </a:lvl4pPr>
            <a:lvl5pPr>
              <a:defRPr lang="en-US" dirty="0">
                <a:solidFill>
                  <a:schemeClr val="lt1"/>
                </a:solidFill>
                <a:latin typeface="Corbel" panose="020B0503020204020204" pitchFamily="34" charset="0"/>
              </a:defRPr>
            </a:lvl5pPr>
          </a:lstStyle>
          <a:p>
            <a:pPr marL="301229" lvl="0"/>
            <a:r>
              <a:rPr lang="en-GB" dirty="0"/>
              <a:t>EDIT TITLE</a:t>
            </a:r>
            <a:endParaRPr lang="en-US" dirty="0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5881F67F-729C-6F43-9DF6-B5664EBE0E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5054" y="1507165"/>
            <a:ext cx="2390996" cy="30957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 marL="600075" indent="-257175">
              <a:buFont typeface="Arial" panose="020B0604020202020204" pitchFamily="34" charset="0"/>
              <a:buChar char="•"/>
              <a:defRPr sz="1500"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GB" dirty="0"/>
              <a:t>First level text</a:t>
            </a:r>
          </a:p>
          <a:p>
            <a:pPr lvl="1"/>
            <a:r>
              <a:rPr lang="en-GB" dirty="0"/>
              <a:t>Second level text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D312787-5ED7-984A-9F83-68306381B36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92186" y="4839295"/>
            <a:ext cx="216000" cy="129778"/>
            <a:chOff x="5342425" y="2976487"/>
            <a:chExt cx="1506305" cy="905027"/>
          </a:xfrm>
        </p:grpSpPr>
        <p:sp>
          <p:nvSpPr>
            <p:cNvPr id="12" name="Freeform: Shape 30">
              <a:extLst>
                <a:ext uri="{FF2B5EF4-FFF2-40B4-BE49-F238E27FC236}">
                  <a16:creationId xmlns:a16="http://schemas.microsoft.com/office/drawing/2014/main" id="{9253CF6B-0CEE-1B4F-A318-588B0D11A31C}"/>
                </a:ext>
              </a:extLst>
            </p:cNvPr>
            <p:cNvSpPr/>
            <p:nvPr/>
          </p:nvSpPr>
          <p:spPr>
            <a:xfrm>
              <a:off x="6162929" y="2976631"/>
              <a:ext cx="685801" cy="904876"/>
            </a:xfrm>
            <a:custGeom>
              <a:avLst/>
              <a:gdLst>
                <a:gd name="connsiteX0" fmla="*/ 419281 w 685800"/>
                <a:gd name="connsiteY0" fmla="*/ 0 h 904875"/>
                <a:gd name="connsiteX1" fmla="*/ 419281 w 685800"/>
                <a:gd name="connsiteY1" fmla="*/ 534876 h 904875"/>
                <a:gd name="connsiteX2" fmla="*/ 279302 w 685800"/>
                <a:gd name="connsiteY2" fmla="*/ 702840 h 904875"/>
                <a:gd name="connsiteX3" fmla="*/ 138046 w 685800"/>
                <a:gd name="connsiteY3" fmla="*/ 534876 h 904875"/>
                <a:gd name="connsiteX4" fmla="*/ 138046 w 685800"/>
                <a:gd name="connsiteY4" fmla="*/ 285007 h 904875"/>
                <a:gd name="connsiteX5" fmla="*/ 0 w 685800"/>
                <a:gd name="connsiteY5" fmla="*/ 499529 h 904875"/>
                <a:gd name="connsiteX6" fmla="*/ 219999 w 685800"/>
                <a:gd name="connsiteY6" fmla="*/ 905780 h 904875"/>
                <a:gd name="connsiteX7" fmla="*/ 237125 w 685800"/>
                <a:gd name="connsiteY7" fmla="*/ 906075 h 904875"/>
                <a:gd name="connsiteX8" fmla="*/ 286084 w 685800"/>
                <a:gd name="connsiteY8" fmla="*/ 906075 h 904875"/>
                <a:gd name="connsiteX9" fmla="*/ 584997 w 685800"/>
                <a:gd name="connsiteY9" fmla="*/ 811644 h 904875"/>
                <a:gd name="connsiteX10" fmla="*/ 690658 w 685800"/>
                <a:gd name="connsiteY10" fmla="*/ 523532 h 904875"/>
                <a:gd name="connsiteX11" fmla="*/ 690658 w 685800"/>
                <a:gd name="connsiteY11" fmla="*/ 0 h 904875"/>
                <a:gd name="connsiteX12" fmla="*/ 419281 w 685800"/>
                <a:gd name="connsiteY12" fmla="*/ 0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85800" h="904875">
                  <a:moveTo>
                    <a:pt x="419281" y="0"/>
                  </a:moveTo>
                  <a:lnTo>
                    <a:pt x="419281" y="534876"/>
                  </a:lnTo>
                  <a:cubicBezTo>
                    <a:pt x="419281" y="651358"/>
                    <a:pt x="352911" y="702840"/>
                    <a:pt x="279302" y="702840"/>
                  </a:cubicBezTo>
                  <a:cubicBezTo>
                    <a:pt x="202540" y="702840"/>
                    <a:pt x="138046" y="651358"/>
                    <a:pt x="138046" y="534876"/>
                  </a:cubicBezTo>
                  <a:lnTo>
                    <a:pt x="138046" y="285007"/>
                  </a:lnTo>
                  <a:cubicBezTo>
                    <a:pt x="138046" y="419967"/>
                    <a:pt x="0" y="499529"/>
                    <a:pt x="0" y="499529"/>
                  </a:cubicBezTo>
                  <a:lnTo>
                    <a:pt x="219999" y="905780"/>
                  </a:lnTo>
                  <a:cubicBezTo>
                    <a:pt x="225609" y="905961"/>
                    <a:pt x="231305" y="906075"/>
                    <a:pt x="237125" y="906075"/>
                  </a:cubicBezTo>
                  <a:lnTo>
                    <a:pt x="286084" y="906075"/>
                  </a:lnTo>
                  <a:cubicBezTo>
                    <a:pt x="418700" y="906075"/>
                    <a:pt x="507121" y="874205"/>
                    <a:pt x="584997" y="811644"/>
                  </a:cubicBezTo>
                  <a:cubicBezTo>
                    <a:pt x="668417" y="744255"/>
                    <a:pt x="690658" y="654729"/>
                    <a:pt x="690658" y="523532"/>
                  </a:cubicBezTo>
                  <a:lnTo>
                    <a:pt x="690658" y="0"/>
                  </a:lnTo>
                  <a:lnTo>
                    <a:pt x="419281" y="0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reeform: Shape 31">
              <a:extLst>
                <a:ext uri="{FF2B5EF4-FFF2-40B4-BE49-F238E27FC236}">
                  <a16:creationId xmlns:a16="http://schemas.microsoft.com/office/drawing/2014/main" id="{775924E6-612E-804E-8713-40BF07970170}"/>
                </a:ext>
              </a:extLst>
            </p:cNvPr>
            <p:cNvSpPr/>
            <p:nvPr/>
          </p:nvSpPr>
          <p:spPr>
            <a:xfrm>
              <a:off x="5342425" y="2976631"/>
              <a:ext cx="190499" cy="904876"/>
            </a:xfrm>
            <a:custGeom>
              <a:avLst/>
              <a:gdLst>
                <a:gd name="connsiteX0" fmla="*/ 0 w 190500"/>
                <a:gd name="connsiteY0" fmla="*/ 0 h 904875"/>
                <a:gd name="connsiteX1" fmla="*/ 193062 w 190500"/>
                <a:gd name="connsiteY1" fmla="*/ 0 h 904875"/>
                <a:gd name="connsiteX2" fmla="*/ 193062 w 190500"/>
                <a:gd name="connsiteY2" fmla="*/ 906075 h 904875"/>
                <a:gd name="connsiteX3" fmla="*/ 0 w 1905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904875">
                  <a:moveTo>
                    <a:pt x="0" y="0"/>
                  </a:moveTo>
                  <a:lnTo>
                    <a:pt x="193062" y="0"/>
                  </a:lnTo>
                  <a:lnTo>
                    <a:pt x="193062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reeform: Shape 32">
              <a:extLst>
                <a:ext uri="{FF2B5EF4-FFF2-40B4-BE49-F238E27FC236}">
                  <a16:creationId xmlns:a16="http://schemas.microsoft.com/office/drawing/2014/main" id="{EBFE0BD5-54F8-5A4B-8CF1-5A7F92818416}"/>
                </a:ext>
              </a:extLst>
            </p:cNvPr>
            <p:cNvSpPr/>
            <p:nvPr/>
          </p:nvSpPr>
          <p:spPr>
            <a:xfrm>
              <a:off x="5688984" y="2976638"/>
              <a:ext cx="685801" cy="904876"/>
            </a:xfrm>
            <a:custGeom>
              <a:avLst/>
              <a:gdLst>
                <a:gd name="connsiteX0" fmla="*/ 343967 w 685800"/>
                <a:gd name="connsiteY0" fmla="*/ 523532 h 904875"/>
                <a:gd name="connsiteX1" fmla="*/ 343967 w 685800"/>
                <a:gd name="connsiteY1" fmla="*/ 0 h 904875"/>
                <a:gd name="connsiteX2" fmla="*/ 0 w 685800"/>
                <a:gd name="connsiteY2" fmla="*/ 0 h 904875"/>
                <a:gd name="connsiteX3" fmla="*/ 0 w 685800"/>
                <a:gd name="connsiteY3" fmla="*/ 906066 h 904875"/>
                <a:gd name="connsiteX4" fmla="*/ 112795 w 685800"/>
                <a:gd name="connsiteY4" fmla="*/ 906066 h 904875"/>
                <a:gd name="connsiteX5" fmla="*/ 112795 w 685800"/>
                <a:gd name="connsiteY5" fmla="*/ 567100 h 904875"/>
                <a:gd name="connsiteX6" fmla="*/ 250965 w 685800"/>
                <a:gd name="connsiteY6" fmla="*/ 567100 h 904875"/>
                <a:gd name="connsiteX7" fmla="*/ 404689 w 685800"/>
                <a:gd name="connsiteY7" fmla="*/ 906066 h 904875"/>
                <a:gd name="connsiteX8" fmla="*/ 694963 w 685800"/>
                <a:gd name="connsiteY8" fmla="*/ 906066 h 904875"/>
                <a:gd name="connsiteX9" fmla="*/ 694782 w 685800"/>
                <a:gd name="connsiteY9" fmla="*/ 905770 h 904875"/>
                <a:gd name="connsiteX10" fmla="*/ 451009 w 685800"/>
                <a:gd name="connsiteY10" fmla="*/ 811635 h 904875"/>
                <a:gd name="connsiteX11" fmla="*/ 343967 w 685800"/>
                <a:gd name="connsiteY11" fmla="*/ 523532 h 904875"/>
                <a:gd name="connsiteX12" fmla="*/ 232743 w 685800"/>
                <a:gd name="connsiteY12" fmla="*/ 388125 h 904875"/>
                <a:gd name="connsiteX13" fmla="*/ 112795 w 685800"/>
                <a:gd name="connsiteY13" fmla="*/ 388125 h 904875"/>
                <a:gd name="connsiteX14" fmla="*/ 112795 w 685800"/>
                <a:gd name="connsiteY14" fmla="*/ 181461 h 904875"/>
                <a:gd name="connsiteX15" fmla="*/ 239153 w 685800"/>
                <a:gd name="connsiteY15" fmla="*/ 181461 h 904875"/>
                <a:gd name="connsiteX16" fmla="*/ 342995 w 685800"/>
                <a:gd name="connsiteY16" fmla="*/ 279749 h 904875"/>
                <a:gd name="connsiteX17" fmla="*/ 232743 w 685800"/>
                <a:gd name="connsiteY17" fmla="*/ 38812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85800" h="904875">
                  <a:moveTo>
                    <a:pt x="343967" y="523532"/>
                  </a:moveTo>
                  <a:lnTo>
                    <a:pt x="343967" y="0"/>
                  </a:lnTo>
                  <a:lnTo>
                    <a:pt x="0" y="0"/>
                  </a:lnTo>
                  <a:lnTo>
                    <a:pt x="0" y="906066"/>
                  </a:lnTo>
                  <a:lnTo>
                    <a:pt x="112795" y="906066"/>
                  </a:lnTo>
                  <a:lnTo>
                    <a:pt x="112795" y="567100"/>
                  </a:lnTo>
                  <a:lnTo>
                    <a:pt x="250965" y="567100"/>
                  </a:lnTo>
                  <a:cubicBezTo>
                    <a:pt x="250965" y="567100"/>
                    <a:pt x="376533" y="830447"/>
                    <a:pt x="404689" y="906066"/>
                  </a:cubicBezTo>
                  <a:lnTo>
                    <a:pt x="694963" y="906066"/>
                  </a:lnTo>
                  <a:lnTo>
                    <a:pt x="694782" y="905770"/>
                  </a:lnTo>
                  <a:cubicBezTo>
                    <a:pt x="587626" y="902084"/>
                    <a:pt x="515950" y="863813"/>
                    <a:pt x="451009" y="811635"/>
                  </a:cubicBezTo>
                  <a:cubicBezTo>
                    <a:pt x="367599" y="744245"/>
                    <a:pt x="343967" y="654720"/>
                    <a:pt x="343967" y="523532"/>
                  </a:cubicBezTo>
                  <a:moveTo>
                    <a:pt x="232743" y="388125"/>
                  </a:moveTo>
                  <a:lnTo>
                    <a:pt x="112795" y="388125"/>
                  </a:lnTo>
                  <a:lnTo>
                    <a:pt x="112795" y="181461"/>
                  </a:lnTo>
                  <a:lnTo>
                    <a:pt x="239153" y="181461"/>
                  </a:lnTo>
                  <a:cubicBezTo>
                    <a:pt x="293837" y="181461"/>
                    <a:pt x="342995" y="212960"/>
                    <a:pt x="342995" y="279749"/>
                  </a:cubicBezTo>
                  <a:cubicBezTo>
                    <a:pt x="342995" y="355340"/>
                    <a:pt x="291989" y="388125"/>
                    <a:pt x="232743" y="388125"/>
                  </a:cubicBezTo>
                </a:path>
              </a:pathLst>
            </a:custGeom>
            <a:solidFill>
              <a:srgbClr val="2484C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reeform: Shape 33">
              <a:extLst>
                <a:ext uri="{FF2B5EF4-FFF2-40B4-BE49-F238E27FC236}">
                  <a16:creationId xmlns:a16="http://schemas.microsoft.com/office/drawing/2014/main" id="{B0A7779E-8E8B-5246-A610-67FF2F3A7A46}"/>
                </a:ext>
              </a:extLst>
            </p:cNvPr>
            <p:cNvSpPr/>
            <p:nvPr/>
          </p:nvSpPr>
          <p:spPr>
            <a:xfrm>
              <a:off x="6032105" y="2976487"/>
              <a:ext cx="342900" cy="904875"/>
            </a:xfrm>
            <a:custGeom>
              <a:avLst/>
              <a:gdLst>
                <a:gd name="connsiteX0" fmla="*/ 268871 w 342900"/>
                <a:gd name="connsiteY0" fmla="*/ 285007 h 904875"/>
                <a:gd name="connsiteX1" fmla="*/ 268871 w 342900"/>
                <a:gd name="connsiteY1" fmla="*/ 243878 h 904875"/>
                <a:gd name="connsiteX2" fmla="*/ 0 w 342900"/>
                <a:gd name="connsiteY2" fmla="*/ 0 h 904875"/>
                <a:gd name="connsiteX3" fmla="*/ 0 w 342900"/>
                <a:gd name="connsiteY3" fmla="*/ 523532 h 904875"/>
                <a:gd name="connsiteX4" fmla="*/ 107052 w 342900"/>
                <a:gd name="connsiteY4" fmla="*/ 811644 h 904875"/>
                <a:gd name="connsiteX5" fmla="*/ 350825 w 342900"/>
                <a:gd name="connsiteY5" fmla="*/ 905789 h 904875"/>
                <a:gd name="connsiteX6" fmla="*/ 130836 w 342900"/>
                <a:gd name="connsiteY6" fmla="*/ 499539 h 904875"/>
                <a:gd name="connsiteX7" fmla="*/ 268871 w 342900"/>
                <a:gd name="connsiteY7" fmla="*/ 285007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2900" h="904875">
                  <a:moveTo>
                    <a:pt x="268871" y="285007"/>
                  </a:moveTo>
                  <a:lnTo>
                    <a:pt x="268871" y="243878"/>
                  </a:lnTo>
                  <a:cubicBezTo>
                    <a:pt x="268871" y="94393"/>
                    <a:pt x="110528" y="0"/>
                    <a:pt x="0" y="0"/>
                  </a:cubicBezTo>
                  <a:lnTo>
                    <a:pt x="0" y="523532"/>
                  </a:lnTo>
                  <a:cubicBezTo>
                    <a:pt x="0" y="654729"/>
                    <a:pt x="23641" y="744264"/>
                    <a:pt x="107052" y="811644"/>
                  </a:cubicBezTo>
                  <a:cubicBezTo>
                    <a:pt x="171993" y="863813"/>
                    <a:pt x="243668" y="902084"/>
                    <a:pt x="350825" y="905789"/>
                  </a:cubicBezTo>
                  <a:lnTo>
                    <a:pt x="130836" y="499539"/>
                  </a:lnTo>
                  <a:cubicBezTo>
                    <a:pt x="130836" y="499539"/>
                    <a:pt x="268871" y="419957"/>
                    <a:pt x="268871" y="285007"/>
                  </a:cubicBezTo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reeform: Shape 34">
              <a:extLst>
                <a:ext uri="{FF2B5EF4-FFF2-40B4-BE49-F238E27FC236}">
                  <a16:creationId xmlns:a16="http://schemas.microsoft.com/office/drawing/2014/main" id="{C242FFC1-1B3E-CF48-A97A-C14106EDCAE3}"/>
                </a:ext>
              </a:extLst>
            </p:cNvPr>
            <p:cNvSpPr/>
            <p:nvPr/>
          </p:nvSpPr>
          <p:spPr>
            <a:xfrm>
              <a:off x="5535487" y="2976487"/>
              <a:ext cx="152399" cy="904875"/>
            </a:xfrm>
            <a:custGeom>
              <a:avLst/>
              <a:gdLst>
                <a:gd name="connsiteX0" fmla="*/ 0 w 152400"/>
                <a:gd name="connsiteY0" fmla="*/ 0 h 904875"/>
                <a:gd name="connsiteX1" fmla="*/ 153495 w 152400"/>
                <a:gd name="connsiteY1" fmla="*/ 0 h 904875"/>
                <a:gd name="connsiteX2" fmla="*/ 153495 w 152400"/>
                <a:gd name="connsiteY2" fmla="*/ 906075 h 904875"/>
                <a:gd name="connsiteX3" fmla="*/ 0 w 1524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400" h="904875">
                  <a:moveTo>
                    <a:pt x="0" y="0"/>
                  </a:moveTo>
                  <a:lnTo>
                    <a:pt x="153495" y="0"/>
                  </a:lnTo>
                  <a:lnTo>
                    <a:pt x="153495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22971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map_k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73A917B-5EF1-9F4B-AA4E-1CA036D0DE86}"/>
              </a:ext>
            </a:extLst>
          </p:cNvPr>
          <p:cNvSpPr/>
          <p:nvPr userDrawn="1"/>
        </p:nvSpPr>
        <p:spPr>
          <a:xfrm>
            <a:off x="-1" y="0"/>
            <a:ext cx="1945759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E2535B-B6E6-B045-96C0-6D95AD3815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65984-D348-BF47-86A8-7DC2AFD6D920}" type="datetimeFigureOut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04/09/2021</a:t>
            </a:fld>
            <a:endParaRPr lang="en-US" dirty="0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8636DE-BF6E-7E4F-BC50-F94C91B2FC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C6508A-CE19-CD42-A4D0-0C62D6E4F9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6F86F5-1EE3-164C-BBF2-87129EE00A76}" type="slidenum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25" name="Title 24">
            <a:extLst>
              <a:ext uri="{FF2B5EF4-FFF2-40B4-BE49-F238E27FC236}">
                <a16:creationId xmlns:a16="http://schemas.microsoft.com/office/drawing/2014/main" id="{93CC24B2-2E12-7E4E-BE96-7E2300F339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71620"/>
            <a:ext cx="2366023" cy="644004"/>
          </a:xfrm>
          <a:prstGeom prst="rect">
            <a:avLst/>
          </a:prstGeom>
          <a:solidFill>
            <a:srgbClr val="0C95C6">
              <a:alpha val="9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72000" rIns="36000" bIns="7200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>
              <a:defRPr lang="en-US" sz="3600" dirty="0">
                <a:solidFill>
                  <a:schemeClr val="bg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</a:lstStyle>
          <a:p>
            <a:pPr marL="301229" lvl="0">
              <a:tabLst>
                <a:tab pos="255985" algn="l"/>
                <a:tab pos="301229" algn="l"/>
              </a:tabLst>
            </a:pPr>
            <a:r>
              <a:rPr lang="en-GB" dirty="0"/>
              <a:t>  CLICK TO</a:t>
            </a:r>
            <a:endParaRPr lang="en-US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BFE539A2-81CE-064E-BF16-091C7B7E87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788199"/>
            <a:ext cx="2531064" cy="571301"/>
          </a:xfrm>
          <a:prstGeom prst="rect">
            <a:avLst/>
          </a:prstGeom>
          <a:solidFill>
            <a:srgbClr val="19B6F1">
              <a:alpha val="9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72000" bIns="3600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 marL="129779" indent="0">
              <a:buNone/>
              <a:defRPr lang="en-GB" sz="3600" dirty="0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en-GB" sz="1350" dirty="0" smtClean="0">
                <a:solidFill>
                  <a:schemeClr val="lt1"/>
                </a:solidFill>
                <a:latin typeface="Corbel" panose="020B0503020204020204" pitchFamily="34" charset="0"/>
              </a:defRPr>
            </a:lvl2pPr>
            <a:lvl3pPr>
              <a:defRPr lang="en-GB" sz="1350" dirty="0" smtClean="0">
                <a:solidFill>
                  <a:schemeClr val="lt1"/>
                </a:solidFill>
                <a:latin typeface="Corbel" panose="020B0503020204020204" pitchFamily="34" charset="0"/>
              </a:defRPr>
            </a:lvl3pPr>
            <a:lvl4pPr>
              <a:defRPr lang="en-GB" dirty="0" smtClean="0">
                <a:solidFill>
                  <a:schemeClr val="lt1"/>
                </a:solidFill>
                <a:latin typeface="Corbel" panose="020B0503020204020204" pitchFamily="34" charset="0"/>
              </a:defRPr>
            </a:lvl4pPr>
            <a:lvl5pPr>
              <a:defRPr lang="en-US" dirty="0">
                <a:solidFill>
                  <a:schemeClr val="lt1"/>
                </a:solidFill>
                <a:latin typeface="Corbel" panose="020B0503020204020204" pitchFamily="34" charset="0"/>
              </a:defRPr>
            </a:lvl5pPr>
          </a:lstStyle>
          <a:p>
            <a:pPr marL="301229" lvl="0"/>
            <a:r>
              <a:rPr lang="en-GB" dirty="0"/>
              <a:t>EDIT TITLE</a:t>
            </a:r>
            <a:endParaRPr lang="en-US" dirty="0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5881F67F-729C-6F43-9DF6-B5664EBE0E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650" y="3932587"/>
            <a:ext cx="1213442" cy="624915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>
              <a:buNone/>
              <a:defRPr sz="788"/>
            </a:lvl1pPr>
            <a:lvl2pPr marL="600075" indent="-257175">
              <a:buFont typeface="Arial" panose="020B0604020202020204" pitchFamily="34" charset="0"/>
              <a:buChar char="•"/>
              <a:defRPr sz="1500"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GB" dirty="0"/>
              <a:t>Key</a:t>
            </a:r>
          </a:p>
          <a:p>
            <a:pPr lvl="0"/>
            <a:r>
              <a:rPr lang="en-GB" dirty="0"/>
              <a:t>Key</a:t>
            </a:r>
          </a:p>
          <a:p>
            <a:pPr lvl="0"/>
            <a:r>
              <a:rPr lang="en-GB" dirty="0"/>
              <a:t>Key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4603E3B-7629-5549-99A7-3D0ADCC14F2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92186" y="4839295"/>
            <a:ext cx="216000" cy="129778"/>
            <a:chOff x="5342425" y="2976487"/>
            <a:chExt cx="1506305" cy="905027"/>
          </a:xfrm>
        </p:grpSpPr>
        <p:sp>
          <p:nvSpPr>
            <p:cNvPr id="10" name="Freeform: Shape 30">
              <a:extLst>
                <a:ext uri="{FF2B5EF4-FFF2-40B4-BE49-F238E27FC236}">
                  <a16:creationId xmlns:a16="http://schemas.microsoft.com/office/drawing/2014/main" id="{FF1007F6-6981-F947-881F-29B40639BDAF}"/>
                </a:ext>
              </a:extLst>
            </p:cNvPr>
            <p:cNvSpPr/>
            <p:nvPr/>
          </p:nvSpPr>
          <p:spPr>
            <a:xfrm>
              <a:off x="6162929" y="2976631"/>
              <a:ext cx="685801" cy="904876"/>
            </a:xfrm>
            <a:custGeom>
              <a:avLst/>
              <a:gdLst>
                <a:gd name="connsiteX0" fmla="*/ 419281 w 685800"/>
                <a:gd name="connsiteY0" fmla="*/ 0 h 904875"/>
                <a:gd name="connsiteX1" fmla="*/ 419281 w 685800"/>
                <a:gd name="connsiteY1" fmla="*/ 534876 h 904875"/>
                <a:gd name="connsiteX2" fmla="*/ 279302 w 685800"/>
                <a:gd name="connsiteY2" fmla="*/ 702840 h 904875"/>
                <a:gd name="connsiteX3" fmla="*/ 138046 w 685800"/>
                <a:gd name="connsiteY3" fmla="*/ 534876 h 904875"/>
                <a:gd name="connsiteX4" fmla="*/ 138046 w 685800"/>
                <a:gd name="connsiteY4" fmla="*/ 285007 h 904875"/>
                <a:gd name="connsiteX5" fmla="*/ 0 w 685800"/>
                <a:gd name="connsiteY5" fmla="*/ 499529 h 904875"/>
                <a:gd name="connsiteX6" fmla="*/ 219999 w 685800"/>
                <a:gd name="connsiteY6" fmla="*/ 905780 h 904875"/>
                <a:gd name="connsiteX7" fmla="*/ 237125 w 685800"/>
                <a:gd name="connsiteY7" fmla="*/ 906075 h 904875"/>
                <a:gd name="connsiteX8" fmla="*/ 286084 w 685800"/>
                <a:gd name="connsiteY8" fmla="*/ 906075 h 904875"/>
                <a:gd name="connsiteX9" fmla="*/ 584997 w 685800"/>
                <a:gd name="connsiteY9" fmla="*/ 811644 h 904875"/>
                <a:gd name="connsiteX10" fmla="*/ 690658 w 685800"/>
                <a:gd name="connsiteY10" fmla="*/ 523532 h 904875"/>
                <a:gd name="connsiteX11" fmla="*/ 690658 w 685800"/>
                <a:gd name="connsiteY11" fmla="*/ 0 h 904875"/>
                <a:gd name="connsiteX12" fmla="*/ 419281 w 685800"/>
                <a:gd name="connsiteY12" fmla="*/ 0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85800" h="904875">
                  <a:moveTo>
                    <a:pt x="419281" y="0"/>
                  </a:moveTo>
                  <a:lnTo>
                    <a:pt x="419281" y="534876"/>
                  </a:lnTo>
                  <a:cubicBezTo>
                    <a:pt x="419281" y="651358"/>
                    <a:pt x="352911" y="702840"/>
                    <a:pt x="279302" y="702840"/>
                  </a:cubicBezTo>
                  <a:cubicBezTo>
                    <a:pt x="202540" y="702840"/>
                    <a:pt x="138046" y="651358"/>
                    <a:pt x="138046" y="534876"/>
                  </a:cubicBezTo>
                  <a:lnTo>
                    <a:pt x="138046" y="285007"/>
                  </a:lnTo>
                  <a:cubicBezTo>
                    <a:pt x="138046" y="419967"/>
                    <a:pt x="0" y="499529"/>
                    <a:pt x="0" y="499529"/>
                  </a:cubicBezTo>
                  <a:lnTo>
                    <a:pt x="219999" y="905780"/>
                  </a:lnTo>
                  <a:cubicBezTo>
                    <a:pt x="225609" y="905961"/>
                    <a:pt x="231305" y="906075"/>
                    <a:pt x="237125" y="906075"/>
                  </a:cubicBezTo>
                  <a:lnTo>
                    <a:pt x="286084" y="906075"/>
                  </a:lnTo>
                  <a:cubicBezTo>
                    <a:pt x="418700" y="906075"/>
                    <a:pt x="507121" y="874205"/>
                    <a:pt x="584997" y="811644"/>
                  </a:cubicBezTo>
                  <a:cubicBezTo>
                    <a:pt x="668417" y="744255"/>
                    <a:pt x="690658" y="654729"/>
                    <a:pt x="690658" y="523532"/>
                  </a:cubicBezTo>
                  <a:lnTo>
                    <a:pt x="690658" y="0"/>
                  </a:lnTo>
                  <a:lnTo>
                    <a:pt x="419281" y="0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reeform: Shape 31">
              <a:extLst>
                <a:ext uri="{FF2B5EF4-FFF2-40B4-BE49-F238E27FC236}">
                  <a16:creationId xmlns:a16="http://schemas.microsoft.com/office/drawing/2014/main" id="{E4C9CA72-FF9A-194C-B471-A70DD81F30F4}"/>
                </a:ext>
              </a:extLst>
            </p:cNvPr>
            <p:cNvSpPr/>
            <p:nvPr/>
          </p:nvSpPr>
          <p:spPr>
            <a:xfrm>
              <a:off x="5342425" y="2976631"/>
              <a:ext cx="190499" cy="904876"/>
            </a:xfrm>
            <a:custGeom>
              <a:avLst/>
              <a:gdLst>
                <a:gd name="connsiteX0" fmla="*/ 0 w 190500"/>
                <a:gd name="connsiteY0" fmla="*/ 0 h 904875"/>
                <a:gd name="connsiteX1" fmla="*/ 193062 w 190500"/>
                <a:gd name="connsiteY1" fmla="*/ 0 h 904875"/>
                <a:gd name="connsiteX2" fmla="*/ 193062 w 190500"/>
                <a:gd name="connsiteY2" fmla="*/ 906075 h 904875"/>
                <a:gd name="connsiteX3" fmla="*/ 0 w 1905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904875">
                  <a:moveTo>
                    <a:pt x="0" y="0"/>
                  </a:moveTo>
                  <a:lnTo>
                    <a:pt x="193062" y="0"/>
                  </a:lnTo>
                  <a:lnTo>
                    <a:pt x="193062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reeform: Shape 32">
              <a:extLst>
                <a:ext uri="{FF2B5EF4-FFF2-40B4-BE49-F238E27FC236}">
                  <a16:creationId xmlns:a16="http://schemas.microsoft.com/office/drawing/2014/main" id="{DED12062-FE07-594F-98B6-3C52D4652A4C}"/>
                </a:ext>
              </a:extLst>
            </p:cNvPr>
            <p:cNvSpPr/>
            <p:nvPr/>
          </p:nvSpPr>
          <p:spPr>
            <a:xfrm>
              <a:off x="5688984" y="2976638"/>
              <a:ext cx="685801" cy="904876"/>
            </a:xfrm>
            <a:custGeom>
              <a:avLst/>
              <a:gdLst>
                <a:gd name="connsiteX0" fmla="*/ 343967 w 685800"/>
                <a:gd name="connsiteY0" fmla="*/ 523532 h 904875"/>
                <a:gd name="connsiteX1" fmla="*/ 343967 w 685800"/>
                <a:gd name="connsiteY1" fmla="*/ 0 h 904875"/>
                <a:gd name="connsiteX2" fmla="*/ 0 w 685800"/>
                <a:gd name="connsiteY2" fmla="*/ 0 h 904875"/>
                <a:gd name="connsiteX3" fmla="*/ 0 w 685800"/>
                <a:gd name="connsiteY3" fmla="*/ 906066 h 904875"/>
                <a:gd name="connsiteX4" fmla="*/ 112795 w 685800"/>
                <a:gd name="connsiteY4" fmla="*/ 906066 h 904875"/>
                <a:gd name="connsiteX5" fmla="*/ 112795 w 685800"/>
                <a:gd name="connsiteY5" fmla="*/ 567100 h 904875"/>
                <a:gd name="connsiteX6" fmla="*/ 250965 w 685800"/>
                <a:gd name="connsiteY6" fmla="*/ 567100 h 904875"/>
                <a:gd name="connsiteX7" fmla="*/ 404689 w 685800"/>
                <a:gd name="connsiteY7" fmla="*/ 906066 h 904875"/>
                <a:gd name="connsiteX8" fmla="*/ 694963 w 685800"/>
                <a:gd name="connsiteY8" fmla="*/ 906066 h 904875"/>
                <a:gd name="connsiteX9" fmla="*/ 694782 w 685800"/>
                <a:gd name="connsiteY9" fmla="*/ 905770 h 904875"/>
                <a:gd name="connsiteX10" fmla="*/ 451009 w 685800"/>
                <a:gd name="connsiteY10" fmla="*/ 811635 h 904875"/>
                <a:gd name="connsiteX11" fmla="*/ 343967 w 685800"/>
                <a:gd name="connsiteY11" fmla="*/ 523532 h 904875"/>
                <a:gd name="connsiteX12" fmla="*/ 232743 w 685800"/>
                <a:gd name="connsiteY12" fmla="*/ 388125 h 904875"/>
                <a:gd name="connsiteX13" fmla="*/ 112795 w 685800"/>
                <a:gd name="connsiteY13" fmla="*/ 388125 h 904875"/>
                <a:gd name="connsiteX14" fmla="*/ 112795 w 685800"/>
                <a:gd name="connsiteY14" fmla="*/ 181461 h 904875"/>
                <a:gd name="connsiteX15" fmla="*/ 239153 w 685800"/>
                <a:gd name="connsiteY15" fmla="*/ 181461 h 904875"/>
                <a:gd name="connsiteX16" fmla="*/ 342995 w 685800"/>
                <a:gd name="connsiteY16" fmla="*/ 279749 h 904875"/>
                <a:gd name="connsiteX17" fmla="*/ 232743 w 685800"/>
                <a:gd name="connsiteY17" fmla="*/ 38812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85800" h="904875">
                  <a:moveTo>
                    <a:pt x="343967" y="523532"/>
                  </a:moveTo>
                  <a:lnTo>
                    <a:pt x="343967" y="0"/>
                  </a:lnTo>
                  <a:lnTo>
                    <a:pt x="0" y="0"/>
                  </a:lnTo>
                  <a:lnTo>
                    <a:pt x="0" y="906066"/>
                  </a:lnTo>
                  <a:lnTo>
                    <a:pt x="112795" y="906066"/>
                  </a:lnTo>
                  <a:lnTo>
                    <a:pt x="112795" y="567100"/>
                  </a:lnTo>
                  <a:lnTo>
                    <a:pt x="250965" y="567100"/>
                  </a:lnTo>
                  <a:cubicBezTo>
                    <a:pt x="250965" y="567100"/>
                    <a:pt x="376533" y="830447"/>
                    <a:pt x="404689" y="906066"/>
                  </a:cubicBezTo>
                  <a:lnTo>
                    <a:pt x="694963" y="906066"/>
                  </a:lnTo>
                  <a:lnTo>
                    <a:pt x="694782" y="905770"/>
                  </a:lnTo>
                  <a:cubicBezTo>
                    <a:pt x="587626" y="902084"/>
                    <a:pt x="515950" y="863813"/>
                    <a:pt x="451009" y="811635"/>
                  </a:cubicBezTo>
                  <a:cubicBezTo>
                    <a:pt x="367599" y="744245"/>
                    <a:pt x="343967" y="654720"/>
                    <a:pt x="343967" y="523532"/>
                  </a:cubicBezTo>
                  <a:moveTo>
                    <a:pt x="232743" y="388125"/>
                  </a:moveTo>
                  <a:lnTo>
                    <a:pt x="112795" y="388125"/>
                  </a:lnTo>
                  <a:lnTo>
                    <a:pt x="112795" y="181461"/>
                  </a:lnTo>
                  <a:lnTo>
                    <a:pt x="239153" y="181461"/>
                  </a:lnTo>
                  <a:cubicBezTo>
                    <a:pt x="293837" y="181461"/>
                    <a:pt x="342995" y="212960"/>
                    <a:pt x="342995" y="279749"/>
                  </a:cubicBezTo>
                  <a:cubicBezTo>
                    <a:pt x="342995" y="355340"/>
                    <a:pt x="291989" y="388125"/>
                    <a:pt x="232743" y="388125"/>
                  </a:cubicBezTo>
                </a:path>
              </a:pathLst>
            </a:custGeom>
            <a:solidFill>
              <a:srgbClr val="2484C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reeform: Shape 33">
              <a:extLst>
                <a:ext uri="{FF2B5EF4-FFF2-40B4-BE49-F238E27FC236}">
                  <a16:creationId xmlns:a16="http://schemas.microsoft.com/office/drawing/2014/main" id="{9F233001-C201-394E-BB53-AADDF01E51D1}"/>
                </a:ext>
              </a:extLst>
            </p:cNvPr>
            <p:cNvSpPr/>
            <p:nvPr/>
          </p:nvSpPr>
          <p:spPr>
            <a:xfrm>
              <a:off x="6032105" y="2976487"/>
              <a:ext cx="342900" cy="904875"/>
            </a:xfrm>
            <a:custGeom>
              <a:avLst/>
              <a:gdLst>
                <a:gd name="connsiteX0" fmla="*/ 268871 w 342900"/>
                <a:gd name="connsiteY0" fmla="*/ 285007 h 904875"/>
                <a:gd name="connsiteX1" fmla="*/ 268871 w 342900"/>
                <a:gd name="connsiteY1" fmla="*/ 243878 h 904875"/>
                <a:gd name="connsiteX2" fmla="*/ 0 w 342900"/>
                <a:gd name="connsiteY2" fmla="*/ 0 h 904875"/>
                <a:gd name="connsiteX3" fmla="*/ 0 w 342900"/>
                <a:gd name="connsiteY3" fmla="*/ 523532 h 904875"/>
                <a:gd name="connsiteX4" fmla="*/ 107052 w 342900"/>
                <a:gd name="connsiteY4" fmla="*/ 811644 h 904875"/>
                <a:gd name="connsiteX5" fmla="*/ 350825 w 342900"/>
                <a:gd name="connsiteY5" fmla="*/ 905789 h 904875"/>
                <a:gd name="connsiteX6" fmla="*/ 130836 w 342900"/>
                <a:gd name="connsiteY6" fmla="*/ 499539 h 904875"/>
                <a:gd name="connsiteX7" fmla="*/ 268871 w 342900"/>
                <a:gd name="connsiteY7" fmla="*/ 285007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2900" h="904875">
                  <a:moveTo>
                    <a:pt x="268871" y="285007"/>
                  </a:moveTo>
                  <a:lnTo>
                    <a:pt x="268871" y="243878"/>
                  </a:lnTo>
                  <a:cubicBezTo>
                    <a:pt x="268871" y="94393"/>
                    <a:pt x="110528" y="0"/>
                    <a:pt x="0" y="0"/>
                  </a:cubicBezTo>
                  <a:lnTo>
                    <a:pt x="0" y="523532"/>
                  </a:lnTo>
                  <a:cubicBezTo>
                    <a:pt x="0" y="654729"/>
                    <a:pt x="23641" y="744264"/>
                    <a:pt x="107052" y="811644"/>
                  </a:cubicBezTo>
                  <a:cubicBezTo>
                    <a:pt x="171993" y="863813"/>
                    <a:pt x="243668" y="902084"/>
                    <a:pt x="350825" y="905789"/>
                  </a:cubicBezTo>
                  <a:lnTo>
                    <a:pt x="130836" y="499539"/>
                  </a:lnTo>
                  <a:cubicBezTo>
                    <a:pt x="130836" y="499539"/>
                    <a:pt x="268871" y="419957"/>
                    <a:pt x="268871" y="285007"/>
                  </a:cubicBezTo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reeform: Shape 34">
              <a:extLst>
                <a:ext uri="{FF2B5EF4-FFF2-40B4-BE49-F238E27FC236}">
                  <a16:creationId xmlns:a16="http://schemas.microsoft.com/office/drawing/2014/main" id="{5880F955-D826-1D45-8A1A-05E30CE3296F}"/>
                </a:ext>
              </a:extLst>
            </p:cNvPr>
            <p:cNvSpPr/>
            <p:nvPr/>
          </p:nvSpPr>
          <p:spPr>
            <a:xfrm>
              <a:off x="5535487" y="2976487"/>
              <a:ext cx="152399" cy="904875"/>
            </a:xfrm>
            <a:custGeom>
              <a:avLst/>
              <a:gdLst>
                <a:gd name="connsiteX0" fmla="*/ 0 w 152400"/>
                <a:gd name="connsiteY0" fmla="*/ 0 h 904875"/>
                <a:gd name="connsiteX1" fmla="*/ 153495 w 152400"/>
                <a:gd name="connsiteY1" fmla="*/ 0 h 904875"/>
                <a:gd name="connsiteX2" fmla="*/ 153495 w 152400"/>
                <a:gd name="connsiteY2" fmla="*/ 906075 h 904875"/>
                <a:gd name="connsiteX3" fmla="*/ 0 w 1524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400" h="904875">
                  <a:moveTo>
                    <a:pt x="0" y="0"/>
                  </a:moveTo>
                  <a:lnTo>
                    <a:pt x="153495" y="0"/>
                  </a:lnTo>
                  <a:lnTo>
                    <a:pt x="153495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2590801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f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73A917B-5EF1-9F4B-AA4E-1CA036D0DE86}"/>
              </a:ext>
            </a:extLst>
          </p:cNvPr>
          <p:cNvSpPr/>
          <p:nvPr userDrawn="1"/>
        </p:nvSpPr>
        <p:spPr>
          <a:xfrm>
            <a:off x="-1" y="0"/>
            <a:ext cx="1945759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E2535B-B6E6-B045-96C0-6D95AD3815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65984-D348-BF47-86A8-7DC2AFD6D920}" type="datetimeFigureOut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04/09/2021</a:t>
            </a:fld>
            <a:endParaRPr lang="en-US" dirty="0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8636DE-BF6E-7E4F-BC50-F94C91B2FC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C6508A-CE19-CD42-A4D0-0C62D6E4F9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6F86F5-1EE3-164C-BBF2-87129EE00A76}" type="slidenum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25" name="Title 24">
            <a:extLst>
              <a:ext uri="{FF2B5EF4-FFF2-40B4-BE49-F238E27FC236}">
                <a16:creationId xmlns:a16="http://schemas.microsoft.com/office/drawing/2014/main" id="{93CC24B2-2E12-7E4E-BE96-7E2300F339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71620"/>
            <a:ext cx="2366023" cy="644004"/>
          </a:xfrm>
          <a:prstGeom prst="rect">
            <a:avLst/>
          </a:prstGeom>
          <a:solidFill>
            <a:srgbClr val="0C95C6">
              <a:alpha val="9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72000" rIns="36000" bIns="7200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>
              <a:defRPr lang="en-US" sz="3600" dirty="0">
                <a:solidFill>
                  <a:schemeClr val="bg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</a:lstStyle>
          <a:p>
            <a:pPr marL="301229" lvl="0">
              <a:tabLst>
                <a:tab pos="255985" algn="l"/>
                <a:tab pos="301229" algn="l"/>
              </a:tabLst>
            </a:pPr>
            <a:r>
              <a:rPr lang="en-GB" dirty="0"/>
              <a:t>  CLICK TO</a:t>
            </a:r>
            <a:endParaRPr lang="en-US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BFE539A2-81CE-064E-BF16-091C7B7E87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788199"/>
            <a:ext cx="2531064" cy="571301"/>
          </a:xfrm>
          <a:prstGeom prst="rect">
            <a:avLst/>
          </a:prstGeom>
          <a:solidFill>
            <a:srgbClr val="19B6F1">
              <a:alpha val="9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72000" bIns="3600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 marL="129779" indent="0">
              <a:buNone/>
              <a:defRPr lang="en-GB" sz="3600" dirty="0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en-GB" sz="1350" dirty="0" smtClean="0">
                <a:solidFill>
                  <a:schemeClr val="lt1"/>
                </a:solidFill>
                <a:latin typeface="Corbel" panose="020B0503020204020204" pitchFamily="34" charset="0"/>
              </a:defRPr>
            </a:lvl2pPr>
            <a:lvl3pPr>
              <a:defRPr lang="en-GB" sz="1350" dirty="0" smtClean="0">
                <a:solidFill>
                  <a:schemeClr val="lt1"/>
                </a:solidFill>
                <a:latin typeface="Corbel" panose="020B0503020204020204" pitchFamily="34" charset="0"/>
              </a:defRPr>
            </a:lvl3pPr>
            <a:lvl4pPr>
              <a:defRPr lang="en-GB" dirty="0" smtClean="0">
                <a:solidFill>
                  <a:schemeClr val="lt1"/>
                </a:solidFill>
                <a:latin typeface="Corbel" panose="020B0503020204020204" pitchFamily="34" charset="0"/>
              </a:defRPr>
            </a:lvl4pPr>
            <a:lvl5pPr>
              <a:defRPr lang="en-US" dirty="0">
                <a:solidFill>
                  <a:schemeClr val="lt1"/>
                </a:solidFill>
                <a:latin typeface="Corbel" panose="020B0503020204020204" pitchFamily="34" charset="0"/>
              </a:defRPr>
            </a:lvl5pPr>
          </a:lstStyle>
          <a:p>
            <a:pPr marL="301229" lvl="0"/>
            <a:r>
              <a:rPr lang="en-GB" dirty="0"/>
              <a:t>EDIT TITLE</a:t>
            </a:r>
            <a:endParaRPr lang="en-US" dirty="0"/>
          </a:p>
        </p:txBody>
      </p:sp>
      <p:sp>
        <p:nvSpPr>
          <p:cNvPr id="9" name="Content Placeholder 15">
            <a:extLst>
              <a:ext uri="{FF2B5EF4-FFF2-40B4-BE49-F238E27FC236}">
                <a16:creationId xmlns:a16="http://schemas.microsoft.com/office/drawing/2014/main" id="{84E8B304-2436-0743-87FC-4898E190C6E0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028950" y="1637415"/>
            <a:ext cx="5486400" cy="29655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First level text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0" name="Text Placeholder 31">
            <a:extLst>
              <a:ext uri="{FF2B5EF4-FFF2-40B4-BE49-F238E27FC236}">
                <a16:creationId xmlns:a16="http://schemas.microsoft.com/office/drawing/2014/main" id="{55778314-6EA3-6F47-95A7-E5E10E8697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650" y="3919507"/>
            <a:ext cx="1213442" cy="637995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marL="0" indent="0">
              <a:buNone/>
              <a:defRPr sz="788"/>
            </a:lvl1pPr>
            <a:lvl2pPr marL="600075" indent="-257175">
              <a:buFont typeface="Arial" panose="020B0604020202020204" pitchFamily="34" charset="0"/>
              <a:buChar char="•"/>
              <a:defRPr sz="1500"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de-CH" dirty="0" err="1"/>
              <a:t>Lorem</a:t>
            </a:r>
            <a:r>
              <a:rPr lang="de-CH" dirty="0"/>
              <a:t> </a:t>
            </a:r>
            <a:r>
              <a:rPr lang="de-CH" dirty="0" err="1"/>
              <a:t>ipsum</a:t>
            </a:r>
            <a:r>
              <a:rPr lang="de-CH" dirty="0"/>
              <a:t> </a:t>
            </a:r>
            <a:r>
              <a:rPr lang="de-CH" dirty="0" err="1"/>
              <a:t>dolor</a:t>
            </a:r>
            <a:r>
              <a:rPr lang="de-CH" dirty="0"/>
              <a:t> </a:t>
            </a:r>
            <a:r>
              <a:rPr lang="de-CH" dirty="0" err="1"/>
              <a:t>sit</a:t>
            </a:r>
            <a:r>
              <a:rPr lang="de-CH" dirty="0"/>
              <a:t> </a:t>
            </a:r>
            <a:r>
              <a:rPr lang="de-CH" dirty="0" err="1"/>
              <a:t>amet</a:t>
            </a:r>
            <a:r>
              <a:rPr lang="de-CH" dirty="0"/>
              <a:t>, </a:t>
            </a:r>
            <a:r>
              <a:rPr lang="de-CH" dirty="0" err="1"/>
              <a:t>consectetur</a:t>
            </a:r>
            <a:r>
              <a:rPr lang="de-CH" dirty="0"/>
              <a:t> </a:t>
            </a:r>
            <a:r>
              <a:rPr lang="de-CH" dirty="0" err="1"/>
              <a:t>adipiscing</a:t>
            </a:r>
            <a:r>
              <a:rPr lang="de-CH" dirty="0"/>
              <a:t> </a:t>
            </a:r>
            <a:r>
              <a:rPr lang="de-CH" dirty="0" err="1"/>
              <a:t>elit</a:t>
            </a:r>
            <a:r>
              <a:rPr lang="de-CH" dirty="0"/>
              <a:t>. </a:t>
            </a:r>
            <a:r>
              <a:rPr lang="de-CH" dirty="0" err="1"/>
              <a:t>Fusce</a:t>
            </a:r>
            <a:r>
              <a:rPr lang="de-CH" dirty="0"/>
              <a:t> at ex </a:t>
            </a:r>
            <a:r>
              <a:rPr lang="de-CH" dirty="0" err="1"/>
              <a:t>quis</a:t>
            </a:r>
            <a:r>
              <a:rPr lang="de-CH" dirty="0"/>
              <a:t> </a:t>
            </a:r>
            <a:r>
              <a:rPr lang="de-CH" dirty="0" err="1"/>
              <a:t>justo</a:t>
            </a:r>
            <a:r>
              <a:rPr lang="de-CH" dirty="0"/>
              <a:t> </a:t>
            </a:r>
            <a:r>
              <a:rPr lang="de-CH" dirty="0" err="1"/>
              <a:t>viverra</a:t>
            </a:r>
            <a:r>
              <a:rPr lang="de-CH" dirty="0"/>
              <a:t> </a:t>
            </a:r>
            <a:r>
              <a:rPr lang="de-CH" dirty="0" err="1"/>
              <a:t>posuere</a:t>
            </a:r>
            <a:r>
              <a:rPr lang="de-CH" dirty="0"/>
              <a:t> et </a:t>
            </a:r>
            <a:r>
              <a:rPr lang="de-CH" dirty="0" err="1"/>
              <a:t>eget</a:t>
            </a:r>
            <a:r>
              <a:rPr lang="de-CH" dirty="0"/>
              <a:t> </a:t>
            </a:r>
            <a:r>
              <a:rPr lang="de-CH" dirty="0" err="1"/>
              <a:t>tortor</a:t>
            </a:r>
            <a:r>
              <a:rPr lang="de-CH" dirty="0"/>
              <a:t>.</a:t>
            </a:r>
            <a:endParaRPr lang="en-GB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1BE8E90-A161-0641-9DA3-364F612ABEA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92186" y="4839295"/>
            <a:ext cx="216000" cy="129778"/>
            <a:chOff x="5342425" y="2976487"/>
            <a:chExt cx="1506305" cy="905027"/>
          </a:xfrm>
        </p:grpSpPr>
        <p:sp>
          <p:nvSpPr>
            <p:cNvPr id="12" name="Freeform: Shape 30">
              <a:extLst>
                <a:ext uri="{FF2B5EF4-FFF2-40B4-BE49-F238E27FC236}">
                  <a16:creationId xmlns:a16="http://schemas.microsoft.com/office/drawing/2014/main" id="{5A341602-2B3C-7241-B81C-CC0AA9457960}"/>
                </a:ext>
              </a:extLst>
            </p:cNvPr>
            <p:cNvSpPr/>
            <p:nvPr/>
          </p:nvSpPr>
          <p:spPr>
            <a:xfrm>
              <a:off x="6162929" y="2976631"/>
              <a:ext cx="685801" cy="904876"/>
            </a:xfrm>
            <a:custGeom>
              <a:avLst/>
              <a:gdLst>
                <a:gd name="connsiteX0" fmla="*/ 419281 w 685800"/>
                <a:gd name="connsiteY0" fmla="*/ 0 h 904875"/>
                <a:gd name="connsiteX1" fmla="*/ 419281 w 685800"/>
                <a:gd name="connsiteY1" fmla="*/ 534876 h 904875"/>
                <a:gd name="connsiteX2" fmla="*/ 279302 w 685800"/>
                <a:gd name="connsiteY2" fmla="*/ 702840 h 904875"/>
                <a:gd name="connsiteX3" fmla="*/ 138046 w 685800"/>
                <a:gd name="connsiteY3" fmla="*/ 534876 h 904875"/>
                <a:gd name="connsiteX4" fmla="*/ 138046 w 685800"/>
                <a:gd name="connsiteY4" fmla="*/ 285007 h 904875"/>
                <a:gd name="connsiteX5" fmla="*/ 0 w 685800"/>
                <a:gd name="connsiteY5" fmla="*/ 499529 h 904875"/>
                <a:gd name="connsiteX6" fmla="*/ 219999 w 685800"/>
                <a:gd name="connsiteY6" fmla="*/ 905780 h 904875"/>
                <a:gd name="connsiteX7" fmla="*/ 237125 w 685800"/>
                <a:gd name="connsiteY7" fmla="*/ 906075 h 904875"/>
                <a:gd name="connsiteX8" fmla="*/ 286084 w 685800"/>
                <a:gd name="connsiteY8" fmla="*/ 906075 h 904875"/>
                <a:gd name="connsiteX9" fmla="*/ 584997 w 685800"/>
                <a:gd name="connsiteY9" fmla="*/ 811644 h 904875"/>
                <a:gd name="connsiteX10" fmla="*/ 690658 w 685800"/>
                <a:gd name="connsiteY10" fmla="*/ 523532 h 904875"/>
                <a:gd name="connsiteX11" fmla="*/ 690658 w 685800"/>
                <a:gd name="connsiteY11" fmla="*/ 0 h 904875"/>
                <a:gd name="connsiteX12" fmla="*/ 419281 w 685800"/>
                <a:gd name="connsiteY12" fmla="*/ 0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85800" h="904875">
                  <a:moveTo>
                    <a:pt x="419281" y="0"/>
                  </a:moveTo>
                  <a:lnTo>
                    <a:pt x="419281" y="534876"/>
                  </a:lnTo>
                  <a:cubicBezTo>
                    <a:pt x="419281" y="651358"/>
                    <a:pt x="352911" y="702840"/>
                    <a:pt x="279302" y="702840"/>
                  </a:cubicBezTo>
                  <a:cubicBezTo>
                    <a:pt x="202540" y="702840"/>
                    <a:pt x="138046" y="651358"/>
                    <a:pt x="138046" y="534876"/>
                  </a:cubicBezTo>
                  <a:lnTo>
                    <a:pt x="138046" y="285007"/>
                  </a:lnTo>
                  <a:cubicBezTo>
                    <a:pt x="138046" y="419967"/>
                    <a:pt x="0" y="499529"/>
                    <a:pt x="0" y="499529"/>
                  </a:cubicBezTo>
                  <a:lnTo>
                    <a:pt x="219999" y="905780"/>
                  </a:lnTo>
                  <a:cubicBezTo>
                    <a:pt x="225609" y="905961"/>
                    <a:pt x="231305" y="906075"/>
                    <a:pt x="237125" y="906075"/>
                  </a:cubicBezTo>
                  <a:lnTo>
                    <a:pt x="286084" y="906075"/>
                  </a:lnTo>
                  <a:cubicBezTo>
                    <a:pt x="418700" y="906075"/>
                    <a:pt x="507121" y="874205"/>
                    <a:pt x="584997" y="811644"/>
                  </a:cubicBezTo>
                  <a:cubicBezTo>
                    <a:pt x="668417" y="744255"/>
                    <a:pt x="690658" y="654729"/>
                    <a:pt x="690658" y="523532"/>
                  </a:cubicBezTo>
                  <a:lnTo>
                    <a:pt x="690658" y="0"/>
                  </a:lnTo>
                  <a:lnTo>
                    <a:pt x="419281" y="0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reeform: Shape 31">
              <a:extLst>
                <a:ext uri="{FF2B5EF4-FFF2-40B4-BE49-F238E27FC236}">
                  <a16:creationId xmlns:a16="http://schemas.microsoft.com/office/drawing/2014/main" id="{D0047C1F-08A0-1445-BD79-9C2A215DF5DE}"/>
                </a:ext>
              </a:extLst>
            </p:cNvPr>
            <p:cNvSpPr/>
            <p:nvPr/>
          </p:nvSpPr>
          <p:spPr>
            <a:xfrm>
              <a:off x="5342425" y="2976631"/>
              <a:ext cx="190499" cy="904876"/>
            </a:xfrm>
            <a:custGeom>
              <a:avLst/>
              <a:gdLst>
                <a:gd name="connsiteX0" fmla="*/ 0 w 190500"/>
                <a:gd name="connsiteY0" fmla="*/ 0 h 904875"/>
                <a:gd name="connsiteX1" fmla="*/ 193062 w 190500"/>
                <a:gd name="connsiteY1" fmla="*/ 0 h 904875"/>
                <a:gd name="connsiteX2" fmla="*/ 193062 w 190500"/>
                <a:gd name="connsiteY2" fmla="*/ 906075 h 904875"/>
                <a:gd name="connsiteX3" fmla="*/ 0 w 1905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904875">
                  <a:moveTo>
                    <a:pt x="0" y="0"/>
                  </a:moveTo>
                  <a:lnTo>
                    <a:pt x="193062" y="0"/>
                  </a:lnTo>
                  <a:lnTo>
                    <a:pt x="193062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reeform: Shape 32">
              <a:extLst>
                <a:ext uri="{FF2B5EF4-FFF2-40B4-BE49-F238E27FC236}">
                  <a16:creationId xmlns:a16="http://schemas.microsoft.com/office/drawing/2014/main" id="{14E83D60-2436-A848-B7F7-60C14EEC89EB}"/>
                </a:ext>
              </a:extLst>
            </p:cNvPr>
            <p:cNvSpPr/>
            <p:nvPr/>
          </p:nvSpPr>
          <p:spPr>
            <a:xfrm>
              <a:off x="5688984" y="2976638"/>
              <a:ext cx="685801" cy="904876"/>
            </a:xfrm>
            <a:custGeom>
              <a:avLst/>
              <a:gdLst>
                <a:gd name="connsiteX0" fmla="*/ 343967 w 685800"/>
                <a:gd name="connsiteY0" fmla="*/ 523532 h 904875"/>
                <a:gd name="connsiteX1" fmla="*/ 343967 w 685800"/>
                <a:gd name="connsiteY1" fmla="*/ 0 h 904875"/>
                <a:gd name="connsiteX2" fmla="*/ 0 w 685800"/>
                <a:gd name="connsiteY2" fmla="*/ 0 h 904875"/>
                <a:gd name="connsiteX3" fmla="*/ 0 w 685800"/>
                <a:gd name="connsiteY3" fmla="*/ 906066 h 904875"/>
                <a:gd name="connsiteX4" fmla="*/ 112795 w 685800"/>
                <a:gd name="connsiteY4" fmla="*/ 906066 h 904875"/>
                <a:gd name="connsiteX5" fmla="*/ 112795 w 685800"/>
                <a:gd name="connsiteY5" fmla="*/ 567100 h 904875"/>
                <a:gd name="connsiteX6" fmla="*/ 250965 w 685800"/>
                <a:gd name="connsiteY6" fmla="*/ 567100 h 904875"/>
                <a:gd name="connsiteX7" fmla="*/ 404689 w 685800"/>
                <a:gd name="connsiteY7" fmla="*/ 906066 h 904875"/>
                <a:gd name="connsiteX8" fmla="*/ 694963 w 685800"/>
                <a:gd name="connsiteY8" fmla="*/ 906066 h 904875"/>
                <a:gd name="connsiteX9" fmla="*/ 694782 w 685800"/>
                <a:gd name="connsiteY9" fmla="*/ 905770 h 904875"/>
                <a:gd name="connsiteX10" fmla="*/ 451009 w 685800"/>
                <a:gd name="connsiteY10" fmla="*/ 811635 h 904875"/>
                <a:gd name="connsiteX11" fmla="*/ 343967 w 685800"/>
                <a:gd name="connsiteY11" fmla="*/ 523532 h 904875"/>
                <a:gd name="connsiteX12" fmla="*/ 232743 w 685800"/>
                <a:gd name="connsiteY12" fmla="*/ 388125 h 904875"/>
                <a:gd name="connsiteX13" fmla="*/ 112795 w 685800"/>
                <a:gd name="connsiteY13" fmla="*/ 388125 h 904875"/>
                <a:gd name="connsiteX14" fmla="*/ 112795 w 685800"/>
                <a:gd name="connsiteY14" fmla="*/ 181461 h 904875"/>
                <a:gd name="connsiteX15" fmla="*/ 239153 w 685800"/>
                <a:gd name="connsiteY15" fmla="*/ 181461 h 904875"/>
                <a:gd name="connsiteX16" fmla="*/ 342995 w 685800"/>
                <a:gd name="connsiteY16" fmla="*/ 279749 h 904875"/>
                <a:gd name="connsiteX17" fmla="*/ 232743 w 685800"/>
                <a:gd name="connsiteY17" fmla="*/ 38812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85800" h="904875">
                  <a:moveTo>
                    <a:pt x="343967" y="523532"/>
                  </a:moveTo>
                  <a:lnTo>
                    <a:pt x="343967" y="0"/>
                  </a:lnTo>
                  <a:lnTo>
                    <a:pt x="0" y="0"/>
                  </a:lnTo>
                  <a:lnTo>
                    <a:pt x="0" y="906066"/>
                  </a:lnTo>
                  <a:lnTo>
                    <a:pt x="112795" y="906066"/>
                  </a:lnTo>
                  <a:lnTo>
                    <a:pt x="112795" y="567100"/>
                  </a:lnTo>
                  <a:lnTo>
                    <a:pt x="250965" y="567100"/>
                  </a:lnTo>
                  <a:cubicBezTo>
                    <a:pt x="250965" y="567100"/>
                    <a:pt x="376533" y="830447"/>
                    <a:pt x="404689" y="906066"/>
                  </a:cubicBezTo>
                  <a:lnTo>
                    <a:pt x="694963" y="906066"/>
                  </a:lnTo>
                  <a:lnTo>
                    <a:pt x="694782" y="905770"/>
                  </a:lnTo>
                  <a:cubicBezTo>
                    <a:pt x="587626" y="902084"/>
                    <a:pt x="515950" y="863813"/>
                    <a:pt x="451009" y="811635"/>
                  </a:cubicBezTo>
                  <a:cubicBezTo>
                    <a:pt x="367599" y="744245"/>
                    <a:pt x="343967" y="654720"/>
                    <a:pt x="343967" y="523532"/>
                  </a:cubicBezTo>
                  <a:moveTo>
                    <a:pt x="232743" y="388125"/>
                  </a:moveTo>
                  <a:lnTo>
                    <a:pt x="112795" y="388125"/>
                  </a:lnTo>
                  <a:lnTo>
                    <a:pt x="112795" y="181461"/>
                  </a:lnTo>
                  <a:lnTo>
                    <a:pt x="239153" y="181461"/>
                  </a:lnTo>
                  <a:cubicBezTo>
                    <a:pt x="293837" y="181461"/>
                    <a:pt x="342995" y="212960"/>
                    <a:pt x="342995" y="279749"/>
                  </a:cubicBezTo>
                  <a:cubicBezTo>
                    <a:pt x="342995" y="355340"/>
                    <a:pt x="291989" y="388125"/>
                    <a:pt x="232743" y="388125"/>
                  </a:cubicBezTo>
                </a:path>
              </a:pathLst>
            </a:custGeom>
            <a:solidFill>
              <a:srgbClr val="2484C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reeform: Shape 33">
              <a:extLst>
                <a:ext uri="{FF2B5EF4-FFF2-40B4-BE49-F238E27FC236}">
                  <a16:creationId xmlns:a16="http://schemas.microsoft.com/office/drawing/2014/main" id="{AF2F1FCC-8DDB-3840-B958-D6D11BB7FAC3}"/>
                </a:ext>
              </a:extLst>
            </p:cNvPr>
            <p:cNvSpPr/>
            <p:nvPr/>
          </p:nvSpPr>
          <p:spPr>
            <a:xfrm>
              <a:off x="6032105" y="2976487"/>
              <a:ext cx="342900" cy="904875"/>
            </a:xfrm>
            <a:custGeom>
              <a:avLst/>
              <a:gdLst>
                <a:gd name="connsiteX0" fmla="*/ 268871 w 342900"/>
                <a:gd name="connsiteY0" fmla="*/ 285007 h 904875"/>
                <a:gd name="connsiteX1" fmla="*/ 268871 w 342900"/>
                <a:gd name="connsiteY1" fmla="*/ 243878 h 904875"/>
                <a:gd name="connsiteX2" fmla="*/ 0 w 342900"/>
                <a:gd name="connsiteY2" fmla="*/ 0 h 904875"/>
                <a:gd name="connsiteX3" fmla="*/ 0 w 342900"/>
                <a:gd name="connsiteY3" fmla="*/ 523532 h 904875"/>
                <a:gd name="connsiteX4" fmla="*/ 107052 w 342900"/>
                <a:gd name="connsiteY4" fmla="*/ 811644 h 904875"/>
                <a:gd name="connsiteX5" fmla="*/ 350825 w 342900"/>
                <a:gd name="connsiteY5" fmla="*/ 905789 h 904875"/>
                <a:gd name="connsiteX6" fmla="*/ 130836 w 342900"/>
                <a:gd name="connsiteY6" fmla="*/ 499539 h 904875"/>
                <a:gd name="connsiteX7" fmla="*/ 268871 w 342900"/>
                <a:gd name="connsiteY7" fmla="*/ 285007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2900" h="904875">
                  <a:moveTo>
                    <a:pt x="268871" y="285007"/>
                  </a:moveTo>
                  <a:lnTo>
                    <a:pt x="268871" y="243878"/>
                  </a:lnTo>
                  <a:cubicBezTo>
                    <a:pt x="268871" y="94393"/>
                    <a:pt x="110528" y="0"/>
                    <a:pt x="0" y="0"/>
                  </a:cubicBezTo>
                  <a:lnTo>
                    <a:pt x="0" y="523532"/>
                  </a:lnTo>
                  <a:cubicBezTo>
                    <a:pt x="0" y="654729"/>
                    <a:pt x="23641" y="744264"/>
                    <a:pt x="107052" y="811644"/>
                  </a:cubicBezTo>
                  <a:cubicBezTo>
                    <a:pt x="171993" y="863813"/>
                    <a:pt x="243668" y="902084"/>
                    <a:pt x="350825" y="905789"/>
                  </a:cubicBezTo>
                  <a:lnTo>
                    <a:pt x="130836" y="499539"/>
                  </a:lnTo>
                  <a:cubicBezTo>
                    <a:pt x="130836" y="499539"/>
                    <a:pt x="268871" y="419957"/>
                    <a:pt x="268871" y="285007"/>
                  </a:cubicBezTo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reeform: Shape 34">
              <a:extLst>
                <a:ext uri="{FF2B5EF4-FFF2-40B4-BE49-F238E27FC236}">
                  <a16:creationId xmlns:a16="http://schemas.microsoft.com/office/drawing/2014/main" id="{745F5441-FA5A-E748-A3E1-613BBE60C132}"/>
                </a:ext>
              </a:extLst>
            </p:cNvPr>
            <p:cNvSpPr/>
            <p:nvPr/>
          </p:nvSpPr>
          <p:spPr>
            <a:xfrm>
              <a:off x="5535487" y="2976487"/>
              <a:ext cx="152399" cy="904875"/>
            </a:xfrm>
            <a:custGeom>
              <a:avLst/>
              <a:gdLst>
                <a:gd name="connsiteX0" fmla="*/ 0 w 152400"/>
                <a:gd name="connsiteY0" fmla="*/ 0 h 904875"/>
                <a:gd name="connsiteX1" fmla="*/ 153495 w 152400"/>
                <a:gd name="connsiteY1" fmla="*/ 0 h 904875"/>
                <a:gd name="connsiteX2" fmla="*/ 153495 w 152400"/>
                <a:gd name="connsiteY2" fmla="*/ 906075 h 904875"/>
                <a:gd name="connsiteX3" fmla="*/ 0 w 1524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400" h="904875">
                  <a:moveTo>
                    <a:pt x="0" y="0"/>
                  </a:moveTo>
                  <a:lnTo>
                    <a:pt x="153495" y="0"/>
                  </a:lnTo>
                  <a:lnTo>
                    <a:pt x="153495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5585854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free_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E2535B-B6E6-B045-96C0-6D95AD3815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65984-D348-BF47-86A8-7DC2AFD6D920}" type="datetimeFigureOut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04/09/2021</a:t>
            </a:fld>
            <a:endParaRPr lang="en-US" dirty="0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8636DE-BF6E-7E4F-BC50-F94C91B2FC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C6508A-CE19-CD42-A4D0-0C62D6E4F9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6F86F5-1EE3-164C-BBF2-87129EE00A76}" type="slidenum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25" name="Title 24">
            <a:extLst>
              <a:ext uri="{FF2B5EF4-FFF2-40B4-BE49-F238E27FC236}">
                <a16:creationId xmlns:a16="http://schemas.microsoft.com/office/drawing/2014/main" id="{93CC24B2-2E12-7E4E-BE96-7E2300F339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71620"/>
            <a:ext cx="2366023" cy="644004"/>
          </a:xfrm>
          <a:prstGeom prst="rect">
            <a:avLst/>
          </a:prstGeom>
          <a:solidFill>
            <a:srgbClr val="0C95C6">
              <a:alpha val="9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72000" rIns="36000" bIns="7200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>
              <a:defRPr lang="en-US" sz="3600" dirty="0">
                <a:solidFill>
                  <a:schemeClr val="bg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</a:lstStyle>
          <a:p>
            <a:pPr marL="301229" lvl="0">
              <a:tabLst>
                <a:tab pos="255985" algn="l"/>
                <a:tab pos="301229" algn="l"/>
              </a:tabLst>
            </a:pPr>
            <a:r>
              <a:rPr lang="en-GB" dirty="0"/>
              <a:t>  CLICK TO</a:t>
            </a:r>
            <a:endParaRPr lang="en-US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BFE539A2-81CE-064E-BF16-091C7B7E87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788199"/>
            <a:ext cx="2531064" cy="571301"/>
          </a:xfrm>
          <a:prstGeom prst="rect">
            <a:avLst/>
          </a:prstGeom>
          <a:solidFill>
            <a:srgbClr val="19B6F1">
              <a:alpha val="9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72000" bIns="3600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 marL="129779" indent="0">
              <a:buNone/>
              <a:defRPr lang="en-GB" sz="3600" dirty="0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en-GB" sz="1350" dirty="0" smtClean="0">
                <a:solidFill>
                  <a:schemeClr val="lt1"/>
                </a:solidFill>
                <a:latin typeface="Corbel" panose="020B0503020204020204" pitchFamily="34" charset="0"/>
              </a:defRPr>
            </a:lvl2pPr>
            <a:lvl3pPr>
              <a:defRPr lang="en-GB" sz="1350" dirty="0" smtClean="0">
                <a:solidFill>
                  <a:schemeClr val="lt1"/>
                </a:solidFill>
                <a:latin typeface="Corbel" panose="020B0503020204020204" pitchFamily="34" charset="0"/>
              </a:defRPr>
            </a:lvl3pPr>
            <a:lvl4pPr>
              <a:defRPr lang="en-GB" dirty="0" smtClean="0">
                <a:solidFill>
                  <a:schemeClr val="lt1"/>
                </a:solidFill>
                <a:latin typeface="Corbel" panose="020B0503020204020204" pitchFamily="34" charset="0"/>
              </a:defRPr>
            </a:lvl4pPr>
            <a:lvl5pPr>
              <a:defRPr lang="en-US" dirty="0">
                <a:solidFill>
                  <a:schemeClr val="lt1"/>
                </a:solidFill>
                <a:latin typeface="Corbel" panose="020B0503020204020204" pitchFamily="34" charset="0"/>
              </a:defRPr>
            </a:lvl5pPr>
          </a:lstStyle>
          <a:p>
            <a:pPr marL="301229" lvl="0"/>
            <a:r>
              <a:rPr lang="en-GB" dirty="0"/>
              <a:t>EDIT TITLE</a:t>
            </a:r>
            <a:endParaRPr lang="en-US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C7ED975-2370-3441-8A66-4FF4B027E0D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92186" y="4839295"/>
            <a:ext cx="216000" cy="129778"/>
            <a:chOff x="5342425" y="2976487"/>
            <a:chExt cx="1506305" cy="905027"/>
          </a:xfrm>
        </p:grpSpPr>
        <p:sp>
          <p:nvSpPr>
            <p:cNvPr id="18" name="Freeform: Shape 30">
              <a:extLst>
                <a:ext uri="{FF2B5EF4-FFF2-40B4-BE49-F238E27FC236}">
                  <a16:creationId xmlns:a16="http://schemas.microsoft.com/office/drawing/2014/main" id="{7B48EF68-5609-434D-913D-7677A66103C3}"/>
                </a:ext>
              </a:extLst>
            </p:cNvPr>
            <p:cNvSpPr/>
            <p:nvPr/>
          </p:nvSpPr>
          <p:spPr>
            <a:xfrm>
              <a:off x="6162929" y="2976631"/>
              <a:ext cx="685801" cy="904876"/>
            </a:xfrm>
            <a:custGeom>
              <a:avLst/>
              <a:gdLst>
                <a:gd name="connsiteX0" fmla="*/ 419281 w 685800"/>
                <a:gd name="connsiteY0" fmla="*/ 0 h 904875"/>
                <a:gd name="connsiteX1" fmla="*/ 419281 w 685800"/>
                <a:gd name="connsiteY1" fmla="*/ 534876 h 904875"/>
                <a:gd name="connsiteX2" fmla="*/ 279302 w 685800"/>
                <a:gd name="connsiteY2" fmla="*/ 702840 h 904875"/>
                <a:gd name="connsiteX3" fmla="*/ 138046 w 685800"/>
                <a:gd name="connsiteY3" fmla="*/ 534876 h 904875"/>
                <a:gd name="connsiteX4" fmla="*/ 138046 w 685800"/>
                <a:gd name="connsiteY4" fmla="*/ 285007 h 904875"/>
                <a:gd name="connsiteX5" fmla="*/ 0 w 685800"/>
                <a:gd name="connsiteY5" fmla="*/ 499529 h 904875"/>
                <a:gd name="connsiteX6" fmla="*/ 219999 w 685800"/>
                <a:gd name="connsiteY6" fmla="*/ 905780 h 904875"/>
                <a:gd name="connsiteX7" fmla="*/ 237125 w 685800"/>
                <a:gd name="connsiteY7" fmla="*/ 906075 h 904875"/>
                <a:gd name="connsiteX8" fmla="*/ 286084 w 685800"/>
                <a:gd name="connsiteY8" fmla="*/ 906075 h 904875"/>
                <a:gd name="connsiteX9" fmla="*/ 584997 w 685800"/>
                <a:gd name="connsiteY9" fmla="*/ 811644 h 904875"/>
                <a:gd name="connsiteX10" fmla="*/ 690658 w 685800"/>
                <a:gd name="connsiteY10" fmla="*/ 523532 h 904875"/>
                <a:gd name="connsiteX11" fmla="*/ 690658 w 685800"/>
                <a:gd name="connsiteY11" fmla="*/ 0 h 904875"/>
                <a:gd name="connsiteX12" fmla="*/ 419281 w 685800"/>
                <a:gd name="connsiteY12" fmla="*/ 0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85800" h="904875">
                  <a:moveTo>
                    <a:pt x="419281" y="0"/>
                  </a:moveTo>
                  <a:lnTo>
                    <a:pt x="419281" y="534876"/>
                  </a:lnTo>
                  <a:cubicBezTo>
                    <a:pt x="419281" y="651358"/>
                    <a:pt x="352911" y="702840"/>
                    <a:pt x="279302" y="702840"/>
                  </a:cubicBezTo>
                  <a:cubicBezTo>
                    <a:pt x="202540" y="702840"/>
                    <a:pt x="138046" y="651358"/>
                    <a:pt x="138046" y="534876"/>
                  </a:cubicBezTo>
                  <a:lnTo>
                    <a:pt x="138046" y="285007"/>
                  </a:lnTo>
                  <a:cubicBezTo>
                    <a:pt x="138046" y="419967"/>
                    <a:pt x="0" y="499529"/>
                    <a:pt x="0" y="499529"/>
                  </a:cubicBezTo>
                  <a:lnTo>
                    <a:pt x="219999" y="905780"/>
                  </a:lnTo>
                  <a:cubicBezTo>
                    <a:pt x="225609" y="905961"/>
                    <a:pt x="231305" y="906075"/>
                    <a:pt x="237125" y="906075"/>
                  </a:cubicBezTo>
                  <a:lnTo>
                    <a:pt x="286084" y="906075"/>
                  </a:lnTo>
                  <a:cubicBezTo>
                    <a:pt x="418700" y="906075"/>
                    <a:pt x="507121" y="874205"/>
                    <a:pt x="584997" y="811644"/>
                  </a:cubicBezTo>
                  <a:cubicBezTo>
                    <a:pt x="668417" y="744255"/>
                    <a:pt x="690658" y="654729"/>
                    <a:pt x="690658" y="523532"/>
                  </a:cubicBezTo>
                  <a:lnTo>
                    <a:pt x="690658" y="0"/>
                  </a:lnTo>
                  <a:lnTo>
                    <a:pt x="419281" y="0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reeform: Shape 31">
              <a:extLst>
                <a:ext uri="{FF2B5EF4-FFF2-40B4-BE49-F238E27FC236}">
                  <a16:creationId xmlns:a16="http://schemas.microsoft.com/office/drawing/2014/main" id="{98780E8E-7995-E84E-969F-3323B183B986}"/>
                </a:ext>
              </a:extLst>
            </p:cNvPr>
            <p:cNvSpPr/>
            <p:nvPr/>
          </p:nvSpPr>
          <p:spPr>
            <a:xfrm>
              <a:off x="5342425" y="2976631"/>
              <a:ext cx="190499" cy="904876"/>
            </a:xfrm>
            <a:custGeom>
              <a:avLst/>
              <a:gdLst>
                <a:gd name="connsiteX0" fmla="*/ 0 w 190500"/>
                <a:gd name="connsiteY0" fmla="*/ 0 h 904875"/>
                <a:gd name="connsiteX1" fmla="*/ 193062 w 190500"/>
                <a:gd name="connsiteY1" fmla="*/ 0 h 904875"/>
                <a:gd name="connsiteX2" fmla="*/ 193062 w 190500"/>
                <a:gd name="connsiteY2" fmla="*/ 906075 h 904875"/>
                <a:gd name="connsiteX3" fmla="*/ 0 w 1905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904875">
                  <a:moveTo>
                    <a:pt x="0" y="0"/>
                  </a:moveTo>
                  <a:lnTo>
                    <a:pt x="193062" y="0"/>
                  </a:lnTo>
                  <a:lnTo>
                    <a:pt x="193062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reeform: Shape 32">
              <a:extLst>
                <a:ext uri="{FF2B5EF4-FFF2-40B4-BE49-F238E27FC236}">
                  <a16:creationId xmlns:a16="http://schemas.microsoft.com/office/drawing/2014/main" id="{91FE4538-1ECC-314C-B52D-FF6813440BE2}"/>
                </a:ext>
              </a:extLst>
            </p:cNvPr>
            <p:cNvSpPr/>
            <p:nvPr/>
          </p:nvSpPr>
          <p:spPr>
            <a:xfrm>
              <a:off x="5688984" y="2976638"/>
              <a:ext cx="685801" cy="904876"/>
            </a:xfrm>
            <a:custGeom>
              <a:avLst/>
              <a:gdLst>
                <a:gd name="connsiteX0" fmla="*/ 343967 w 685800"/>
                <a:gd name="connsiteY0" fmla="*/ 523532 h 904875"/>
                <a:gd name="connsiteX1" fmla="*/ 343967 w 685800"/>
                <a:gd name="connsiteY1" fmla="*/ 0 h 904875"/>
                <a:gd name="connsiteX2" fmla="*/ 0 w 685800"/>
                <a:gd name="connsiteY2" fmla="*/ 0 h 904875"/>
                <a:gd name="connsiteX3" fmla="*/ 0 w 685800"/>
                <a:gd name="connsiteY3" fmla="*/ 906066 h 904875"/>
                <a:gd name="connsiteX4" fmla="*/ 112795 w 685800"/>
                <a:gd name="connsiteY4" fmla="*/ 906066 h 904875"/>
                <a:gd name="connsiteX5" fmla="*/ 112795 w 685800"/>
                <a:gd name="connsiteY5" fmla="*/ 567100 h 904875"/>
                <a:gd name="connsiteX6" fmla="*/ 250965 w 685800"/>
                <a:gd name="connsiteY6" fmla="*/ 567100 h 904875"/>
                <a:gd name="connsiteX7" fmla="*/ 404689 w 685800"/>
                <a:gd name="connsiteY7" fmla="*/ 906066 h 904875"/>
                <a:gd name="connsiteX8" fmla="*/ 694963 w 685800"/>
                <a:gd name="connsiteY8" fmla="*/ 906066 h 904875"/>
                <a:gd name="connsiteX9" fmla="*/ 694782 w 685800"/>
                <a:gd name="connsiteY9" fmla="*/ 905770 h 904875"/>
                <a:gd name="connsiteX10" fmla="*/ 451009 w 685800"/>
                <a:gd name="connsiteY10" fmla="*/ 811635 h 904875"/>
                <a:gd name="connsiteX11" fmla="*/ 343967 w 685800"/>
                <a:gd name="connsiteY11" fmla="*/ 523532 h 904875"/>
                <a:gd name="connsiteX12" fmla="*/ 232743 w 685800"/>
                <a:gd name="connsiteY12" fmla="*/ 388125 h 904875"/>
                <a:gd name="connsiteX13" fmla="*/ 112795 w 685800"/>
                <a:gd name="connsiteY13" fmla="*/ 388125 h 904875"/>
                <a:gd name="connsiteX14" fmla="*/ 112795 w 685800"/>
                <a:gd name="connsiteY14" fmla="*/ 181461 h 904875"/>
                <a:gd name="connsiteX15" fmla="*/ 239153 w 685800"/>
                <a:gd name="connsiteY15" fmla="*/ 181461 h 904875"/>
                <a:gd name="connsiteX16" fmla="*/ 342995 w 685800"/>
                <a:gd name="connsiteY16" fmla="*/ 279749 h 904875"/>
                <a:gd name="connsiteX17" fmla="*/ 232743 w 685800"/>
                <a:gd name="connsiteY17" fmla="*/ 38812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85800" h="904875">
                  <a:moveTo>
                    <a:pt x="343967" y="523532"/>
                  </a:moveTo>
                  <a:lnTo>
                    <a:pt x="343967" y="0"/>
                  </a:lnTo>
                  <a:lnTo>
                    <a:pt x="0" y="0"/>
                  </a:lnTo>
                  <a:lnTo>
                    <a:pt x="0" y="906066"/>
                  </a:lnTo>
                  <a:lnTo>
                    <a:pt x="112795" y="906066"/>
                  </a:lnTo>
                  <a:lnTo>
                    <a:pt x="112795" y="567100"/>
                  </a:lnTo>
                  <a:lnTo>
                    <a:pt x="250965" y="567100"/>
                  </a:lnTo>
                  <a:cubicBezTo>
                    <a:pt x="250965" y="567100"/>
                    <a:pt x="376533" y="830447"/>
                    <a:pt x="404689" y="906066"/>
                  </a:cubicBezTo>
                  <a:lnTo>
                    <a:pt x="694963" y="906066"/>
                  </a:lnTo>
                  <a:lnTo>
                    <a:pt x="694782" y="905770"/>
                  </a:lnTo>
                  <a:cubicBezTo>
                    <a:pt x="587626" y="902084"/>
                    <a:pt x="515950" y="863813"/>
                    <a:pt x="451009" y="811635"/>
                  </a:cubicBezTo>
                  <a:cubicBezTo>
                    <a:pt x="367599" y="744245"/>
                    <a:pt x="343967" y="654720"/>
                    <a:pt x="343967" y="523532"/>
                  </a:cubicBezTo>
                  <a:moveTo>
                    <a:pt x="232743" y="388125"/>
                  </a:moveTo>
                  <a:lnTo>
                    <a:pt x="112795" y="388125"/>
                  </a:lnTo>
                  <a:lnTo>
                    <a:pt x="112795" y="181461"/>
                  </a:lnTo>
                  <a:lnTo>
                    <a:pt x="239153" y="181461"/>
                  </a:lnTo>
                  <a:cubicBezTo>
                    <a:pt x="293837" y="181461"/>
                    <a:pt x="342995" y="212960"/>
                    <a:pt x="342995" y="279749"/>
                  </a:cubicBezTo>
                  <a:cubicBezTo>
                    <a:pt x="342995" y="355340"/>
                    <a:pt x="291989" y="388125"/>
                    <a:pt x="232743" y="388125"/>
                  </a:cubicBezTo>
                </a:path>
              </a:pathLst>
            </a:custGeom>
            <a:solidFill>
              <a:srgbClr val="2484C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reeform: Shape 33">
              <a:extLst>
                <a:ext uri="{FF2B5EF4-FFF2-40B4-BE49-F238E27FC236}">
                  <a16:creationId xmlns:a16="http://schemas.microsoft.com/office/drawing/2014/main" id="{2C516871-F44D-2043-A34E-2B97761AE917}"/>
                </a:ext>
              </a:extLst>
            </p:cNvPr>
            <p:cNvSpPr/>
            <p:nvPr/>
          </p:nvSpPr>
          <p:spPr>
            <a:xfrm>
              <a:off x="6032105" y="2976487"/>
              <a:ext cx="342900" cy="904875"/>
            </a:xfrm>
            <a:custGeom>
              <a:avLst/>
              <a:gdLst>
                <a:gd name="connsiteX0" fmla="*/ 268871 w 342900"/>
                <a:gd name="connsiteY0" fmla="*/ 285007 h 904875"/>
                <a:gd name="connsiteX1" fmla="*/ 268871 w 342900"/>
                <a:gd name="connsiteY1" fmla="*/ 243878 h 904875"/>
                <a:gd name="connsiteX2" fmla="*/ 0 w 342900"/>
                <a:gd name="connsiteY2" fmla="*/ 0 h 904875"/>
                <a:gd name="connsiteX3" fmla="*/ 0 w 342900"/>
                <a:gd name="connsiteY3" fmla="*/ 523532 h 904875"/>
                <a:gd name="connsiteX4" fmla="*/ 107052 w 342900"/>
                <a:gd name="connsiteY4" fmla="*/ 811644 h 904875"/>
                <a:gd name="connsiteX5" fmla="*/ 350825 w 342900"/>
                <a:gd name="connsiteY5" fmla="*/ 905789 h 904875"/>
                <a:gd name="connsiteX6" fmla="*/ 130836 w 342900"/>
                <a:gd name="connsiteY6" fmla="*/ 499539 h 904875"/>
                <a:gd name="connsiteX7" fmla="*/ 268871 w 342900"/>
                <a:gd name="connsiteY7" fmla="*/ 285007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2900" h="904875">
                  <a:moveTo>
                    <a:pt x="268871" y="285007"/>
                  </a:moveTo>
                  <a:lnTo>
                    <a:pt x="268871" y="243878"/>
                  </a:lnTo>
                  <a:cubicBezTo>
                    <a:pt x="268871" y="94393"/>
                    <a:pt x="110528" y="0"/>
                    <a:pt x="0" y="0"/>
                  </a:cubicBezTo>
                  <a:lnTo>
                    <a:pt x="0" y="523532"/>
                  </a:lnTo>
                  <a:cubicBezTo>
                    <a:pt x="0" y="654729"/>
                    <a:pt x="23641" y="744264"/>
                    <a:pt x="107052" y="811644"/>
                  </a:cubicBezTo>
                  <a:cubicBezTo>
                    <a:pt x="171993" y="863813"/>
                    <a:pt x="243668" y="902084"/>
                    <a:pt x="350825" y="905789"/>
                  </a:cubicBezTo>
                  <a:lnTo>
                    <a:pt x="130836" y="499539"/>
                  </a:lnTo>
                  <a:cubicBezTo>
                    <a:pt x="130836" y="499539"/>
                    <a:pt x="268871" y="419957"/>
                    <a:pt x="268871" y="285007"/>
                  </a:cubicBezTo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reeform: Shape 34">
              <a:extLst>
                <a:ext uri="{FF2B5EF4-FFF2-40B4-BE49-F238E27FC236}">
                  <a16:creationId xmlns:a16="http://schemas.microsoft.com/office/drawing/2014/main" id="{82E0624F-19F5-F64B-A94D-3E1FC9A9A6CA}"/>
                </a:ext>
              </a:extLst>
            </p:cNvPr>
            <p:cNvSpPr/>
            <p:nvPr/>
          </p:nvSpPr>
          <p:spPr>
            <a:xfrm>
              <a:off x="5535487" y="2976487"/>
              <a:ext cx="152399" cy="904875"/>
            </a:xfrm>
            <a:custGeom>
              <a:avLst/>
              <a:gdLst>
                <a:gd name="connsiteX0" fmla="*/ 0 w 152400"/>
                <a:gd name="connsiteY0" fmla="*/ 0 h 904875"/>
                <a:gd name="connsiteX1" fmla="*/ 153495 w 152400"/>
                <a:gd name="connsiteY1" fmla="*/ 0 h 904875"/>
                <a:gd name="connsiteX2" fmla="*/ 153495 w 152400"/>
                <a:gd name="connsiteY2" fmla="*/ 906075 h 904875"/>
                <a:gd name="connsiteX3" fmla="*/ 0 w 1524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400" h="904875">
                  <a:moveTo>
                    <a:pt x="0" y="0"/>
                  </a:moveTo>
                  <a:lnTo>
                    <a:pt x="153495" y="0"/>
                  </a:lnTo>
                  <a:lnTo>
                    <a:pt x="153495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3902559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C90409C-E97C-0241-B92A-0F4C28980A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65984-D348-BF47-86A8-7DC2AFD6D920}" type="datetimeFigureOut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04/09/2021</a:t>
            </a:fld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B2F543-AACA-A447-8545-6B639A4EF3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E329F70-C197-474A-BA92-FC64BB6FEC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6F86F5-1EE3-164C-BBF2-87129EE00A76}" type="slidenum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C2154D0-3F54-514B-92A7-46A1C440EEA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92186" y="4839295"/>
            <a:ext cx="216000" cy="129778"/>
            <a:chOff x="5342425" y="2976487"/>
            <a:chExt cx="1506305" cy="905027"/>
          </a:xfrm>
        </p:grpSpPr>
        <p:sp>
          <p:nvSpPr>
            <p:cNvPr id="7" name="Freeform: Shape 30">
              <a:extLst>
                <a:ext uri="{FF2B5EF4-FFF2-40B4-BE49-F238E27FC236}">
                  <a16:creationId xmlns:a16="http://schemas.microsoft.com/office/drawing/2014/main" id="{370E8B0B-BEB2-534B-B3E5-AB054C9627C0}"/>
                </a:ext>
              </a:extLst>
            </p:cNvPr>
            <p:cNvSpPr/>
            <p:nvPr/>
          </p:nvSpPr>
          <p:spPr>
            <a:xfrm>
              <a:off x="6162929" y="2976631"/>
              <a:ext cx="685801" cy="904876"/>
            </a:xfrm>
            <a:custGeom>
              <a:avLst/>
              <a:gdLst>
                <a:gd name="connsiteX0" fmla="*/ 419281 w 685800"/>
                <a:gd name="connsiteY0" fmla="*/ 0 h 904875"/>
                <a:gd name="connsiteX1" fmla="*/ 419281 w 685800"/>
                <a:gd name="connsiteY1" fmla="*/ 534876 h 904875"/>
                <a:gd name="connsiteX2" fmla="*/ 279302 w 685800"/>
                <a:gd name="connsiteY2" fmla="*/ 702840 h 904875"/>
                <a:gd name="connsiteX3" fmla="*/ 138046 w 685800"/>
                <a:gd name="connsiteY3" fmla="*/ 534876 h 904875"/>
                <a:gd name="connsiteX4" fmla="*/ 138046 w 685800"/>
                <a:gd name="connsiteY4" fmla="*/ 285007 h 904875"/>
                <a:gd name="connsiteX5" fmla="*/ 0 w 685800"/>
                <a:gd name="connsiteY5" fmla="*/ 499529 h 904875"/>
                <a:gd name="connsiteX6" fmla="*/ 219999 w 685800"/>
                <a:gd name="connsiteY6" fmla="*/ 905780 h 904875"/>
                <a:gd name="connsiteX7" fmla="*/ 237125 w 685800"/>
                <a:gd name="connsiteY7" fmla="*/ 906075 h 904875"/>
                <a:gd name="connsiteX8" fmla="*/ 286084 w 685800"/>
                <a:gd name="connsiteY8" fmla="*/ 906075 h 904875"/>
                <a:gd name="connsiteX9" fmla="*/ 584997 w 685800"/>
                <a:gd name="connsiteY9" fmla="*/ 811644 h 904875"/>
                <a:gd name="connsiteX10" fmla="*/ 690658 w 685800"/>
                <a:gd name="connsiteY10" fmla="*/ 523532 h 904875"/>
                <a:gd name="connsiteX11" fmla="*/ 690658 w 685800"/>
                <a:gd name="connsiteY11" fmla="*/ 0 h 904875"/>
                <a:gd name="connsiteX12" fmla="*/ 419281 w 685800"/>
                <a:gd name="connsiteY12" fmla="*/ 0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85800" h="904875">
                  <a:moveTo>
                    <a:pt x="419281" y="0"/>
                  </a:moveTo>
                  <a:lnTo>
                    <a:pt x="419281" y="534876"/>
                  </a:lnTo>
                  <a:cubicBezTo>
                    <a:pt x="419281" y="651358"/>
                    <a:pt x="352911" y="702840"/>
                    <a:pt x="279302" y="702840"/>
                  </a:cubicBezTo>
                  <a:cubicBezTo>
                    <a:pt x="202540" y="702840"/>
                    <a:pt x="138046" y="651358"/>
                    <a:pt x="138046" y="534876"/>
                  </a:cubicBezTo>
                  <a:lnTo>
                    <a:pt x="138046" y="285007"/>
                  </a:lnTo>
                  <a:cubicBezTo>
                    <a:pt x="138046" y="419967"/>
                    <a:pt x="0" y="499529"/>
                    <a:pt x="0" y="499529"/>
                  </a:cubicBezTo>
                  <a:lnTo>
                    <a:pt x="219999" y="905780"/>
                  </a:lnTo>
                  <a:cubicBezTo>
                    <a:pt x="225609" y="905961"/>
                    <a:pt x="231305" y="906075"/>
                    <a:pt x="237125" y="906075"/>
                  </a:cubicBezTo>
                  <a:lnTo>
                    <a:pt x="286084" y="906075"/>
                  </a:lnTo>
                  <a:cubicBezTo>
                    <a:pt x="418700" y="906075"/>
                    <a:pt x="507121" y="874205"/>
                    <a:pt x="584997" y="811644"/>
                  </a:cubicBezTo>
                  <a:cubicBezTo>
                    <a:pt x="668417" y="744255"/>
                    <a:pt x="690658" y="654729"/>
                    <a:pt x="690658" y="523532"/>
                  </a:cubicBezTo>
                  <a:lnTo>
                    <a:pt x="690658" y="0"/>
                  </a:lnTo>
                  <a:lnTo>
                    <a:pt x="419281" y="0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reeform: Shape 31">
              <a:extLst>
                <a:ext uri="{FF2B5EF4-FFF2-40B4-BE49-F238E27FC236}">
                  <a16:creationId xmlns:a16="http://schemas.microsoft.com/office/drawing/2014/main" id="{12754455-EE70-8B4E-B341-B35EA33D934F}"/>
                </a:ext>
              </a:extLst>
            </p:cNvPr>
            <p:cNvSpPr/>
            <p:nvPr/>
          </p:nvSpPr>
          <p:spPr>
            <a:xfrm>
              <a:off x="5342425" y="2976631"/>
              <a:ext cx="190499" cy="904876"/>
            </a:xfrm>
            <a:custGeom>
              <a:avLst/>
              <a:gdLst>
                <a:gd name="connsiteX0" fmla="*/ 0 w 190500"/>
                <a:gd name="connsiteY0" fmla="*/ 0 h 904875"/>
                <a:gd name="connsiteX1" fmla="*/ 193062 w 190500"/>
                <a:gd name="connsiteY1" fmla="*/ 0 h 904875"/>
                <a:gd name="connsiteX2" fmla="*/ 193062 w 190500"/>
                <a:gd name="connsiteY2" fmla="*/ 906075 h 904875"/>
                <a:gd name="connsiteX3" fmla="*/ 0 w 1905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904875">
                  <a:moveTo>
                    <a:pt x="0" y="0"/>
                  </a:moveTo>
                  <a:lnTo>
                    <a:pt x="193062" y="0"/>
                  </a:lnTo>
                  <a:lnTo>
                    <a:pt x="193062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reeform: Shape 32">
              <a:extLst>
                <a:ext uri="{FF2B5EF4-FFF2-40B4-BE49-F238E27FC236}">
                  <a16:creationId xmlns:a16="http://schemas.microsoft.com/office/drawing/2014/main" id="{5E045603-02CD-1F4E-8EE6-FF8269E090D6}"/>
                </a:ext>
              </a:extLst>
            </p:cNvPr>
            <p:cNvSpPr/>
            <p:nvPr/>
          </p:nvSpPr>
          <p:spPr>
            <a:xfrm>
              <a:off x="5688984" y="2976638"/>
              <a:ext cx="685801" cy="904876"/>
            </a:xfrm>
            <a:custGeom>
              <a:avLst/>
              <a:gdLst>
                <a:gd name="connsiteX0" fmla="*/ 343967 w 685800"/>
                <a:gd name="connsiteY0" fmla="*/ 523532 h 904875"/>
                <a:gd name="connsiteX1" fmla="*/ 343967 w 685800"/>
                <a:gd name="connsiteY1" fmla="*/ 0 h 904875"/>
                <a:gd name="connsiteX2" fmla="*/ 0 w 685800"/>
                <a:gd name="connsiteY2" fmla="*/ 0 h 904875"/>
                <a:gd name="connsiteX3" fmla="*/ 0 w 685800"/>
                <a:gd name="connsiteY3" fmla="*/ 906066 h 904875"/>
                <a:gd name="connsiteX4" fmla="*/ 112795 w 685800"/>
                <a:gd name="connsiteY4" fmla="*/ 906066 h 904875"/>
                <a:gd name="connsiteX5" fmla="*/ 112795 w 685800"/>
                <a:gd name="connsiteY5" fmla="*/ 567100 h 904875"/>
                <a:gd name="connsiteX6" fmla="*/ 250965 w 685800"/>
                <a:gd name="connsiteY6" fmla="*/ 567100 h 904875"/>
                <a:gd name="connsiteX7" fmla="*/ 404689 w 685800"/>
                <a:gd name="connsiteY7" fmla="*/ 906066 h 904875"/>
                <a:gd name="connsiteX8" fmla="*/ 694963 w 685800"/>
                <a:gd name="connsiteY8" fmla="*/ 906066 h 904875"/>
                <a:gd name="connsiteX9" fmla="*/ 694782 w 685800"/>
                <a:gd name="connsiteY9" fmla="*/ 905770 h 904875"/>
                <a:gd name="connsiteX10" fmla="*/ 451009 w 685800"/>
                <a:gd name="connsiteY10" fmla="*/ 811635 h 904875"/>
                <a:gd name="connsiteX11" fmla="*/ 343967 w 685800"/>
                <a:gd name="connsiteY11" fmla="*/ 523532 h 904875"/>
                <a:gd name="connsiteX12" fmla="*/ 232743 w 685800"/>
                <a:gd name="connsiteY12" fmla="*/ 388125 h 904875"/>
                <a:gd name="connsiteX13" fmla="*/ 112795 w 685800"/>
                <a:gd name="connsiteY13" fmla="*/ 388125 h 904875"/>
                <a:gd name="connsiteX14" fmla="*/ 112795 w 685800"/>
                <a:gd name="connsiteY14" fmla="*/ 181461 h 904875"/>
                <a:gd name="connsiteX15" fmla="*/ 239153 w 685800"/>
                <a:gd name="connsiteY15" fmla="*/ 181461 h 904875"/>
                <a:gd name="connsiteX16" fmla="*/ 342995 w 685800"/>
                <a:gd name="connsiteY16" fmla="*/ 279749 h 904875"/>
                <a:gd name="connsiteX17" fmla="*/ 232743 w 685800"/>
                <a:gd name="connsiteY17" fmla="*/ 38812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85800" h="904875">
                  <a:moveTo>
                    <a:pt x="343967" y="523532"/>
                  </a:moveTo>
                  <a:lnTo>
                    <a:pt x="343967" y="0"/>
                  </a:lnTo>
                  <a:lnTo>
                    <a:pt x="0" y="0"/>
                  </a:lnTo>
                  <a:lnTo>
                    <a:pt x="0" y="906066"/>
                  </a:lnTo>
                  <a:lnTo>
                    <a:pt x="112795" y="906066"/>
                  </a:lnTo>
                  <a:lnTo>
                    <a:pt x="112795" y="567100"/>
                  </a:lnTo>
                  <a:lnTo>
                    <a:pt x="250965" y="567100"/>
                  </a:lnTo>
                  <a:cubicBezTo>
                    <a:pt x="250965" y="567100"/>
                    <a:pt x="376533" y="830447"/>
                    <a:pt x="404689" y="906066"/>
                  </a:cubicBezTo>
                  <a:lnTo>
                    <a:pt x="694963" y="906066"/>
                  </a:lnTo>
                  <a:lnTo>
                    <a:pt x="694782" y="905770"/>
                  </a:lnTo>
                  <a:cubicBezTo>
                    <a:pt x="587626" y="902084"/>
                    <a:pt x="515950" y="863813"/>
                    <a:pt x="451009" y="811635"/>
                  </a:cubicBezTo>
                  <a:cubicBezTo>
                    <a:pt x="367599" y="744245"/>
                    <a:pt x="343967" y="654720"/>
                    <a:pt x="343967" y="523532"/>
                  </a:cubicBezTo>
                  <a:moveTo>
                    <a:pt x="232743" y="388125"/>
                  </a:moveTo>
                  <a:lnTo>
                    <a:pt x="112795" y="388125"/>
                  </a:lnTo>
                  <a:lnTo>
                    <a:pt x="112795" y="181461"/>
                  </a:lnTo>
                  <a:lnTo>
                    <a:pt x="239153" y="181461"/>
                  </a:lnTo>
                  <a:cubicBezTo>
                    <a:pt x="293837" y="181461"/>
                    <a:pt x="342995" y="212960"/>
                    <a:pt x="342995" y="279749"/>
                  </a:cubicBezTo>
                  <a:cubicBezTo>
                    <a:pt x="342995" y="355340"/>
                    <a:pt x="291989" y="388125"/>
                    <a:pt x="232743" y="388125"/>
                  </a:cubicBezTo>
                </a:path>
              </a:pathLst>
            </a:custGeom>
            <a:solidFill>
              <a:srgbClr val="2484C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reeform: Shape 33">
              <a:extLst>
                <a:ext uri="{FF2B5EF4-FFF2-40B4-BE49-F238E27FC236}">
                  <a16:creationId xmlns:a16="http://schemas.microsoft.com/office/drawing/2014/main" id="{822C3BDF-91B5-1443-A0C3-8B2932212A3D}"/>
                </a:ext>
              </a:extLst>
            </p:cNvPr>
            <p:cNvSpPr/>
            <p:nvPr/>
          </p:nvSpPr>
          <p:spPr>
            <a:xfrm>
              <a:off x="6032105" y="2976487"/>
              <a:ext cx="342900" cy="904875"/>
            </a:xfrm>
            <a:custGeom>
              <a:avLst/>
              <a:gdLst>
                <a:gd name="connsiteX0" fmla="*/ 268871 w 342900"/>
                <a:gd name="connsiteY0" fmla="*/ 285007 h 904875"/>
                <a:gd name="connsiteX1" fmla="*/ 268871 w 342900"/>
                <a:gd name="connsiteY1" fmla="*/ 243878 h 904875"/>
                <a:gd name="connsiteX2" fmla="*/ 0 w 342900"/>
                <a:gd name="connsiteY2" fmla="*/ 0 h 904875"/>
                <a:gd name="connsiteX3" fmla="*/ 0 w 342900"/>
                <a:gd name="connsiteY3" fmla="*/ 523532 h 904875"/>
                <a:gd name="connsiteX4" fmla="*/ 107052 w 342900"/>
                <a:gd name="connsiteY4" fmla="*/ 811644 h 904875"/>
                <a:gd name="connsiteX5" fmla="*/ 350825 w 342900"/>
                <a:gd name="connsiteY5" fmla="*/ 905789 h 904875"/>
                <a:gd name="connsiteX6" fmla="*/ 130836 w 342900"/>
                <a:gd name="connsiteY6" fmla="*/ 499539 h 904875"/>
                <a:gd name="connsiteX7" fmla="*/ 268871 w 342900"/>
                <a:gd name="connsiteY7" fmla="*/ 285007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2900" h="904875">
                  <a:moveTo>
                    <a:pt x="268871" y="285007"/>
                  </a:moveTo>
                  <a:lnTo>
                    <a:pt x="268871" y="243878"/>
                  </a:lnTo>
                  <a:cubicBezTo>
                    <a:pt x="268871" y="94393"/>
                    <a:pt x="110528" y="0"/>
                    <a:pt x="0" y="0"/>
                  </a:cubicBezTo>
                  <a:lnTo>
                    <a:pt x="0" y="523532"/>
                  </a:lnTo>
                  <a:cubicBezTo>
                    <a:pt x="0" y="654729"/>
                    <a:pt x="23641" y="744264"/>
                    <a:pt x="107052" y="811644"/>
                  </a:cubicBezTo>
                  <a:cubicBezTo>
                    <a:pt x="171993" y="863813"/>
                    <a:pt x="243668" y="902084"/>
                    <a:pt x="350825" y="905789"/>
                  </a:cubicBezTo>
                  <a:lnTo>
                    <a:pt x="130836" y="499539"/>
                  </a:lnTo>
                  <a:cubicBezTo>
                    <a:pt x="130836" y="499539"/>
                    <a:pt x="268871" y="419957"/>
                    <a:pt x="268871" y="285007"/>
                  </a:cubicBezTo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reeform: Shape 34">
              <a:extLst>
                <a:ext uri="{FF2B5EF4-FFF2-40B4-BE49-F238E27FC236}">
                  <a16:creationId xmlns:a16="http://schemas.microsoft.com/office/drawing/2014/main" id="{1A7BF72B-B603-7244-9048-2334E0ECCF2E}"/>
                </a:ext>
              </a:extLst>
            </p:cNvPr>
            <p:cNvSpPr/>
            <p:nvPr/>
          </p:nvSpPr>
          <p:spPr>
            <a:xfrm>
              <a:off x="5535487" y="2976487"/>
              <a:ext cx="152399" cy="904875"/>
            </a:xfrm>
            <a:custGeom>
              <a:avLst/>
              <a:gdLst>
                <a:gd name="connsiteX0" fmla="*/ 0 w 152400"/>
                <a:gd name="connsiteY0" fmla="*/ 0 h 904875"/>
                <a:gd name="connsiteX1" fmla="*/ 153495 w 152400"/>
                <a:gd name="connsiteY1" fmla="*/ 0 h 904875"/>
                <a:gd name="connsiteX2" fmla="*/ 153495 w 152400"/>
                <a:gd name="connsiteY2" fmla="*/ 906075 h 904875"/>
                <a:gd name="connsiteX3" fmla="*/ 0 w 1524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400" h="904875">
                  <a:moveTo>
                    <a:pt x="0" y="0"/>
                  </a:moveTo>
                  <a:lnTo>
                    <a:pt x="153495" y="0"/>
                  </a:lnTo>
                  <a:lnTo>
                    <a:pt x="153495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0584409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&quot;classic&quot;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95970-3985-3548-986D-B4BC32DB94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10537" y="2014233"/>
            <a:ext cx="3603287" cy="111503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en-GB" dirty="0"/>
              <a:t>Click to edit Sub-section Master tit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996512-6932-B147-A42A-FAEBBDF76E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10537" y="4767263"/>
            <a:ext cx="2873859" cy="273844"/>
          </a:xfrm>
        </p:spPr>
        <p:txBody>
          <a:bodyPr/>
          <a:lstStyle>
            <a:lvl1pPr algn="l">
              <a:defRPr/>
            </a:lvl1pPr>
          </a:lstStyle>
          <a:p>
            <a:endParaRPr lang="en-US" dirty="0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514CE1-8113-3F49-80B0-61D617B509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987162" y="4767263"/>
            <a:ext cx="528188" cy="273844"/>
          </a:xfrm>
        </p:spPr>
        <p:txBody>
          <a:bodyPr/>
          <a:lstStyle/>
          <a:p>
            <a:fld id="{3D6F86F5-1EE3-164C-BBF2-87129EE00A76}" type="slidenum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63AE242-92B8-A04E-B436-4253CCD9E177}"/>
              </a:ext>
            </a:extLst>
          </p:cNvPr>
          <p:cNvGrpSpPr/>
          <p:nvPr userDrawn="1"/>
        </p:nvGrpSpPr>
        <p:grpSpPr>
          <a:xfrm>
            <a:off x="7910692" y="412421"/>
            <a:ext cx="604658" cy="363294"/>
            <a:chOff x="5342425" y="2976487"/>
            <a:chExt cx="1506305" cy="905027"/>
          </a:xfrm>
        </p:grpSpPr>
        <p:sp>
          <p:nvSpPr>
            <p:cNvPr id="7" name="Freeform: Shape 30">
              <a:extLst>
                <a:ext uri="{FF2B5EF4-FFF2-40B4-BE49-F238E27FC236}">
                  <a16:creationId xmlns:a16="http://schemas.microsoft.com/office/drawing/2014/main" id="{1A143611-D826-2E4A-A59F-2E51FFA038C5}"/>
                </a:ext>
              </a:extLst>
            </p:cNvPr>
            <p:cNvSpPr/>
            <p:nvPr/>
          </p:nvSpPr>
          <p:spPr>
            <a:xfrm>
              <a:off x="6162929" y="2976631"/>
              <a:ext cx="685801" cy="904876"/>
            </a:xfrm>
            <a:custGeom>
              <a:avLst/>
              <a:gdLst>
                <a:gd name="connsiteX0" fmla="*/ 419281 w 685800"/>
                <a:gd name="connsiteY0" fmla="*/ 0 h 904875"/>
                <a:gd name="connsiteX1" fmla="*/ 419281 w 685800"/>
                <a:gd name="connsiteY1" fmla="*/ 534876 h 904875"/>
                <a:gd name="connsiteX2" fmla="*/ 279302 w 685800"/>
                <a:gd name="connsiteY2" fmla="*/ 702840 h 904875"/>
                <a:gd name="connsiteX3" fmla="*/ 138046 w 685800"/>
                <a:gd name="connsiteY3" fmla="*/ 534876 h 904875"/>
                <a:gd name="connsiteX4" fmla="*/ 138046 w 685800"/>
                <a:gd name="connsiteY4" fmla="*/ 285007 h 904875"/>
                <a:gd name="connsiteX5" fmla="*/ 0 w 685800"/>
                <a:gd name="connsiteY5" fmla="*/ 499529 h 904875"/>
                <a:gd name="connsiteX6" fmla="*/ 219999 w 685800"/>
                <a:gd name="connsiteY6" fmla="*/ 905780 h 904875"/>
                <a:gd name="connsiteX7" fmla="*/ 237125 w 685800"/>
                <a:gd name="connsiteY7" fmla="*/ 906075 h 904875"/>
                <a:gd name="connsiteX8" fmla="*/ 286084 w 685800"/>
                <a:gd name="connsiteY8" fmla="*/ 906075 h 904875"/>
                <a:gd name="connsiteX9" fmla="*/ 584997 w 685800"/>
                <a:gd name="connsiteY9" fmla="*/ 811644 h 904875"/>
                <a:gd name="connsiteX10" fmla="*/ 690658 w 685800"/>
                <a:gd name="connsiteY10" fmla="*/ 523532 h 904875"/>
                <a:gd name="connsiteX11" fmla="*/ 690658 w 685800"/>
                <a:gd name="connsiteY11" fmla="*/ 0 h 904875"/>
                <a:gd name="connsiteX12" fmla="*/ 419281 w 685800"/>
                <a:gd name="connsiteY12" fmla="*/ 0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85800" h="904875">
                  <a:moveTo>
                    <a:pt x="419281" y="0"/>
                  </a:moveTo>
                  <a:lnTo>
                    <a:pt x="419281" y="534876"/>
                  </a:lnTo>
                  <a:cubicBezTo>
                    <a:pt x="419281" y="651358"/>
                    <a:pt x="352911" y="702840"/>
                    <a:pt x="279302" y="702840"/>
                  </a:cubicBezTo>
                  <a:cubicBezTo>
                    <a:pt x="202540" y="702840"/>
                    <a:pt x="138046" y="651358"/>
                    <a:pt x="138046" y="534876"/>
                  </a:cubicBezTo>
                  <a:lnTo>
                    <a:pt x="138046" y="285007"/>
                  </a:lnTo>
                  <a:cubicBezTo>
                    <a:pt x="138046" y="419967"/>
                    <a:pt x="0" y="499529"/>
                    <a:pt x="0" y="499529"/>
                  </a:cubicBezTo>
                  <a:lnTo>
                    <a:pt x="219999" y="905780"/>
                  </a:lnTo>
                  <a:cubicBezTo>
                    <a:pt x="225609" y="905961"/>
                    <a:pt x="231305" y="906075"/>
                    <a:pt x="237125" y="906075"/>
                  </a:cubicBezTo>
                  <a:lnTo>
                    <a:pt x="286084" y="906075"/>
                  </a:lnTo>
                  <a:cubicBezTo>
                    <a:pt x="418700" y="906075"/>
                    <a:pt x="507121" y="874205"/>
                    <a:pt x="584997" y="811644"/>
                  </a:cubicBezTo>
                  <a:cubicBezTo>
                    <a:pt x="668417" y="744255"/>
                    <a:pt x="690658" y="654729"/>
                    <a:pt x="690658" y="523532"/>
                  </a:cubicBezTo>
                  <a:lnTo>
                    <a:pt x="690658" y="0"/>
                  </a:lnTo>
                  <a:lnTo>
                    <a:pt x="419281" y="0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reeform: Shape 31">
              <a:extLst>
                <a:ext uri="{FF2B5EF4-FFF2-40B4-BE49-F238E27FC236}">
                  <a16:creationId xmlns:a16="http://schemas.microsoft.com/office/drawing/2014/main" id="{9104EE4F-8ABF-F84A-8CCA-81966BA6AFC0}"/>
                </a:ext>
              </a:extLst>
            </p:cNvPr>
            <p:cNvSpPr/>
            <p:nvPr/>
          </p:nvSpPr>
          <p:spPr>
            <a:xfrm>
              <a:off x="5342425" y="2976631"/>
              <a:ext cx="190499" cy="904876"/>
            </a:xfrm>
            <a:custGeom>
              <a:avLst/>
              <a:gdLst>
                <a:gd name="connsiteX0" fmla="*/ 0 w 190500"/>
                <a:gd name="connsiteY0" fmla="*/ 0 h 904875"/>
                <a:gd name="connsiteX1" fmla="*/ 193062 w 190500"/>
                <a:gd name="connsiteY1" fmla="*/ 0 h 904875"/>
                <a:gd name="connsiteX2" fmla="*/ 193062 w 190500"/>
                <a:gd name="connsiteY2" fmla="*/ 906075 h 904875"/>
                <a:gd name="connsiteX3" fmla="*/ 0 w 1905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904875">
                  <a:moveTo>
                    <a:pt x="0" y="0"/>
                  </a:moveTo>
                  <a:lnTo>
                    <a:pt x="193062" y="0"/>
                  </a:lnTo>
                  <a:lnTo>
                    <a:pt x="193062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reeform: Shape 32">
              <a:extLst>
                <a:ext uri="{FF2B5EF4-FFF2-40B4-BE49-F238E27FC236}">
                  <a16:creationId xmlns:a16="http://schemas.microsoft.com/office/drawing/2014/main" id="{D46CEBAC-7568-7641-AEAF-CF60C8B72490}"/>
                </a:ext>
              </a:extLst>
            </p:cNvPr>
            <p:cNvSpPr/>
            <p:nvPr/>
          </p:nvSpPr>
          <p:spPr>
            <a:xfrm>
              <a:off x="5688984" y="2976638"/>
              <a:ext cx="685801" cy="904876"/>
            </a:xfrm>
            <a:custGeom>
              <a:avLst/>
              <a:gdLst>
                <a:gd name="connsiteX0" fmla="*/ 343967 w 685800"/>
                <a:gd name="connsiteY0" fmla="*/ 523532 h 904875"/>
                <a:gd name="connsiteX1" fmla="*/ 343967 w 685800"/>
                <a:gd name="connsiteY1" fmla="*/ 0 h 904875"/>
                <a:gd name="connsiteX2" fmla="*/ 0 w 685800"/>
                <a:gd name="connsiteY2" fmla="*/ 0 h 904875"/>
                <a:gd name="connsiteX3" fmla="*/ 0 w 685800"/>
                <a:gd name="connsiteY3" fmla="*/ 906066 h 904875"/>
                <a:gd name="connsiteX4" fmla="*/ 112795 w 685800"/>
                <a:gd name="connsiteY4" fmla="*/ 906066 h 904875"/>
                <a:gd name="connsiteX5" fmla="*/ 112795 w 685800"/>
                <a:gd name="connsiteY5" fmla="*/ 567100 h 904875"/>
                <a:gd name="connsiteX6" fmla="*/ 250965 w 685800"/>
                <a:gd name="connsiteY6" fmla="*/ 567100 h 904875"/>
                <a:gd name="connsiteX7" fmla="*/ 404689 w 685800"/>
                <a:gd name="connsiteY7" fmla="*/ 906066 h 904875"/>
                <a:gd name="connsiteX8" fmla="*/ 694963 w 685800"/>
                <a:gd name="connsiteY8" fmla="*/ 906066 h 904875"/>
                <a:gd name="connsiteX9" fmla="*/ 694782 w 685800"/>
                <a:gd name="connsiteY9" fmla="*/ 905770 h 904875"/>
                <a:gd name="connsiteX10" fmla="*/ 451009 w 685800"/>
                <a:gd name="connsiteY10" fmla="*/ 811635 h 904875"/>
                <a:gd name="connsiteX11" fmla="*/ 343967 w 685800"/>
                <a:gd name="connsiteY11" fmla="*/ 523532 h 904875"/>
                <a:gd name="connsiteX12" fmla="*/ 232743 w 685800"/>
                <a:gd name="connsiteY12" fmla="*/ 388125 h 904875"/>
                <a:gd name="connsiteX13" fmla="*/ 112795 w 685800"/>
                <a:gd name="connsiteY13" fmla="*/ 388125 h 904875"/>
                <a:gd name="connsiteX14" fmla="*/ 112795 w 685800"/>
                <a:gd name="connsiteY14" fmla="*/ 181461 h 904875"/>
                <a:gd name="connsiteX15" fmla="*/ 239153 w 685800"/>
                <a:gd name="connsiteY15" fmla="*/ 181461 h 904875"/>
                <a:gd name="connsiteX16" fmla="*/ 342995 w 685800"/>
                <a:gd name="connsiteY16" fmla="*/ 279749 h 904875"/>
                <a:gd name="connsiteX17" fmla="*/ 232743 w 685800"/>
                <a:gd name="connsiteY17" fmla="*/ 38812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85800" h="904875">
                  <a:moveTo>
                    <a:pt x="343967" y="523532"/>
                  </a:moveTo>
                  <a:lnTo>
                    <a:pt x="343967" y="0"/>
                  </a:lnTo>
                  <a:lnTo>
                    <a:pt x="0" y="0"/>
                  </a:lnTo>
                  <a:lnTo>
                    <a:pt x="0" y="906066"/>
                  </a:lnTo>
                  <a:lnTo>
                    <a:pt x="112795" y="906066"/>
                  </a:lnTo>
                  <a:lnTo>
                    <a:pt x="112795" y="567100"/>
                  </a:lnTo>
                  <a:lnTo>
                    <a:pt x="250965" y="567100"/>
                  </a:lnTo>
                  <a:cubicBezTo>
                    <a:pt x="250965" y="567100"/>
                    <a:pt x="376533" y="830447"/>
                    <a:pt x="404689" y="906066"/>
                  </a:cubicBezTo>
                  <a:lnTo>
                    <a:pt x="694963" y="906066"/>
                  </a:lnTo>
                  <a:lnTo>
                    <a:pt x="694782" y="905770"/>
                  </a:lnTo>
                  <a:cubicBezTo>
                    <a:pt x="587626" y="902084"/>
                    <a:pt x="515950" y="863813"/>
                    <a:pt x="451009" y="811635"/>
                  </a:cubicBezTo>
                  <a:cubicBezTo>
                    <a:pt x="367599" y="744245"/>
                    <a:pt x="343967" y="654720"/>
                    <a:pt x="343967" y="523532"/>
                  </a:cubicBezTo>
                  <a:moveTo>
                    <a:pt x="232743" y="388125"/>
                  </a:moveTo>
                  <a:lnTo>
                    <a:pt x="112795" y="388125"/>
                  </a:lnTo>
                  <a:lnTo>
                    <a:pt x="112795" y="181461"/>
                  </a:lnTo>
                  <a:lnTo>
                    <a:pt x="239153" y="181461"/>
                  </a:lnTo>
                  <a:cubicBezTo>
                    <a:pt x="293837" y="181461"/>
                    <a:pt x="342995" y="212960"/>
                    <a:pt x="342995" y="279749"/>
                  </a:cubicBezTo>
                  <a:cubicBezTo>
                    <a:pt x="342995" y="355340"/>
                    <a:pt x="291989" y="388125"/>
                    <a:pt x="232743" y="388125"/>
                  </a:cubicBezTo>
                </a:path>
              </a:pathLst>
            </a:custGeom>
            <a:solidFill>
              <a:srgbClr val="2484C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reeform: Shape 33">
              <a:extLst>
                <a:ext uri="{FF2B5EF4-FFF2-40B4-BE49-F238E27FC236}">
                  <a16:creationId xmlns:a16="http://schemas.microsoft.com/office/drawing/2014/main" id="{8A354183-FFED-2344-854E-F6CE96EC4F36}"/>
                </a:ext>
              </a:extLst>
            </p:cNvPr>
            <p:cNvSpPr/>
            <p:nvPr/>
          </p:nvSpPr>
          <p:spPr>
            <a:xfrm>
              <a:off x="6032105" y="2976487"/>
              <a:ext cx="342900" cy="904875"/>
            </a:xfrm>
            <a:custGeom>
              <a:avLst/>
              <a:gdLst>
                <a:gd name="connsiteX0" fmla="*/ 268871 w 342900"/>
                <a:gd name="connsiteY0" fmla="*/ 285007 h 904875"/>
                <a:gd name="connsiteX1" fmla="*/ 268871 w 342900"/>
                <a:gd name="connsiteY1" fmla="*/ 243878 h 904875"/>
                <a:gd name="connsiteX2" fmla="*/ 0 w 342900"/>
                <a:gd name="connsiteY2" fmla="*/ 0 h 904875"/>
                <a:gd name="connsiteX3" fmla="*/ 0 w 342900"/>
                <a:gd name="connsiteY3" fmla="*/ 523532 h 904875"/>
                <a:gd name="connsiteX4" fmla="*/ 107052 w 342900"/>
                <a:gd name="connsiteY4" fmla="*/ 811644 h 904875"/>
                <a:gd name="connsiteX5" fmla="*/ 350825 w 342900"/>
                <a:gd name="connsiteY5" fmla="*/ 905789 h 904875"/>
                <a:gd name="connsiteX6" fmla="*/ 130836 w 342900"/>
                <a:gd name="connsiteY6" fmla="*/ 499539 h 904875"/>
                <a:gd name="connsiteX7" fmla="*/ 268871 w 342900"/>
                <a:gd name="connsiteY7" fmla="*/ 285007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2900" h="904875">
                  <a:moveTo>
                    <a:pt x="268871" y="285007"/>
                  </a:moveTo>
                  <a:lnTo>
                    <a:pt x="268871" y="243878"/>
                  </a:lnTo>
                  <a:cubicBezTo>
                    <a:pt x="268871" y="94393"/>
                    <a:pt x="110528" y="0"/>
                    <a:pt x="0" y="0"/>
                  </a:cubicBezTo>
                  <a:lnTo>
                    <a:pt x="0" y="523532"/>
                  </a:lnTo>
                  <a:cubicBezTo>
                    <a:pt x="0" y="654729"/>
                    <a:pt x="23641" y="744264"/>
                    <a:pt x="107052" y="811644"/>
                  </a:cubicBezTo>
                  <a:cubicBezTo>
                    <a:pt x="171993" y="863813"/>
                    <a:pt x="243668" y="902084"/>
                    <a:pt x="350825" y="905789"/>
                  </a:cubicBezTo>
                  <a:lnTo>
                    <a:pt x="130836" y="499539"/>
                  </a:lnTo>
                  <a:cubicBezTo>
                    <a:pt x="130836" y="499539"/>
                    <a:pt x="268871" y="419957"/>
                    <a:pt x="268871" y="285007"/>
                  </a:cubicBezTo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reeform: Shape 34">
              <a:extLst>
                <a:ext uri="{FF2B5EF4-FFF2-40B4-BE49-F238E27FC236}">
                  <a16:creationId xmlns:a16="http://schemas.microsoft.com/office/drawing/2014/main" id="{803AD27C-F04F-CB47-B683-C0CA211ED666}"/>
                </a:ext>
              </a:extLst>
            </p:cNvPr>
            <p:cNvSpPr/>
            <p:nvPr/>
          </p:nvSpPr>
          <p:spPr>
            <a:xfrm>
              <a:off x="5535487" y="2976487"/>
              <a:ext cx="152399" cy="904875"/>
            </a:xfrm>
            <a:custGeom>
              <a:avLst/>
              <a:gdLst>
                <a:gd name="connsiteX0" fmla="*/ 0 w 152400"/>
                <a:gd name="connsiteY0" fmla="*/ 0 h 904875"/>
                <a:gd name="connsiteX1" fmla="*/ 153495 w 152400"/>
                <a:gd name="connsiteY1" fmla="*/ 0 h 904875"/>
                <a:gd name="connsiteX2" fmla="*/ 153495 w 152400"/>
                <a:gd name="connsiteY2" fmla="*/ 906075 h 904875"/>
                <a:gd name="connsiteX3" fmla="*/ 0 w 1524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400" h="904875">
                  <a:moveTo>
                    <a:pt x="0" y="0"/>
                  </a:moveTo>
                  <a:lnTo>
                    <a:pt x="153495" y="0"/>
                  </a:lnTo>
                  <a:lnTo>
                    <a:pt x="153495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7EA950A0-BA97-1444-B8A4-5327CBC40AFE}"/>
              </a:ext>
            </a:extLst>
          </p:cNvPr>
          <p:cNvSpPr/>
          <p:nvPr userDrawn="1"/>
        </p:nvSpPr>
        <p:spPr>
          <a:xfrm>
            <a:off x="0" y="5062500"/>
            <a:ext cx="9144000" cy="81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18" name="Text Placeholder 31">
            <a:extLst>
              <a:ext uri="{FF2B5EF4-FFF2-40B4-BE49-F238E27FC236}">
                <a16:creationId xmlns:a16="http://schemas.microsoft.com/office/drawing/2014/main" id="{AB6E6468-3D7D-B348-9E13-C3A3863A0F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10538" y="3829778"/>
            <a:ext cx="3603287" cy="77317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 marL="600075" indent="-257175">
              <a:buFont typeface="Arial" panose="020B0604020202020204" pitchFamily="34" charset="0"/>
              <a:buChar char="•"/>
              <a:defRPr sz="1500"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7F67FE2-5BD9-D048-8705-B21B8F6C5C7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4397496" cy="50625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en-US" dirty="0"/>
              <a:t>Click to add image &gt; use “crop” to adjust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882583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quot;classic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95970-3985-3548-986D-B4BC32DB9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8076"/>
            <a:ext cx="7176402" cy="773179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en-GB" dirty="0"/>
              <a:t>Click to edit Master tit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5890C84-0144-7249-9CB7-A8FBCF2286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65984-D348-BF47-86A8-7DC2AFD6D920}" type="datetimeFigureOut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04/09/2021</a:t>
            </a:fld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996512-6932-B147-A42A-FAEBBDF76E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514CE1-8113-3F49-80B0-61D617B509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6F86F5-1EE3-164C-BBF2-87129EE00A76}" type="slidenum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63AE242-92B8-A04E-B436-4253CCD9E177}"/>
              </a:ext>
            </a:extLst>
          </p:cNvPr>
          <p:cNvGrpSpPr/>
          <p:nvPr userDrawn="1"/>
        </p:nvGrpSpPr>
        <p:grpSpPr>
          <a:xfrm>
            <a:off x="7910692" y="412421"/>
            <a:ext cx="604658" cy="363294"/>
            <a:chOff x="5342425" y="2976487"/>
            <a:chExt cx="1506305" cy="905027"/>
          </a:xfrm>
        </p:grpSpPr>
        <p:sp>
          <p:nvSpPr>
            <p:cNvPr id="7" name="Freeform: Shape 30">
              <a:extLst>
                <a:ext uri="{FF2B5EF4-FFF2-40B4-BE49-F238E27FC236}">
                  <a16:creationId xmlns:a16="http://schemas.microsoft.com/office/drawing/2014/main" id="{1A143611-D826-2E4A-A59F-2E51FFA038C5}"/>
                </a:ext>
              </a:extLst>
            </p:cNvPr>
            <p:cNvSpPr/>
            <p:nvPr/>
          </p:nvSpPr>
          <p:spPr>
            <a:xfrm>
              <a:off x="6162929" y="2976631"/>
              <a:ext cx="685801" cy="904876"/>
            </a:xfrm>
            <a:custGeom>
              <a:avLst/>
              <a:gdLst>
                <a:gd name="connsiteX0" fmla="*/ 419281 w 685800"/>
                <a:gd name="connsiteY0" fmla="*/ 0 h 904875"/>
                <a:gd name="connsiteX1" fmla="*/ 419281 w 685800"/>
                <a:gd name="connsiteY1" fmla="*/ 534876 h 904875"/>
                <a:gd name="connsiteX2" fmla="*/ 279302 w 685800"/>
                <a:gd name="connsiteY2" fmla="*/ 702840 h 904875"/>
                <a:gd name="connsiteX3" fmla="*/ 138046 w 685800"/>
                <a:gd name="connsiteY3" fmla="*/ 534876 h 904875"/>
                <a:gd name="connsiteX4" fmla="*/ 138046 w 685800"/>
                <a:gd name="connsiteY4" fmla="*/ 285007 h 904875"/>
                <a:gd name="connsiteX5" fmla="*/ 0 w 685800"/>
                <a:gd name="connsiteY5" fmla="*/ 499529 h 904875"/>
                <a:gd name="connsiteX6" fmla="*/ 219999 w 685800"/>
                <a:gd name="connsiteY6" fmla="*/ 905780 h 904875"/>
                <a:gd name="connsiteX7" fmla="*/ 237125 w 685800"/>
                <a:gd name="connsiteY7" fmla="*/ 906075 h 904875"/>
                <a:gd name="connsiteX8" fmla="*/ 286084 w 685800"/>
                <a:gd name="connsiteY8" fmla="*/ 906075 h 904875"/>
                <a:gd name="connsiteX9" fmla="*/ 584997 w 685800"/>
                <a:gd name="connsiteY9" fmla="*/ 811644 h 904875"/>
                <a:gd name="connsiteX10" fmla="*/ 690658 w 685800"/>
                <a:gd name="connsiteY10" fmla="*/ 523532 h 904875"/>
                <a:gd name="connsiteX11" fmla="*/ 690658 w 685800"/>
                <a:gd name="connsiteY11" fmla="*/ 0 h 904875"/>
                <a:gd name="connsiteX12" fmla="*/ 419281 w 685800"/>
                <a:gd name="connsiteY12" fmla="*/ 0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85800" h="904875">
                  <a:moveTo>
                    <a:pt x="419281" y="0"/>
                  </a:moveTo>
                  <a:lnTo>
                    <a:pt x="419281" y="534876"/>
                  </a:lnTo>
                  <a:cubicBezTo>
                    <a:pt x="419281" y="651358"/>
                    <a:pt x="352911" y="702840"/>
                    <a:pt x="279302" y="702840"/>
                  </a:cubicBezTo>
                  <a:cubicBezTo>
                    <a:pt x="202540" y="702840"/>
                    <a:pt x="138046" y="651358"/>
                    <a:pt x="138046" y="534876"/>
                  </a:cubicBezTo>
                  <a:lnTo>
                    <a:pt x="138046" y="285007"/>
                  </a:lnTo>
                  <a:cubicBezTo>
                    <a:pt x="138046" y="419967"/>
                    <a:pt x="0" y="499529"/>
                    <a:pt x="0" y="499529"/>
                  </a:cubicBezTo>
                  <a:lnTo>
                    <a:pt x="219999" y="905780"/>
                  </a:lnTo>
                  <a:cubicBezTo>
                    <a:pt x="225609" y="905961"/>
                    <a:pt x="231305" y="906075"/>
                    <a:pt x="237125" y="906075"/>
                  </a:cubicBezTo>
                  <a:lnTo>
                    <a:pt x="286084" y="906075"/>
                  </a:lnTo>
                  <a:cubicBezTo>
                    <a:pt x="418700" y="906075"/>
                    <a:pt x="507121" y="874205"/>
                    <a:pt x="584997" y="811644"/>
                  </a:cubicBezTo>
                  <a:cubicBezTo>
                    <a:pt x="668417" y="744255"/>
                    <a:pt x="690658" y="654729"/>
                    <a:pt x="690658" y="523532"/>
                  </a:cubicBezTo>
                  <a:lnTo>
                    <a:pt x="690658" y="0"/>
                  </a:lnTo>
                  <a:lnTo>
                    <a:pt x="419281" y="0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reeform: Shape 31">
              <a:extLst>
                <a:ext uri="{FF2B5EF4-FFF2-40B4-BE49-F238E27FC236}">
                  <a16:creationId xmlns:a16="http://schemas.microsoft.com/office/drawing/2014/main" id="{9104EE4F-8ABF-F84A-8CCA-81966BA6AFC0}"/>
                </a:ext>
              </a:extLst>
            </p:cNvPr>
            <p:cNvSpPr/>
            <p:nvPr/>
          </p:nvSpPr>
          <p:spPr>
            <a:xfrm>
              <a:off x="5342425" y="2976631"/>
              <a:ext cx="190499" cy="904876"/>
            </a:xfrm>
            <a:custGeom>
              <a:avLst/>
              <a:gdLst>
                <a:gd name="connsiteX0" fmla="*/ 0 w 190500"/>
                <a:gd name="connsiteY0" fmla="*/ 0 h 904875"/>
                <a:gd name="connsiteX1" fmla="*/ 193062 w 190500"/>
                <a:gd name="connsiteY1" fmla="*/ 0 h 904875"/>
                <a:gd name="connsiteX2" fmla="*/ 193062 w 190500"/>
                <a:gd name="connsiteY2" fmla="*/ 906075 h 904875"/>
                <a:gd name="connsiteX3" fmla="*/ 0 w 1905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904875">
                  <a:moveTo>
                    <a:pt x="0" y="0"/>
                  </a:moveTo>
                  <a:lnTo>
                    <a:pt x="193062" y="0"/>
                  </a:lnTo>
                  <a:lnTo>
                    <a:pt x="193062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reeform: Shape 32">
              <a:extLst>
                <a:ext uri="{FF2B5EF4-FFF2-40B4-BE49-F238E27FC236}">
                  <a16:creationId xmlns:a16="http://schemas.microsoft.com/office/drawing/2014/main" id="{D46CEBAC-7568-7641-AEAF-CF60C8B72490}"/>
                </a:ext>
              </a:extLst>
            </p:cNvPr>
            <p:cNvSpPr/>
            <p:nvPr/>
          </p:nvSpPr>
          <p:spPr>
            <a:xfrm>
              <a:off x="5688984" y="2976638"/>
              <a:ext cx="685801" cy="904876"/>
            </a:xfrm>
            <a:custGeom>
              <a:avLst/>
              <a:gdLst>
                <a:gd name="connsiteX0" fmla="*/ 343967 w 685800"/>
                <a:gd name="connsiteY0" fmla="*/ 523532 h 904875"/>
                <a:gd name="connsiteX1" fmla="*/ 343967 w 685800"/>
                <a:gd name="connsiteY1" fmla="*/ 0 h 904875"/>
                <a:gd name="connsiteX2" fmla="*/ 0 w 685800"/>
                <a:gd name="connsiteY2" fmla="*/ 0 h 904875"/>
                <a:gd name="connsiteX3" fmla="*/ 0 w 685800"/>
                <a:gd name="connsiteY3" fmla="*/ 906066 h 904875"/>
                <a:gd name="connsiteX4" fmla="*/ 112795 w 685800"/>
                <a:gd name="connsiteY4" fmla="*/ 906066 h 904875"/>
                <a:gd name="connsiteX5" fmla="*/ 112795 w 685800"/>
                <a:gd name="connsiteY5" fmla="*/ 567100 h 904875"/>
                <a:gd name="connsiteX6" fmla="*/ 250965 w 685800"/>
                <a:gd name="connsiteY6" fmla="*/ 567100 h 904875"/>
                <a:gd name="connsiteX7" fmla="*/ 404689 w 685800"/>
                <a:gd name="connsiteY7" fmla="*/ 906066 h 904875"/>
                <a:gd name="connsiteX8" fmla="*/ 694963 w 685800"/>
                <a:gd name="connsiteY8" fmla="*/ 906066 h 904875"/>
                <a:gd name="connsiteX9" fmla="*/ 694782 w 685800"/>
                <a:gd name="connsiteY9" fmla="*/ 905770 h 904875"/>
                <a:gd name="connsiteX10" fmla="*/ 451009 w 685800"/>
                <a:gd name="connsiteY10" fmla="*/ 811635 h 904875"/>
                <a:gd name="connsiteX11" fmla="*/ 343967 w 685800"/>
                <a:gd name="connsiteY11" fmla="*/ 523532 h 904875"/>
                <a:gd name="connsiteX12" fmla="*/ 232743 w 685800"/>
                <a:gd name="connsiteY12" fmla="*/ 388125 h 904875"/>
                <a:gd name="connsiteX13" fmla="*/ 112795 w 685800"/>
                <a:gd name="connsiteY13" fmla="*/ 388125 h 904875"/>
                <a:gd name="connsiteX14" fmla="*/ 112795 w 685800"/>
                <a:gd name="connsiteY14" fmla="*/ 181461 h 904875"/>
                <a:gd name="connsiteX15" fmla="*/ 239153 w 685800"/>
                <a:gd name="connsiteY15" fmla="*/ 181461 h 904875"/>
                <a:gd name="connsiteX16" fmla="*/ 342995 w 685800"/>
                <a:gd name="connsiteY16" fmla="*/ 279749 h 904875"/>
                <a:gd name="connsiteX17" fmla="*/ 232743 w 685800"/>
                <a:gd name="connsiteY17" fmla="*/ 38812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85800" h="904875">
                  <a:moveTo>
                    <a:pt x="343967" y="523532"/>
                  </a:moveTo>
                  <a:lnTo>
                    <a:pt x="343967" y="0"/>
                  </a:lnTo>
                  <a:lnTo>
                    <a:pt x="0" y="0"/>
                  </a:lnTo>
                  <a:lnTo>
                    <a:pt x="0" y="906066"/>
                  </a:lnTo>
                  <a:lnTo>
                    <a:pt x="112795" y="906066"/>
                  </a:lnTo>
                  <a:lnTo>
                    <a:pt x="112795" y="567100"/>
                  </a:lnTo>
                  <a:lnTo>
                    <a:pt x="250965" y="567100"/>
                  </a:lnTo>
                  <a:cubicBezTo>
                    <a:pt x="250965" y="567100"/>
                    <a:pt x="376533" y="830447"/>
                    <a:pt x="404689" y="906066"/>
                  </a:cubicBezTo>
                  <a:lnTo>
                    <a:pt x="694963" y="906066"/>
                  </a:lnTo>
                  <a:lnTo>
                    <a:pt x="694782" y="905770"/>
                  </a:lnTo>
                  <a:cubicBezTo>
                    <a:pt x="587626" y="902084"/>
                    <a:pt x="515950" y="863813"/>
                    <a:pt x="451009" y="811635"/>
                  </a:cubicBezTo>
                  <a:cubicBezTo>
                    <a:pt x="367599" y="744245"/>
                    <a:pt x="343967" y="654720"/>
                    <a:pt x="343967" y="523532"/>
                  </a:cubicBezTo>
                  <a:moveTo>
                    <a:pt x="232743" y="388125"/>
                  </a:moveTo>
                  <a:lnTo>
                    <a:pt x="112795" y="388125"/>
                  </a:lnTo>
                  <a:lnTo>
                    <a:pt x="112795" y="181461"/>
                  </a:lnTo>
                  <a:lnTo>
                    <a:pt x="239153" y="181461"/>
                  </a:lnTo>
                  <a:cubicBezTo>
                    <a:pt x="293837" y="181461"/>
                    <a:pt x="342995" y="212960"/>
                    <a:pt x="342995" y="279749"/>
                  </a:cubicBezTo>
                  <a:cubicBezTo>
                    <a:pt x="342995" y="355340"/>
                    <a:pt x="291989" y="388125"/>
                    <a:pt x="232743" y="388125"/>
                  </a:cubicBezTo>
                </a:path>
              </a:pathLst>
            </a:custGeom>
            <a:solidFill>
              <a:srgbClr val="2484C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reeform: Shape 33">
              <a:extLst>
                <a:ext uri="{FF2B5EF4-FFF2-40B4-BE49-F238E27FC236}">
                  <a16:creationId xmlns:a16="http://schemas.microsoft.com/office/drawing/2014/main" id="{8A354183-FFED-2344-854E-F6CE96EC4F36}"/>
                </a:ext>
              </a:extLst>
            </p:cNvPr>
            <p:cNvSpPr/>
            <p:nvPr/>
          </p:nvSpPr>
          <p:spPr>
            <a:xfrm>
              <a:off x="6032105" y="2976487"/>
              <a:ext cx="342900" cy="904875"/>
            </a:xfrm>
            <a:custGeom>
              <a:avLst/>
              <a:gdLst>
                <a:gd name="connsiteX0" fmla="*/ 268871 w 342900"/>
                <a:gd name="connsiteY0" fmla="*/ 285007 h 904875"/>
                <a:gd name="connsiteX1" fmla="*/ 268871 w 342900"/>
                <a:gd name="connsiteY1" fmla="*/ 243878 h 904875"/>
                <a:gd name="connsiteX2" fmla="*/ 0 w 342900"/>
                <a:gd name="connsiteY2" fmla="*/ 0 h 904875"/>
                <a:gd name="connsiteX3" fmla="*/ 0 w 342900"/>
                <a:gd name="connsiteY3" fmla="*/ 523532 h 904875"/>
                <a:gd name="connsiteX4" fmla="*/ 107052 w 342900"/>
                <a:gd name="connsiteY4" fmla="*/ 811644 h 904875"/>
                <a:gd name="connsiteX5" fmla="*/ 350825 w 342900"/>
                <a:gd name="connsiteY5" fmla="*/ 905789 h 904875"/>
                <a:gd name="connsiteX6" fmla="*/ 130836 w 342900"/>
                <a:gd name="connsiteY6" fmla="*/ 499539 h 904875"/>
                <a:gd name="connsiteX7" fmla="*/ 268871 w 342900"/>
                <a:gd name="connsiteY7" fmla="*/ 285007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2900" h="904875">
                  <a:moveTo>
                    <a:pt x="268871" y="285007"/>
                  </a:moveTo>
                  <a:lnTo>
                    <a:pt x="268871" y="243878"/>
                  </a:lnTo>
                  <a:cubicBezTo>
                    <a:pt x="268871" y="94393"/>
                    <a:pt x="110528" y="0"/>
                    <a:pt x="0" y="0"/>
                  </a:cubicBezTo>
                  <a:lnTo>
                    <a:pt x="0" y="523532"/>
                  </a:lnTo>
                  <a:cubicBezTo>
                    <a:pt x="0" y="654729"/>
                    <a:pt x="23641" y="744264"/>
                    <a:pt x="107052" y="811644"/>
                  </a:cubicBezTo>
                  <a:cubicBezTo>
                    <a:pt x="171993" y="863813"/>
                    <a:pt x="243668" y="902084"/>
                    <a:pt x="350825" y="905789"/>
                  </a:cubicBezTo>
                  <a:lnTo>
                    <a:pt x="130836" y="499539"/>
                  </a:lnTo>
                  <a:cubicBezTo>
                    <a:pt x="130836" y="499539"/>
                    <a:pt x="268871" y="419957"/>
                    <a:pt x="268871" y="285007"/>
                  </a:cubicBezTo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reeform: Shape 34">
              <a:extLst>
                <a:ext uri="{FF2B5EF4-FFF2-40B4-BE49-F238E27FC236}">
                  <a16:creationId xmlns:a16="http://schemas.microsoft.com/office/drawing/2014/main" id="{803AD27C-F04F-CB47-B683-C0CA211ED666}"/>
                </a:ext>
              </a:extLst>
            </p:cNvPr>
            <p:cNvSpPr/>
            <p:nvPr/>
          </p:nvSpPr>
          <p:spPr>
            <a:xfrm>
              <a:off x="5535487" y="2976487"/>
              <a:ext cx="152399" cy="904875"/>
            </a:xfrm>
            <a:custGeom>
              <a:avLst/>
              <a:gdLst>
                <a:gd name="connsiteX0" fmla="*/ 0 w 152400"/>
                <a:gd name="connsiteY0" fmla="*/ 0 h 904875"/>
                <a:gd name="connsiteX1" fmla="*/ 153495 w 152400"/>
                <a:gd name="connsiteY1" fmla="*/ 0 h 904875"/>
                <a:gd name="connsiteX2" fmla="*/ 153495 w 152400"/>
                <a:gd name="connsiteY2" fmla="*/ 906075 h 904875"/>
                <a:gd name="connsiteX3" fmla="*/ 0 w 1524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400" h="904875">
                  <a:moveTo>
                    <a:pt x="0" y="0"/>
                  </a:moveTo>
                  <a:lnTo>
                    <a:pt x="153495" y="0"/>
                  </a:lnTo>
                  <a:lnTo>
                    <a:pt x="153495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7EA950A0-BA97-1444-B8A4-5327CBC40AFE}"/>
              </a:ext>
            </a:extLst>
          </p:cNvPr>
          <p:cNvSpPr/>
          <p:nvPr userDrawn="1"/>
        </p:nvSpPr>
        <p:spPr>
          <a:xfrm>
            <a:off x="0" y="5062500"/>
            <a:ext cx="9144000" cy="81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13" name="Text Placeholder 31">
            <a:extLst>
              <a:ext uri="{FF2B5EF4-FFF2-40B4-BE49-F238E27FC236}">
                <a16:creationId xmlns:a16="http://schemas.microsoft.com/office/drawing/2014/main" id="{0F3ACF6B-5166-AA4B-B25A-C95D0AD748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8650" y="1266898"/>
            <a:ext cx="5486400" cy="33360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 marL="600075" indent="-257175">
              <a:buFont typeface="Arial" panose="020B0604020202020204" pitchFamily="34" charset="0"/>
              <a:buChar char="•"/>
              <a:defRPr sz="1500"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GB" dirty="0"/>
              <a:t>First level text</a:t>
            </a:r>
          </a:p>
          <a:p>
            <a:pPr lvl="1"/>
            <a:r>
              <a:rPr lang="en-GB" dirty="0"/>
              <a:t>Second level text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E689EC1D-F00B-EF47-84D2-854BC96B813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457950" y="1266826"/>
            <a:ext cx="2057400" cy="33361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First level text</a:t>
            </a:r>
          </a:p>
          <a:p>
            <a:pPr lvl="1"/>
            <a:r>
              <a:rPr lang="en-GB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272219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+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205979"/>
            <a:ext cx="6860419" cy="959700"/>
          </a:xfrm>
          <a:prstGeom prst="rect">
            <a:avLst/>
          </a:prstGeom>
        </p:spPr>
        <p:txBody>
          <a:bodyPr lIns="0" tIns="46800" rIns="0" bIns="0" anchor="t"/>
          <a:lstStyle>
            <a:lvl1pPr algn="l">
              <a:defRPr sz="3000"/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830010" y="4866821"/>
            <a:ext cx="1375228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3BB91016-F3FA-46FC-BF6F-7A8C8D9D89E2}" type="datetime1">
              <a:rPr lang="en-US" noProof="0" smtClean="0"/>
              <a:t>04/09/2021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1999" y="4866821"/>
            <a:ext cx="4118429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noProof="0"/>
              <a:t>Санкт-Петербург  4 апреля 2019 г.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4866821"/>
            <a:ext cx="1284515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8BC4BD7E-6A9D-424B-9890-D8BA950DB6F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830011" y="1441902"/>
            <a:ext cx="5488365" cy="34925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3000" b="0"/>
            </a:lvl1pPr>
            <a:lvl2pPr marL="0" indent="-288000">
              <a:buClr>
                <a:schemeClr val="accent3"/>
              </a:buClr>
              <a:buFont typeface="Arial"/>
              <a:buChar char="•"/>
              <a:defRPr sz="2000"/>
            </a:lvl2pPr>
            <a:lvl3pPr marL="576000" indent="-288000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4000" indent="-288000">
              <a:buClr>
                <a:schemeClr val="accent1"/>
              </a:buClr>
              <a:buFont typeface="Arial"/>
              <a:buChar char="•"/>
              <a:defRPr sz="2000"/>
            </a:lvl4pPr>
            <a:lvl5pPr marL="1152000" indent="-288000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/>
              <a:t>Click to edit big text 1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57199" y="4862519"/>
            <a:ext cx="8233230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9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830011" y="1855105"/>
            <a:ext cx="5488365" cy="65767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2000"/>
            </a:lvl1pPr>
            <a:lvl2pPr marL="0" indent="-288000">
              <a:buClr>
                <a:schemeClr val="accent3"/>
              </a:buClr>
              <a:buFont typeface="Arial"/>
              <a:buChar char="•"/>
              <a:defRPr sz="2000"/>
            </a:lvl2pPr>
            <a:lvl3pPr marL="576000" indent="-288000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4000" indent="-288000">
              <a:buClr>
                <a:schemeClr val="accent1"/>
              </a:buClr>
              <a:buFont typeface="Arial"/>
              <a:buChar char="•"/>
              <a:defRPr sz="2000"/>
            </a:lvl4pPr>
            <a:lvl5pPr marL="1152000" indent="-288000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/>
              <a:t>Click to edit small text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1275746" y="1505798"/>
            <a:ext cx="465742" cy="34930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"/>
            </a:lvl1pPr>
          </a:lstStyle>
          <a:p>
            <a:r>
              <a:rPr lang="en-GB" noProof="0" dirty="0"/>
              <a:t>Icon 1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1830011" y="2553152"/>
            <a:ext cx="5488365" cy="34925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3000" b="0"/>
            </a:lvl1pPr>
            <a:lvl2pPr marL="0" indent="-288000">
              <a:buClr>
                <a:schemeClr val="accent3"/>
              </a:buClr>
              <a:buFont typeface="Arial"/>
              <a:buChar char="•"/>
              <a:defRPr sz="2000"/>
            </a:lvl2pPr>
            <a:lvl3pPr marL="576000" indent="-288000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4000" indent="-288000">
              <a:buClr>
                <a:schemeClr val="accent1"/>
              </a:buClr>
              <a:buFont typeface="Arial"/>
              <a:buChar char="•"/>
              <a:defRPr sz="2000"/>
            </a:lvl4pPr>
            <a:lvl5pPr marL="1152000" indent="-288000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 dirty="0"/>
              <a:t>Click to edit big text 2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1830011" y="2966354"/>
            <a:ext cx="5488365" cy="65767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2000"/>
            </a:lvl1pPr>
            <a:lvl2pPr marL="0" indent="-288000">
              <a:buClr>
                <a:schemeClr val="accent3"/>
              </a:buClr>
              <a:buFont typeface="Arial"/>
              <a:buChar char="•"/>
              <a:defRPr sz="2000"/>
            </a:lvl2pPr>
            <a:lvl3pPr marL="576000" indent="-288000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4000" indent="-288000">
              <a:buClr>
                <a:schemeClr val="accent1"/>
              </a:buClr>
              <a:buFont typeface="Arial"/>
              <a:buChar char="•"/>
              <a:defRPr sz="2000"/>
            </a:lvl4pPr>
            <a:lvl5pPr marL="1152000" indent="-288000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/>
              <a:t>Click to edit small text</a:t>
            </a:r>
          </a:p>
        </p:txBody>
      </p:sp>
      <p:sp>
        <p:nvSpPr>
          <p:cNvPr id="15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1275746" y="2617048"/>
            <a:ext cx="465742" cy="34930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"/>
            </a:lvl1pPr>
          </a:lstStyle>
          <a:p>
            <a:r>
              <a:rPr lang="en-GB" noProof="0" dirty="0"/>
              <a:t>Icon 2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1830011" y="3659868"/>
            <a:ext cx="5488365" cy="34925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3000" b="0"/>
            </a:lvl1pPr>
            <a:lvl2pPr marL="0" indent="-288000">
              <a:buClr>
                <a:schemeClr val="accent3"/>
              </a:buClr>
              <a:buFont typeface="Arial"/>
              <a:buChar char="•"/>
              <a:defRPr sz="2000"/>
            </a:lvl2pPr>
            <a:lvl3pPr marL="576000" indent="-288000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4000" indent="-288000">
              <a:buClr>
                <a:schemeClr val="accent1"/>
              </a:buClr>
              <a:buFont typeface="Arial"/>
              <a:buChar char="•"/>
              <a:defRPr sz="2000"/>
            </a:lvl4pPr>
            <a:lvl5pPr marL="1152000" indent="-288000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/>
              <a:t>Click to edit big text 3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830011" y="4073071"/>
            <a:ext cx="5488365" cy="65767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2000"/>
            </a:lvl1pPr>
            <a:lvl2pPr marL="0" indent="-288000">
              <a:buClr>
                <a:schemeClr val="accent3"/>
              </a:buClr>
              <a:buFont typeface="Arial"/>
              <a:buChar char="•"/>
              <a:defRPr sz="2000"/>
            </a:lvl2pPr>
            <a:lvl3pPr marL="576000" indent="-288000">
              <a:buClr>
                <a:schemeClr val="accent3"/>
              </a:buClr>
              <a:buSzPct val="100000"/>
              <a:buFont typeface="Lucida Grande"/>
              <a:buChar char="—"/>
              <a:defRPr sz="2000"/>
            </a:lvl3pPr>
            <a:lvl4pPr marL="864000" indent="-288000">
              <a:buClr>
                <a:schemeClr val="accent1"/>
              </a:buClr>
              <a:buFont typeface="Arial"/>
              <a:buChar char="•"/>
              <a:defRPr sz="2000"/>
            </a:lvl4pPr>
            <a:lvl5pPr marL="1152000" indent="-288000">
              <a:buClr>
                <a:schemeClr val="accent1"/>
              </a:buClr>
              <a:buFont typeface="Arial"/>
              <a:buChar char="—"/>
              <a:defRPr sz="2000"/>
            </a:lvl5pPr>
          </a:lstStyle>
          <a:p>
            <a:pPr lvl="0"/>
            <a:r>
              <a:rPr lang="en-GB" noProof="0"/>
              <a:t>Click to edit small text</a:t>
            </a:r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21" hasCustomPrompt="1"/>
          </p:nvPr>
        </p:nvSpPr>
        <p:spPr>
          <a:xfrm>
            <a:off x="1275746" y="3723764"/>
            <a:ext cx="465742" cy="34930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800"/>
            </a:lvl1pPr>
          </a:lstStyle>
          <a:p>
            <a:r>
              <a:rPr lang="en-GB" noProof="0" dirty="0"/>
              <a:t>Icon 3</a:t>
            </a:r>
          </a:p>
        </p:txBody>
      </p:sp>
      <p:pic>
        <p:nvPicPr>
          <p:cNvPr id="19" name="Picture 18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5929" y="228631"/>
            <a:ext cx="694500" cy="418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883564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quot;classic&quot;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95970-3985-3548-986D-B4BC32DB9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8076"/>
            <a:ext cx="7176402" cy="773179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en-GB" dirty="0"/>
              <a:t>Click to edit Master tit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5890C84-0144-7249-9CB7-A8FBCF2286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65984-D348-BF47-86A8-7DC2AFD6D920}" type="datetimeFigureOut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04/09/2021</a:t>
            </a:fld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996512-6932-B147-A42A-FAEBBDF76E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514CE1-8113-3F49-80B0-61D617B509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6F86F5-1EE3-164C-BBF2-87129EE00A76}" type="slidenum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63AE242-92B8-A04E-B436-4253CCD9E177}"/>
              </a:ext>
            </a:extLst>
          </p:cNvPr>
          <p:cNvGrpSpPr/>
          <p:nvPr userDrawn="1"/>
        </p:nvGrpSpPr>
        <p:grpSpPr>
          <a:xfrm>
            <a:off x="7910692" y="412421"/>
            <a:ext cx="604658" cy="363294"/>
            <a:chOff x="5342425" y="2976487"/>
            <a:chExt cx="1506305" cy="905027"/>
          </a:xfrm>
        </p:grpSpPr>
        <p:sp>
          <p:nvSpPr>
            <p:cNvPr id="7" name="Freeform: Shape 30">
              <a:extLst>
                <a:ext uri="{FF2B5EF4-FFF2-40B4-BE49-F238E27FC236}">
                  <a16:creationId xmlns:a16="http://schemas.microsoft.com/office/drawing/2014/main" id="{1A143611-D826-2E4A-A59F-2E51FFA038C5}"/>
                </a:ext>
              </a:extLst>
            </p:cNvPr>
            <p:cNvSpPr/>
            <p:nvPr/>
          </p:nvSpPr>
          <p:spPr>
            <a:xfrm>
              <a:off x="6162929" y="2976631"/>
              <a:ext cx="685801" cy="904876"/>
            </a:xfrm>
            <a:custGeom>
              <a:avLst/>
              <a:gdLst>
                <a:gd name="connsiteX0" fmla="*/ 419281 w 685800"/>
                <a:gd name="connsiteY0" fmla="*/ 0 h 904875"/>
                <a:gd name="connsiteX1" fmla="*/ 419281 w 685800"/>
                <a:gd name="connsiteY1" fmla="*/ 534876 h 904875"/>
                <a:gd name="connsiteX2" fmla="*/ 279302 w 685800"/>
                <a:gd name="connsiteY2" fmla="*/ 702840 h 904875"/>
                <a:gd name="connsiteX3" fmla="*/ 138046 w 685800"/>
                <a:gd name="connsiteY3" fmla="*/ 534876 h 904875"/>
                <a:gd name="connsiteX4" fmla="*/ 138046 w 685800"/>
                <a:gd name="connsiteY4" fmla="*/ 285007 h 904875"/>
                <a:gd name="connsiteX5" fmla="*/ 0 w 685800"/>
                <a:gd name="connsiteY5" fmla="*/ 499529 h 904875"/>
                <a:gd name="connsiteX6" fmla="*/ 219999 w 685800"/>
                <a:gd name="connsiteY6" fmla="*/ 905780 h 904875"/>
                <a:gd name="connsiteX7" fmla="*/ 237125 w 685800"/>
                <a:gd name="connsiteY7" fmla="*/ 906075 h 904875"/>
                <a:gd name="connsiteX8" fmla="*/ 286084 w 685800"/>
                <a:gd name="connsiteY8" fmla="*/ 906075 h 904875"/>
                <a:gd name="connsiteX9" fmla="*/ 584997 w 685800"/>
                <a:gd name="connsiteY9" fmla="*/ 811644 h 904875"/>
                <a:gd name="connsiteX10" fmla="*/ 690658 w 685800"/>
                <a:gd name="connsiteY10" fmla="*/ 523532 h 904875"/>
                <a:gd name="connsiteX11" fmla="*/ 690658 w 685800"/>
                <a:gd name="connsiteY11" fmla="*/ 0 h 904875"/>
                <a:gd name="connsiteX12" fmla="*/ 419281 w 685800"/>
                <a:gd name="connsiteY12" fmla="*/ 0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85800" h="904875">
                  <a:moveTo>
                    <a:pt x="419281" y="0"/>
                  </a:moveTo>
                  <a:lnTo>
                    <a:pt x="419281" y="534876"/>
                  </a:lnTo>
                  <a:cubicBezTo>
                    <a:pt x="419281" y="651358"/>
                    <a:pt x="352911" y="702840"/>
                    <a:pt x="279302" y="702840"/>
                  </a:cubicBezTo>
                  <a:cubicBezTo>
                    <a:pt x="202540" y="702840"/>
                    <a:pt x="138046" y="651358"/>
                    <a:pt x="138046" y="534876"/>
                  </a:cubicBezTo>
                  <a:lnTo>
                    <a:pt x="138046" y="285007"/>
                  </a:lnTo>
                  <a:cubicBezTo>
                    <a:pt x="138046" y="419967"/>
                    <a:pt x="0" y="499529"/>
                    <a:pt x="0" y="499529"/>
                  </a:cubicBezTo>
                  <a:lnTo>
                    <a:pt x="219999" y="905780"/>
                  </a:lnTo>
                  <a:cubicBezTo>
                    <a:pt x="225609" y="905961"/>
                    <a:pt x="231305" y="906075"/>
                    <a:pt x="237125" y="906075"/>
                  </a:cubicBezTo>
                  <a:lnTo>
                    <a:pt x="286084" y="906075"/>
                  </a:lnTo>
                  <a:cubicBezTo>
                    <a:pt x="418700" y="906075"/>
                    <a:pt x="507121" y="874205"/>
                    <a:pt x="584997" y="811644"/>
                  </a:cubicBezTo>
                  <a:cubicBezTo>
                    <a:pt x="668417" y="744255"/>
                    <a:pt x="690658" y="654729"/>
                    <a:pt x="690658" y="523532"/>
                  </a:cubicBezTo>
                  <a:lnTo>
                    <a:pt x="690658" y="0"/>
                  </a:lnTo>
                  <a:lnTo>
                    <a:pt x="419281" y="0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reeform: Shape 31">
              <a:extLst>
                <a:ext uri="{FF2B5EF4-FFF2-40B4-BE49-F238E27FC236}">
                  <a16:creationId xmlns:a16="http://schemas.microsoft.com/office/drawing/2014/main" id="{9104EE4F-8ABF-F84A-8CCA-81966BA6AFC0}"/>
                </a:ext>
              </a:extLst>
            </p:cNvPr>
            <p:cNvSpPr/>
            <p:nvPr/>
          </p:nvSpPr>
          <p:spPr>
            <a:xfrm>
              <a:off x="5342425" y="2976631"/>
              <a:ext cx="190499" cy="904876"/>
            </a:xfrm>
            <a:custGeom>
              <a:avLst/>
              <a:gdLst>
                <a:gd name="connsiteX0" fmla="*/ 0 w 190500"/>
                <a:gd name="connsiteY0" fmla="*/ 0 h 904875"/>
                <a:gd name="connsiteX1" fmla="*/ 193062 w 190500"/>
                <a:gd name="connsiteY1" fmla="*/ 0 h 904875"/>
                <a:gd name="connsiteX2" fmla="*/ 193062 w 190500"/>
                <a:gd name="connsiteY2" fmla="*/ 906075 h 904875"/>
                <a:gd name="connsiteX3" fmla="*/ 0 w 1905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904875">
                  <a:moveTo>
                    <a:pt x="0" y="0"/>
                  </a:moveTo>
                  <a:lnTo>
                    <a:pt x="193062" y="0"/>
                  </a:lnTo>
                  <a:lnTo>
                    <a:pt x="193062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reeform: Shape 32">
              <a:extLst>
                <a:ext uri="{FF2B5EF4-FFF2-40B4-BE49-F238E27FC236}">
                  <a16:creationId xmlns:a16="http://schemas.microsoft.com/office/drawing/2014/main" id="{D46CEBAC-7568-7641-AEAF-CF60C8B72490}"/>
                </a:ext>
              </a:extLst>
            </p:cNvPr>
            <p:cNvSpPr/>
            <p:nvPr/>
          </p:nvSpPr>
          <p:spPr>
            <a:xfrm>
              <a:off x="5688984" y="2976638"/>
              <a:ext cx="685801" cy="904876"/>
            </a:xfrm>
            <a:custGeom>
              <a:avLst/>
              <a:gdLst>
                <a:gd name="connsiteX0" fmla="*/ 343967 w 685800"/>
                <a:gd name="connsiteY0" fmla="*/ 523532 h 904875"/>
                <a:gd name="connsiteX1" fmla="*/ 343967 w 685800"/>
                <a:gd name="connsiteY1" fmla="*/ 0 h 904875"/>
                <a:gd name="connsiteX2" fmla="*/ 0 w 685800"/>
                <a:gd name="connsiteY2" fmla="*/ 0 h 904875"/>
                <a:gd name="connsiteX3" fmla="*/ 0 w 685800"/>
                <a:gd name="connsiteY3" fmla="*/ 906066 h 904875"/>
                <a:gd name="connsiteX4" fmla="*/ 112795 w 685800"/>
                <a:gd name="connsiteY4" fmla="*/ 906066 h 904875"/>
                <a:gd name="connsiteX5" fmla="*/ 112795 w 685800"/>
                <a:gd name="connsiteY5" fmla="*/ 567100 h 904875"/>
                <a:gd name="connsiteX6" fmla="*/ 250965 w 685800"/>
                <a:gd name="connsiteY6" fmla="*/ 567100 h 904875"/>
                <a:gd name="connsiteX7" fmla="*/ 404689 w 685800"/>
                <a:gd name="connsiteY7" fmla="*/ 906066 h 904875"/>
                <a:gd name="connsiteX8" fmla="*/ 694963 w 685800"/>
                <a:gd name="connsiteY8" fmla="*/ 906066 h 904875"/>
                <a:gd name="connsiteX9" fmla="*/ 694782 w 685800"/>
                <a:gd name="connsiteY9" fmla="*/ 905770 h 904875"/>
                <a:gd name="connsiteX10" fmla="*/ 451009 w 685800"/>
                <a:gd name="connsiteY10" fmla="*/ 811635 h 904875"/>
                <a:gd name="connsiteX11" fmla="*/ 343967 w 685800"/>
                <a:gd name="connsiteY11" fmla="*/ 523532 h 904875"/>
                <a:gd name="connsiteX12" fmla="*/ 232743 w 685800"/>
                <a:gd name="connsiteY12" fmla="*/ 388125 h 904875"/>
                <a:gd name="connsiteX13" fmla="*/ 112795 w 685800"/>
                <a:gd name="connsiteY13" fmla="*/ 388125 h 904875"/>
                <a:gd name="connsiteX14" fmla="*/ 112795 w 685800"/>
                <a:gd name="connsiteY14" fmla="*/ 181461 h 904875"/>
                <a:gd name="connsiteX15" fmla="*/ 239153 w 685800"/>
                <a:gd name="connsiteY15" fmla="*/ 181461 h 904875"/>
                <a:gd name="connsiteX16" fmla="*/ 342995 w 685800"/>
                <a:gd name="connsiteY16" fmla="*/ 279749 h 904875"/>
                <a:gd name="connsiteX17" fmla="*/ 232743 w 685800"/>
                <a:gd name="connsiteY17" fmla="*/ 38812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85800" h="904875">
                  <a:moveTo>
                    <a:pt x="343967" y="523532"/>
                  </a:moveTo>
                  <a:lnTo>
                    <a:pt x="343967" y="0"/>
                  </a:lnTo>
                  <a:lnTo>
                    <a:pt x="0" y="0"/>
                  </a:lnTo>
                  <a:lnTo>
                    <a:pt x="0" y="906066"/>
                  </a:lnTo>
                  <a:lnTo>
                    <a:pt x="112795" y="906066"/>
                  </a:lnTo>
                  <a:lnTo>
                    <a:pt x="112795" y="567100"/>
                  </a:lnTo>
                  <a:lnTo>
                    <a:pt x="250965" y="567100"/>
                  </a:lnTo>
                  <a:cubicBezTo>
                    <a:pt x="250965" y="567100"/>
                    <a:pt x="376533" y="830447"/>
                    <a:pt x="404689" y="906066"/>
                  </a:cubicBezTo>
                  <a:lnTo>
                    <a:pt x="694963" y="906066"/>
                  </a:lnTo>
                  <a:lnTo>
                    <a:pt x="694782" y="905770"/>
                  </a:lnTo>
                  <a:cubicBezTo>
                    <a:pt x="587626" y="902084"/>
                    <a:pt x="515950" y="863813"/>
                    <a:pt x="451009" y="811635"/>
                  </a:cubicBezTo>
                  <a:cubicBezTo>
                    <a:pt x="367599" y="744245"/>
                    <a:pt x="343967" y="654720"/>
                    <a:pt x="343967" y="523532"/>
                  </a:cubicBezTo>
                  <a:moveTo>
                    <a:pt x="232743" y="388125"/>
                  </a:moveTo>
                  <a:lnTo>
                    <a:pt x="112795" y="388125"/>
                  </a:lnTo>
                  <a:lnTo>
                    <a:pt x="112795" y="181461"/>
                  </a:lnTo>
                  <a:lnTo>
                    <a:pt x="239153" y="181461"/>
                  </a:lnTo>
                  <a:cubicBezTo>
                    <a:pt x="293837" y="181461"/>
                    <a:pt x="342995" y="212960"/>
                    <a:pt x="342995" y="279749"/>
                  </a:cubicBezTo>
                  <a:cubicBezTo>
                    <a:pt x="342995" y="355340"/>
                    <a:pt x="291989" y="388125"/>
                    <a:pt x="232743" y="388125"/>
                  </a:cubicBezTo>
                </a:path>
              </a:pathLst>
            </a:custGeom>
            <a:solidFill>
              <a:srgbClr val="2484C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reeform: Shape 33">
              <a:extLst>
                <a:ext uri="{FF2B5EF4-FFF2-40B4-BE49-F238E27FC236}">
                  <a16:creationId xmlns:a16="http://schemas.microsoft.com/office/drawing/2014/main" id="{8A354183-FFED-2344-854E-F6CE96EC4F36}"/>
                </a:ext>
              </a:extLst>
            </p:cNvPr>
            <p:cNvSpPr/>
            <p:nvPr/>
          </p:nvSpPr>
          <p:spPr>
            <a:xfrm>
              <a:off x="6032105" y="2976487"/>
              <a:ext cx="342900" cy="904875"/>
            </a:xfrm>
            <a:custGeom>
              <a:avLst/>
              <a:gdLst>
                <a:gd name="connsiteX0" fmla="*/ 268871 w 342900"/>
                <a:gd name="connsiteY0" fmla="*/ 285007 h 904875"/>
                <a:gd name="connsiteX1" fmla="*/ 268871 w 342900"/>
                <a:gd name="connsiteY1" fmla="*/ 243878 h 904875"/>
                <a:gd name="connsiteX2" fmla="*/ 0 w 342900"/>
                <a:gd name="connsiteY2" fmla="*/ 0 h 904875"/>
                <a:gd name="connsiteX3" fmla="*/ 0 w 342900"/>
                <a:gd name="connsiteY3" fmla="*/ 523532 h 904875"/>
                <a:gd name="connsiteX4" fmla="*/ 107052 w 342900"/>
                <a:gd name="connsiteY4" fmla="*/ 811644 h 904875"/>
                <a:gd name="connsiteX5" fmla="*/ 350825 w 342900"/>
                <a:gd name="connsiteY5" fmla="*/ 905789 h 904875"/>
                <a:gd name="connsiteX6" fmla="*/ 130836 w 342900"/>
                <a:gd name="connsiteY6" fmla="*/ 499539 h 904875"/>
                <a:gd name="connsiteX7" fmla="*/ 268871 w 342900"/>
                <a:gd name="connsiteY7" fmla="*/ 285007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2900" h="904875">
                  <a:moveTo>
                    <a:pt x="268871" y="285007"/>
                  </a:moveTo>
                  <a:lnTo>
                    <a:pt x="268871" y="243878"/>
                  </a:lnTo>
                  <a:cubicBezTo>
                    <a:pt x="268871" y="94393"/>
                    <a:pt x="110528" y="0"/>
                    <a:pt x="0" y="0"/>
                  </a:cubicBezTo>
                  <a:lnTo>
                    <a:pt x="0" y="523532"/>
                  </a:lnTo>
                  <a:cubicBezTo>
                    <a:pt x="0" y="654729"/>
                    <a:pt x="23641" y="744264"/>
                    <a:pt x="107052" y="811644"/>
                  </a:cubicBezTo>
                  <a:cubicBezTo>
                    <a:pt x="171993" y="863813"/>
                    <a:pt x="243668" y="902084"/>
                    <a:pt x="350825" y="905789"/>
                  </a:cubicBezTo>
                  <a:lnTo>
                    <a:pt x="130836" y="499539"/>
                  </a:lnTo>
                  <a:cubicBezTo>
                    <a:pt x="130836" y="499539"/>
                    <a:pt x="268871" y="419957"/>
                    <a:pt x="268871" y="285007"/>
                  </a:cubicBezTo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reeform: Shape 34">
              <a:extLst>
                <a:ext uri="{FF2B5EF4-FFF2-40B4-BE49-F238E27FC236}">
                  <a16:creationId xmlns:a16="http://schemas.microsoft.com/office/drawing/2014/main" id="{803AD27C-F04F-CB47-B683-C0CA211ED666}"/>
                </a:ext>
              </a:extLst>
            </p:cNvPr>
            <p:cNvSpPr/>
            <p:nvPr/>
          </p:nvSpPr>
          <p:spPr>
            <a:xfrm>
              <a:off x="5535487" y="2976487"/>
              <a:ext cx="152399" cy="904875"/>
            </a:xfrm>
            <a:custGeom>
              <a:avLst/>
              <a:gdLst>
                <a:gd name="connsiteX0" fmla="*/ 0 w 152400"/>
                <a:gd name="connsiteY0" fmla="*/ 0 h 904875"/>
                <a:gd name="connsiteX1" fmla="*/ 153495 w 152400"/>
                <a:gd name="connsiteY1" fmla="*/ 0 h 904875"/>
                <a:gd name="connsiteX2" fmla="*/ 153495 w 152400"/>
                <a:gd name="connsiteY2" fmla="*/ 906075 h 904875"/>
                <a:gd name="connsiteX3" fmla="*/ 0 w 1524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400" h="904875">
                  <a:moveTo>
                    <a:pt x="0" y="0"/>
                  </a:moveTo>
                  <a:lnTo>
                    <a:pt x="153495" y="0"/>
                  </a:lnTo>
                  <a:lnTo>
                    <a:pt x="153495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7EA950A0-BA97-1444-B8A4-5327CBC40AFE}"/>
              </a:ext>
            </a:extLst>
          </p:cNvPr>
          <p:cNvSpPr/>
          <p:nvPr userDrawn="1"/>
        </p:nvSpPr>
        <p:spPr>
          <a:xfrm>
            <a:off x="0" y="5062500"/>
            <a:ext cx="9144000" cy="81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15" name="Text Placeholder 31">
            <a:extLst>
              <a:ext uri="{FF2B5EF4-FFF2-40B4-BE49-F238E27FC236}">
                <a16:creationId xmlns:a16="http://schemas.microsoft.com/office/drawing/2014/main" id="{B22801EE-D548-784E-B220-37F1A61D4B7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94851" y="1266898"/>
            <a:ext cx="2554300" cy="33360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 marL="600075" indent="-257175">
              <a:buFont typeface="Arial" panose="020B0604020202020204" pitchFamily="34" charset="0"/>
              <a:buChar char="•"/>
              <a:defRPr sz="1500"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GB" dirty="0"/>
              <a:t>First level text</a:t>
            </a:r>
          </a:p>
          <a:p>
            <a:pPr lvl="1"/>
            <a:r>
              <a:rPr lang="en-GB" dirty="0"/>
              <a:t>Second level text</a:t>
            </a:r>
          </a:p>
        </p:txBody>
      </p:sp>
      <p:sp>
        <p:nvSpPr>
          <p:cNvPr id="17" name="Text Placeholder 31">
            <a:extLst>
              <a:ext uri="{FF2B5EF4-FFF2-40B4-BE49-F238E27FC236}">
                <a16:creationId xmlns:a16="http://schemas.microsoft.com/office/drawing/2014/main" id="{6F8B44E6-C904-CD40-9696-681DBC8F647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5413" y="1266898"/>
            <a:ext cx="2554300" cy="33360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 marL="600075" indent="-257175">
              <a:buFont typeface="Arial" panose="020B0604020202020204" pitchFamily="34" charset="0"/>
              <a:buChar char="•"/>
              <a:defRPr sz="1500"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GB" dirty="0"/>
              <a:t>First level text</a:t>
            </a:r>
          </a:p>
          <a:p>
            <a:pPr lvl="1"/>
            <a:r>
              <a:rPr lang="en-GB" dirty="0"/>
              <a:t>Second level text</a:t>
            </a:r>
          </a:p>
        </p:txBody>
      </p:sp>
      <p:sp>
        <p:nvSpPr>
          <p:cNvPr id="18" name="Text Placeholder 31">
            <a:extLst>
              <a:ext uri="{FF2B5EF4-FFF2-40B4-BE49-F238E27FC236}">
                <a16:creationId xmlns:a16="http://schemas.microsoft.com/office/drawing/2014/main" id="{AB6E6468-3D7D-B348-9E13-C3A3863A0F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959524" y="1266898"/>
            <a:ext cx="2554300" cy="33360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  <a:lvl2pPr marL="600075" indent="-257175">
              <a:buFont typeface="Arial" panose="020B0604020202020204" pitchFamily="34" charset="0"/>
              <a:buChar char="•"/>
              <a:defRPr sz="1500"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GB" dirty="0"/>
              <a:t>First level text</a:t>
            </a:r>
          </a:p>
          <a:p>
            <a:pPr lvl="1"/>
            <a:r>
              <a:rPr lang="en-GB" dirty="0"/>
              <a:t>Second level text</a:t>
            </a:r>
          </a:p>
        </p:txBody>
      </p:sp>
    </p:spTree>
    <p:extLst>
      <p:ext uri="{BB962C8B-B14F-4D97-AF65-F5344CB8AC3E}">
        <p14:creationId xmlns:p14="http://schemas.microsoft.com/office/powerpoint/2010/main" val="227277300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&quot;classic&quot;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95970-3985-3548-986D-B4BC32DB9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8076"/>
            <a:ext cx="7176402" cy="773179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r>
              <a:rPr lang="en-GB" dirty="0"/>
              <a:t>Click to edit Master tit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5890C84-0144-7249-9CB7-A8FBCF2286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65984-D348-BF47-86A8-7DC2AFD6D920}" type="datetimeFigureOut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04/09/2021</a:t>
            </a:fld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996512-6932-B147-A42A-FAEBBDF76E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514CE1-8113-3F49-80B0-61D617B509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6F86F5-1EE3-164C-BBF2-87129EE00A76}" type="slidenum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63AE242-92B8-A04E-B436-4253CCD9E177}"/>
              </a:ext>
            </a:extLst>
          </p:cNvPr>
          <p:cNvGrpSpPr/>
          <p:nvPr userDrawn="1"/>
        </p:nvGrpSpPr>
        <p:grpSpPr>
          <a:xfrm>
            <a:off x="7910692" y="412421"/>
            <a:ext cx="604658" cy="363294"/>
            <a:chOff x="5342425" y="2976487"/>
            <a:chExt cx="1506305" cy="905027"/>
          </a:xfrm>
        </p:grpSpPr>
        <p:sp>
          <p:nvSpPr>
            <p:cNvPr id="7" name="Freeform: Shape 30">
              <a:extLst>
                <a:ext uri="{FF2B5EF4-FFF2-40B4-BE49-F238E27FC236}">
                  <a16:creationId xmlns:a16="http://schemas.microsoft.com/office/drawing/2014/main" id="{1A143611-D826-2E4A-A59F-2E51FFA038C5}"/>
                </a:ext>
              </a:extLst>
            </p:cNvPr>
            <p:cNvSpPr/>
            <p:nvPr/>
          </p:nvSpPr>
          <p:spPr>
            <a:xfrm>
              <a:off x="6162929" y="2976631"/>
              <a:ext cx="685801" cy="904876"/>
            </a:xfrm>
            <a:custGeom>
              <a:avLst/>
              <a:gdLst>
                <a:gd name="connsiteX0" fmla="*/ 419281 w 685800"/>
                <a:gd name="connsiteY0" fmla="*/ 0 h 904875"/>
                <a:gd name="connsiteX1" fmla="*/ 419281 w 685800"/>
                <a:gd name="connsiteY1" fmla="*/ 534876 h 904875"/>
                <a:gd name="connsiteX2" fmla="*/ 279302 w 685800"/>
                <a:gd name="connsiteY2" fmla="*/ 702840 h 904875"/>
                <a:gd name="connsiteX3" fmla="*/ 138046 w 685800"/>
                <a:gd name="connsiteY3" fmla="*/ 534876 h 904875"/>
                <a:gd name="connsiteX4" fmla="*/ 138046 w 685800"/>
                <a:gd name="connsiteY4" fmla="*/ 285007 h 904875"/>
                <a:gd name="connsiteX5" fmla="*/ 0 w 685800"/>
                <a:gd name="connsiteY5" fmla="*/ 499529 h 904875"/>
                <a:gd name="connsiteX6" fmla="*/ 219999 w 685800"/>
                <a:gd name="connsiteY6" fmla="*/ 905780 h 904875"/>
                <a:gd name="connsiteX7" fmla="*/ 237125 w 685800"/>
                <a:gd name="connsiteY7" fmla="*/ 906075 h 904875"/>
                <a:gd name="connsiteX8" fmla="*/ 286084 w 685800"/>
                <a:gd name="connsiteY8" fmla="*/ 906075 h 904875"/>
                <a:gd name="connsiteX9" fmla="*/ 584997 w 685800"/>
                <a:gd name="connsiteY9" fmla="*/ 811644 h 904875"/>
                <a:gd name="connsiteX10" fmla="*/ 690658 w 685800"/>
                <a:gd name="connsiteY10" fmla="*/ 523532 h 904875"/>
                <a:gd name="connsiteX11" fmla="*/ 690658 w 685800"/>
                <a:gd name="connsiteY11" fmla="*/ 0 h 904875"/>
                <a:gd name="connsiteX12" fmla="*/ 419281 w 685800"/>
                <a:gd name="connsiteY12" fmla="*/ 0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85800" h="904875">
                  <a:moveTo>
                    <a:pt x="419281" y="0"/>
                  </a:moveTo>
                  <a:lnTo>
                    <a:pt x="419281" y="534876"/>
                  </a:lnTo>
                  <a:cubicBezTo>
                    <a:pt x="419281" y="651358"/>
                    <a:pt x="352911" y="702840"/>
                    <a:pt x="279302" y="702840"/>
                  </a:cubicBezTo>
                  <a:cubicBezTo>
                    <a:pt x="202540" y="702840"/>
                    <a:pt x="138046" y="651358"/>
                    <a:pt x="138046" y="534876"/>
                  </a:cubicBezTo>
                  <a:lnTo>
                    <a:pt x="138046" y="285007"/>
                  </a:lnTo>
                  <a:cubicBezTo>
                    <a:pt x="138046" y="419967"/>
                    <a:pt x="0" y="499529"/>
                    <a:pt x="0" y="499529"/>
                  </a:cubicBezTo>
                  <a:lnTo>
                    <a:pt x="219999" y="905780"/>
                  </a:lnTo>
                  <a:cubicBezTo>
                    <a:pt x="225609" y="905961"/>
                    <a:pt x="231305" y="906075"/>
                    <a:pt x="237125" y="906075"/>
                  </a:cubicBezTo>
                  <a:lnTo>
                    <a:pt x="286084" y="906075"/>
                  </a:lnTo>
                  <a:cubicBezTo>
                    <a:pt x="418700" y="906075"/>
                    <a:pt x="507121" y="874205"/>
                    <a:pt x="584997" y="811644"/>
                  </a:cubicBezTo>
                  <a:cubicBezTo>
                    <a:pt x="668417" y="744255"/>
                    <a:pt x="690658" y="654729"/>
                    <a:pt x="690658" y="523532"/>
                  </a:cubicBezTo>
                  <a:lnTo>
                    <a:pt x="690658" y="0"/>
                  </a:lnTo>
                  <a:lnTo>
                    <a:pt x="419281" y="0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" name="Freeform: Shape 31">
              <a:extLst>
                <a:ext uri="{FF2B5EF4-FFF2-40B4-BE49-F238E27FC236}">
                  <a16:creationId xmlns:a16="http://schemas.microsoft.com/office/drawing/2014/main" id="{9104EE4F-8ABF-F84A-8CCA-81966BA6AFC0}"/>
                </a:ext>
              </a:extLst>
            </p:cNvPr>
            <p:cNvSpPr/>
            <p:nvPr/>
          </p:nvSpPr>
          <p:spPr>
            <a:xfrm>
              <a:off x="5342425" y="2976631"/>
              <a:ext cx="190499" cy="904876"/>
            </a:xfrm>
            <a:custGeom>
              <a:avLst/>
              <a:gdLst>
                <a:gd name="connsiteX0" fmla="*/ 0 w 190500"/>
                <a:gd name="connsiteY0" fmla="*/ 0 h 904875"/>
                <a:gd name="connsiteX1" fmla="*/ 193062 w 190500"/>
                <a:gd name="connsiteY1" fmla="*/ 0 h 904875"/>
                <a:gd name="connsiteX2" fmla="*/ 193062 w 190500"/>
                <a:gd name="connsiteY2" fmla="*/ 906075 h 904875"/>
                <a:gd name="connsiteX3" fmla="*/ 0 w 1905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904875">
                  <a:moveTo>
                    <a:pt x="0" y="0"/>
                  </a:moveTo>
                  <a:lnTo>
                    <a:pt x="193062" y="0"/>
                  </a:lnTo>
                  <a:lnTo>
                    <a:pt x="193062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" name="Freeform: Shape 32">
              <a:extLst>
                <a:ext uri="{FF2B5EF4-FFF2-40B4-BE49-F238E27FC236}">
                  <a16:creationId xmlns:a16="http://schemas.microsoft.com/office/drawing/2014/main" id="{D46CEBAC-7568-7641-AEAF-CF60C8B72490}"/>
                </a:ext>
              </a:extLst>
            </p:cNvPr>
            <p:cNvSpPr/>
            <p:nvPr/>
          </p:nvSpPr>
          <p:spPr>
            <a:xfrm>
              <a:off x="5688984" y="2976638"/>
              <a:ext cx="685801" cy="904876"/>
            </a:xfrm>
            <a:custGeom>
              <a:avLst/>
              <a:gdLst>
                <a:gd name="connsiteX0" fmla="*/ 343967 w 685800"/>
                <a:gd name="connsiteY0" fmla="*/ 523532 h 904875"/>
                <a:gd name="connsiteX1" fmla="*/ 343967 w 685800"/>
                <a:gd name="connsiteY1" fmla="*/ 0 h 904875"/>
                <a:gd name="connsiteX2" fmla="*/ 0 w 685800"/>
                <a:gd name="connsiteY2" fmla="*/ 0 h 904875"/>
                <a:gd name="connsiteX3" fmla="*/ 0 w 685800"/>
                <a:gd name="connsiteY3" fmla="*/ 906066 h 904875"/>
                <a:gd name="connsiteX4" fmla="*/ 112795 w 685800"/>
                <a:gd name="connsiteY4" fmla="*/ 906066 h 904875"/>
                <a:gd name="connsiteX5" fmla="*/ 112795 w 685800"/>
                <a:gd name="connsiteY5" fmla="*/ 567100 h 904875"/>
                <a:gd name="connsiteX6" fmla="*/ 250965 w 685800"/>
                <a:gd name="connsiteY6" fmla="*/ 567100 h 904875"/>
                <a:gd name="connsiteX7" fmla="*/ 404689 w 685800"/>
                <a:gd name="connsiteY7" fmla="*/ 906066 h 904875"/>
                <a:gd name="connsiteX8" fmla="*/ 694963 w 685800"/>
                <a:gd name="connsiteY8" fmla="*/ 906066 h 904875"/>
                <a:gd name="connsiteX9" fmla="*/ 694782 w 685800"/>
                <a:gd name="connsiteY9" fmla="*/ 905770 h 904875"/>
                <a:gd name="connsiteX10" fmla="*/ 451009 w 685800"/>
                <a:gd name="connsiteY10" fmla="*/ 811635 h 904875"/>
                <a:gd name="connsiteX11" fmla="*/ 343967 w 685800"/>
                <a:gd name="connsiteY11" fmla="*/ 523532 h 904875"/>
                <a:gd name="connsiteX12" fmla="*/ 232743 w 685800"/>
                <a:gd name="connsiteY12" fmla="*/ 388125 h 904875"/>
                <a:gd name="connsiteX13" fmla="*/ 112795 w 685800"/>
                <a:gd name="connsiteY13" fmla="*/ 388125 h 904875"/>
                <a:gd name="connsiteX14" fmla="*/ 112795 w 685800"/>
                <a:gd name="connsiteY14" fmla="*/ 181461 h 904875"/>
                <a:gd name="connsiteX15" fmla="*/ 239153 w 685800"/>
                <a:gd name="connsiteY15" fmla="*/ 181461 h 904875"/>
                <a:gd name="connsiteX16" fmla="*/ 342995 w 685800"/>
                <a:gd name="connsiteY16" fmla="*/ 279749 h 904875"/>
                <a:gd name="connsiteX17" fmla="*/ 232743 w 685800"/>
                <a:gd name="connsiteY17" fmla="*/ 38812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85800" h="904875">
                  <a:moveTo>
                    <a:pt x="343967" y="523532"/>
                  </a:moveTo>
                  <a:lnTo>
                    <a:pt x="343967" y="0"/>
                  </a:lnTo>
                  <a:lnTo>
                    <a:pt x="0" y="0"/>
                  </a:lnTo>
                  <a:lnTo>
                    <a:pt x="0" y="906066"/>
                  </a:lnTo>
                  <a:lnTo>
                    <a:pt x="112795" y="906066"/>
                  </a:lnTo>
                  <a:lnTo>
                    <a:pt x="112795" y="567100"/>
                  </a:lnTo>
                  <a:lnTo>
                    <a:pt x="250965" y="567100"/>
                  </a:lnTo>
                  <a:cubicBezTo>
                    <a:pt x="250965" y="567100"/>
                    <a:pt x="376533" y="830447"/>
                    <a:pt x="404689" y="906066"/>
                  </a:cubicBezTo>
                  <a:lnTo>
                    <a:pt x="694963" y="906066"/>
                  </a:lnTo>
                  <a:lnTo>
                    <a:pt x="694782" y="905770"/>
                  </a:lnTo>
                  <a:cubicBezTo>
                    <a:pt x="587626" y="902084"/>
                    <a:pt x="515950" y="863813"/>
                    <a:pt x="451009" y="811635"/>
                  </a:cubicBezTo>
                  <a:cubicBezTo>
                    <a:pt x="367599" y="744245"/>
                    <a:pt x="343967" y="654720"/>
                    <a:pt x="343967" y="523532"/>
                  </a:cubicBezTo>
                  <a:moveTo>
                    <a:pt x="232743" y="388125"/>
                  </a:moveTo>
                  <a:lnTo>
                    <a:pt x="112795" y="388125"/>
                  </a:lnTo>
                  <a:lnTo>
                    <a:pt x="112795" y="181461"/>
                  </a:lnTo>
                  <a:lnTo>
                    <a:pt x="239153" y="181461"/>
                  </a:lnTo>
                  <a:cubicBezTo>
                    <a:pt x="293837" y="181461"/>
                    <a:pt x="342995" y="212960"/>
                    <a:pt x="342995" y="279749"/>
                  </a:cubicBezTo>
                  <a:cubicBezTo>
                    <a:pt x="342995" y="355340"/>
                    <a:pt x="291989" y="388125"/>
                    <a:pt x="232743" y="388125"/>
                  </a:cubicBezTo>
                </a:path>
              </a:pathLst>
            </a:custGeom>
            <a:solidFill>
              <a:srgbClr val="2484C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reeform: Shape 33">
              <a:extLst>
                <a:ext uri="{FF2B5EF4-FFF2-40B4-BE49-F238E27FC236}">
                  <a16:creationId xmlns:a16="http://schemas.microsoft.com/office/drawing/2014/main" id="{8A354183-FFED-2344-854E-F6CE96EC4F36}"/>
                </a:ext>
              </a:extLst>
            </p:cNvPr>
            <p:cNvSpPr/>
            <p:nvPr/>
          </p:nvSpPr>
          <p:spPr>
            <a:xfrm>
              <a:off x="6032105" y="2976487"/>
              <a:ext cx="342900" cy="904875"/>
            </a:xfrm>
            <a:custGeom>
              <a:avLst/>
              <a:gdLst>
                <a:gd name="connsiteX0" fmla="*/ 268871 w 342900"/>
                <a:gd name="connsiteY0" fmla="*/ 285007 h 904875"/>
                <a:gd name="connsiteX1" fmla="*/ 268871 w 342900"/>
                <a:gd name="connsiteY1" fmla="*/ 243878 h 904875"/>
                <a:gd name="connsiteX2" fmla="*/ 0 w 342900"/>
                <a:gd name="connsiteY2" fmla="*/ 0 h 904875"/>
                <a:gd name="connsiteX3" fmla="*/ 0 w 342900"/>
                <a:gd name="connsiteY3" fmla="*/ 523532 h 904875"/>
                <a:gd name="connsiteX4" fmla="*/ 107052 w 342900"/>
                <a:gd name="connsiteY4" fmla="*/ 811644 h 904875"/>
                <a:gd name="connsiteX5" fmla="*/ 350825 w 342900"/>
                <a:gd name="connsiteY5" fmla="*/ 905789 h 904875"/>
                <a:gd name="connsiteX6" fmla="*/ 130836 w 342900"/>
                <a:gd name="connsiteY6" fmla="*/ 499539 h 904875"/>
                <a:gd name="connsiteX7" fmla="*/ 268871 w 342900"/>
                <a:gd name="connsiteY7" fmla="*/ 285007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2900" h="904875">
                  <a:moveTo>
                    <a:pt x="268871" y="285007"/>
                  </a:moveTo>
                  <a:lnTo>
                    <a:pt x="268871" y="243878"/>
                  </a:lnTo>
                  <a:cubicBezTo>
                    <a:pt x="268871" y="94393"/>
                    <a:pt x="110528" y="0"/>
                    <a:pt x="0" y="0"/>
                  </a:cubicBezTo>
                  <a:lnTo>
                    <a:pt x="0" y="523532"/>
                  </a:lnTo>
                  <a:cubicBezTo>
                    <a:pt x="0" y="654729"/>
                    <a:pt x="23641" y="744264"/>
                    <a:pt x="107052" y="811644"/>
                  </a:cubicBezTo>
                  <a:cubicBezTo>
                    <a:pt x="171993" y="863813"/>
                    <a:pt x="243668" y="902084"/>
                    <a:pt x="350825" y="905789"/>
                  </a:cubicBezTo>
                  <a:lnTo>
                    <a:pt x="130836" y="499539"/>
                  </a:lnTo>
                  <a:cubicBezTo>
                    <a:pt x="130836" y="499539"/>
                    <a:pt x="268871" y="419957"/>
                    <a:pt x="268871" y="285007"/>
                  </a:cubicBezTo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reeform: Shape 34">
              <a:extLst>
                <a:ext uri="{FF2B5EF4-FFF2-40B4-BE49-F238E27FC236}">
                  <a16:creationId xmlns:a16="http://schemas.microsoft.com/office/drawing/2014/main" id="{803AD27C-F04F-CB47-B683-C0CA211ED666}"/>
                </a:ext>
              </a:extLst>
            </p:cNvPr>
            <p:cNvSpPr/>
            <p:nvPr/>
          </p:nvSpPr>
          <p:spPr>
            <a:xfrm>
              <a:off x="5535487" y="2976487"/>
              <a:ext cx="152399" cy="904875"/>
            </a:xfrm>
            <a:custGeom>
              <a:avLst/>
              <a:gdLst>
                <a:gd name="connsiteX0" fmla="*/ 0 w 152400"/>
                <a:gd name="connsiteY0" fmla="*/ 0 h 904875"/>
                <a:gd name="connsiteX1" fmla="*/ 153495 w 152400"/>
                <a:gd name="connsiteY1" fmla="*/ 0 h 904875"/>
                <a:gd name="connsiteX2" fmla="*/ 153495 w 152400"/>
                <a:gd name="connsiteY2" fmla="*/ 906075 h 904875"/>
                <a:gd name="connsiteX3" fmla="*/ 0 w 1524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400" h="904875">
                  <a:moveTo>
                    <a:pt x="0" y="0"/>
                  </a:moveTo>
                  <a:lnTo>
                    <a:pt x="153495" y="0"/>
                  </a:lnTo>
                  <a:lnTo>
                    <a:pt x="153495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7EA950A0-BA97-1444-B8A4-5327CBC40AFE}"/>
              </a:ext>
            </a:extLst>
          </p:cNvPr>
          <p:cNvSpPr/>
          <p:nvPr userDrawn="1"/>
        </p:nvSpPr>
        <p:spPr>
          <a:xfrm>
            <a:off x="0" y="5062500"/>
            <a:ext cx="9144000" cy="81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608858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1A36BA20-3217-CA49-B261-BDB0DD42334F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722200" y="2071797"/>
            <a:ext cx="2085321" cy="1418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69C6C87E-52E0-FB4D-879D-729C5F579F3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340234" y="2893878"/>
            <a:ext cx="2085321" cy="1418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F80E43A-5313-514D-AACC-3749869CF8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65984-D348-BF47-86A8-7DC2AFD6D920}" type="datetimeFigureOut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04/09/2021</a:t>
            </a:fld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AB9E8F-135B-B54D-A175-912FD89467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A42FDC5-D2E1-FD44-B5AF-A4DC2B00DF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6F86F5-1EE3-164C-BBF2-87129EE00A76}" type="slidenum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3" name="Title 24">
            <a:extLst>
              <a:ext uri="{FF2B5EF4-FFF2-40B4-BE49-F238E27FC236}">
                <a16:creationId xmlns:a16="http://schemas.microsoft.com/office/drawing/2014/main" id="{2FFC9630-9A00-E642-A337-106ACE6B85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71620"/>
            <a:ext cx="2366023" cy="644004"/>
          </a:xfrm>
          <a:prstGeom prst="rect">
            <a:avLst/>
          </a:prstGeom>
          <a:solidFill>
            <a:srgbClr val="0C95C6">
              <a:alpha val="9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72000" rIns="36000" bIns="7200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>
              <a:defRPr lang="en-US" sz="3600" dirty="0">
                <a:solidFill>
                  <a:schemeClr val="bg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</a:lstStyle>
          <a:p>
            <a:pPr marL="301229" lvl="0">
              <a:tabLst>
                <a:tab pos="255985" algn="l"/>
                <a:tab pos="301229" algn="l"/>
              </a:tabLst>
            </a:pPr>
            <a:r>
              <a:rPr lang="en-GB" dirty="0"/>
              <a:t>  CLICK TO</a:t>
            </a:r>
            <a:endParaRPr lang="en-US" dirty="0"/>
          </a:p>
        </p:txBody>
      </p:sp>
      <p:sp>
        <p:nvSpPr>
          <p:cNvPr id="14" name="Text Placeholder 29">
            <a:extLst>
              <a:ext uri="{FF2B5EF4-FFF2-40B4-BE49-F238E27FC236}">
                <a16:creationId xmlns:a16="http://schemas.microsoft.com/office/drawing/2014/main" id="{6FDE16C0-4112-3648-AEB2-E1C8D8724D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1" y="788199"/>
            <a:ext cx="2531064" cy="571301"/>
          </a:xfrm>
          <a:prstGeom prst="rect">
            <a:avLst/>
          </a:prstGeom>
          <a:solidFill>
            <a:srgbClr val="19B6F1">
              <a:alpha val="9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" tIns="36000" rIns="72000" bIns="36000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lvl1pPr marL="129779" indent="0">
              <a:buNone/>
              <a:defRPr lang="en-GB" sz="3600" dirty="0" smtClean="0">
                <a:solidFill>
                  <a:schemeClr val="bg1"/>
                </a:solidFill>
                <a:latin typeface="Corbel" panose="020B0503020204020204" pitchFamily="34" charset="0"/>
              </a:defRPr>
            </a:lvl1pPr>
            <a:lvl2pPr>
              <a:defRPr lang="en-GB" sz="1350" dirty="0" smtClean="0">
                <a:solidFill>
                  <a:schemeClr val="lt1"/>
                </a:solidFill>
                <a:latin typeface="Corbel" panose="020B0503020204020204" pitchFamily="34" charset="0"/>
              </a:defRPr>
            </a:lvl2pPr>
            <a:lvl3pPr>
              <a:defRPr lang="en-GB" sz="1350" dirty="0" smtClean="0">
                <a:solidFill>
                  <a:schemeClr val="lt1"/>
                </a:solidFill>
                <a:latin typeface="Corbel" panose="020B0503020204020204" pitchFamily="34" charset="0"/>
              </a:defRPr>
            </a:lvl3pPr>
            <a:lvl4pPr>
              <a:defRPr lang="en-GB" dirty="0" smtClean="0">
                <a:solidFill>
                  <a:schemeClr val="lt1"/>
                </a:solidFill>
                <a:latin typeface="Corbel" panose="020B0503020204020204" pitchFamily="34" charset="0"/>
              </a:defRPr>
            </a:lvl4pPr>
            <a:lvl5pPr>
              <a:defRPr lang="en-US" dirty="0">
                <a:solidFill>
                  <a:schemeClr val="lt1"/>
                </a:solidFill>
                <a:latin typeface="Corbel" panose="020B0503020204020204" pitchFamily="34" charset="0"/>
              </a:defRPr>
            </a:lvl5pPr>
          </a:lstStyle>
          <a:p>
            <a:pPr marL="301229" lvl="0"/>
            <a:r>
              <a:rPr lang="en-GB" dirty="0"/>
              <a:t>EDIT TITLE</a:t>
            </a:r>
            <a:endParaRPr lang="en-US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9CF7C97-3FF9-3D4B-8DE0-8E622FE3DBF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92186" y="4839295"/>
            <a:ext cx="216000" cy="129778"/>
            <a:chOff x="5342425" y="2976487"/>
            <a:chExt cx="1506305" cy="905027"/>
          </a:xfrm>
        </p:grpSpPr>
        <p:sp>
          <p:nvSpPr>
            <p:cNvPr id="18" name="Freeform: Shape 30">
              <a:extLst>
                <a:ext uri="{FF2B5EF4-FFF2-40B4-BE49-F238E27FC236}">
                  <a16:creationId xmlns:a16="http://schemas.microsoft.com/office/drawing/2014/main" id="{3877911D-5A99-134E-993C-02A616ED41CA}"/>
                </a:ext>
              </a:extLst>
            </p:cNvPr>
            <p:cNvSpPr/>
            <p:nvPr/>
          </p:nvSpPr>
          <p:spPr>
            <a:xfrm>
              <a:off x="6162929" y="2976631"/>
              <a:ext cx="685801" cy="904876"/>
            </a:xfrm>
            <a:custGeom>
              <a:avLst/>
              <a:gdLst>
                <a:gd name="connsiteX0" fmla="*/ 419281 w 685800"/>
                <a:gd name="connsiteY0" fmla="*/ 0 h 904875"/>
                <a:gd name="connsiteX1" fmla="*/ 419281 w 685800"/>
                <a:gd name="connsiteY1" fmla="*/ 534876 h 904875"/>
                <a:gd name="connsiteX2" fmla="*/ 279302 w 685800"/>
                <a:gd name="connsiteY2" fmla="*/ 702840 h 904875"/>
                <a:gd name="connsiteX3" fmla="*/ 138046 w 685800"/>
                <a:gd name="connsiteY3" fmla="*/ 534876 h 904875"/>
                <a:gd name="connsiteX4" fmla="*/ 138046 w 685800"/>
                <a:gd name="connsiteY4" fmla="*/ 285007 h 904875"/>
                <a:gd name="connsiteX5" fmla="*/ 0 w 685800"/>
                <a:gd name="connsiteY5" fmla="*/ 499529 h 904875"/>
                <a:gd name="connsiteX6" fmla="*/ 219999 w 685800"/>
                <a:gd name="connsiteY6" fmla="*/ 905780 h 904875"/>
                <a:gd name="connsiteX7" fmla="*/ 237125 w 685800"/>
                <a:gd name="connsiteY7" fmla="*/ 906075 h 904875"/>
                <a:gd name="connsiteX8" fmla="*/ 286084 w 685800"/>
                <a:gd name="connsiteY8" fmla="*/ 906075 h 904875"/>
                <a:gd name="connsiteX9" fmla="*/ 584997 w 685800"/>
                <a:gd name="connsiteY9" fmla="*/ 811644 h 904875"/>
                <a:gd name="connsiteX10" fmla="*/ 690658 w 685800"/>
                <a:gd name="connsiteY10" fmla="*/ 523532 h 904875"/>
                <a:gd name="connsiteX11" fmla="*/ 690658 w 685800"/>
                <a:gd name="connsiteY11" fmla="*/ 0 h 904875"/>
                <a:gd name="connsiteX12" fmla="*/ 419281 w 685800"/>
                <a:gd name="connsiteY12" fmla="*/ 0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85800" h="904875">
                  <a:moveTo>
                    <a:pt x="419281" y="0"/>
                  </a:moveTo>
                  <a:lnTo>
                    <a:pt x="419281" y="534876"/>
                  </a:lnTo>
                  <a:cubicBezTo>
                    <a:pt x="419281" y="651358"/>
                    <a:pt x="352911" y="702840"/>
                    <a:pt x="279302" y="702840"/>
                  </a:cubicBezTo>
                  <a:cubicBezTo>
                    <a:pt x="202540" y="702840"/>
                    <a:pt x="138046" y="651358"/>
                    <a:pt x="138046" y="534876"/>
                  </a:cubicBezTo>
                  <a:lnTo>
                    <a:pt x="138046" y="285007"/>
                  </a:lnTo>
                  <a:cubicBezTo>
                    <a:pt x="138046" y="419967"/>
                    <a:pt x="0" y="499529"/>
                    <a:pt x="0" y="499529"/>
                  </a:cubicBezTo>
                  <a:lnTo>
                    <a:pt x="219999" y="905780"/>
                  </a:lnTo>
                  <a:cubicBezTo>
                    <a:pt x="225609" y="905961"/>
                    <a:pt x="231305" y="906075"/>
                    <a:pt x="237125" y="906075"/>
                  </a:cubicBezTo>
                  <a:lnTo>
                    <a:pt x="286084" y="906075"/>
                  </a:lnTo>
                  <a:cubicBezTo>
                    <a:pt x="418700" y="906075"/>
                    <a:pt x="507121" y="874205"/>
                    <a:pt x="584997" y="811644"/>
                  </a:cubicBezTo>
                  <a:cubicBezTo>
                    <a:pt x="668417" y="744255"/>
                    <a:pt x="690658" y="654729"/>
                    <a:pt x="690658" y="523532"/>
                  </a:cubicBezTo>
                  <a:lnTo>
                    <a:pt x="690658" y="0"/>
                  </a:lnTo>
                  <a:lnTo>
                    <a:pt x="419281" y="0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reeform: Shape 31">
              <a:extLst>
                <a:ext uri="{FF2B5EF4-FFF2-40B4-BE49-F238E27FC236}">
                  <a16:creationId xmlns:a16="http://schemas.microsoft.com/office/drawing/2014/main" id="{8E94697A-3CB9-F742-9502-86B841DD74B5}"/>
                </a:ext>
              </a:extLst>
            </p:cNvPr>
            <p:cNvSpPr/>
            <p:nvPr/>
          </p:nvSpPr>
          <p:spPr>
            <a:xfrm>
              <a:off x="5342425" y="2976631"/>
              <a:ext cx="190499" cy="904876"/>
            </a:xfrm>
            <a:custGeom>
              <a:avLst/>
              <a:gdLst>
                <a:gd name="connsiteX0" fmla="*/ 0 w 190500"/>
                <a:gd name="connsiteY0" fmla="*/ 0 h 904875"/>
                <a:gd name="connsiteX1" fmla="*/ 193062 w 190500"/>
                <a:gd name="connsiteY1" fmla="*/ 0 h 904875"/>
                <a:gd name="connsiteX2" fmla="*/ 193062 w 190500"/>
                <a:gd name="connsiteY2" fmla="*/ 906075 h 904875"/>
                <a:gd name="connsiteX3" fmla="*/ 0 w 1905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904875">
                  <a:moveTo>
                    <a:pt x="0" y="0"/>
                  </a:moveTo>
                  <a:lnTo>
                    <a:pt x="193062" y="0"/>
                  </a:lnTo>
                  <a:lnTo>
                    <a:pt x="193062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reeform: Shape 32">
              <a:extLst>
                <a:ext uri="{FF2B5EF4-FFF2-40B4-BE49-F238E27FC236}">
                  <a16:creationId xmlns:a16="http://schemas.microsoft.com/office/drawing/2014/main" id="{687917CE-6A7A-6F43-B94B-A518F23DC1FA}"/>
                </a:ext>
              </a:extLst>
            </p:cNvPr>
            <p:cNvSpPr/>
            <p:nvPr/>
          </p:nvSpPr>
          <p:spPr>
            <a:xfrm>
              <a:off x="5688984" y="2976638"/>
              <a:ext cx="685801" cy="904876"/>
            </a:xfrm>
            <a:custGeom>
              <a:avLst/>
              <a:gdLst>
                <a:gd name="connsiteX0" fmla="*/ 343967 w 685800"/>
                <a:gd name="connsiteY0" fmla="*/ 523532 h 904875"/>
                <a:gd name="connsiteX1" fmla="*/ 343967 w 685800"/>
                <a:gd name="connsiteY1" fmla="*/ 0 h 904875"/>
                <a:gd name="connsiteX2" fmla="*/ 0 w 685800"/>
                <a:gd name="connsiteY2" fmla="*/ 0 h 904875"/>
                <a:gd name="connsiteX3" fmla="*/ 0 w 685800"/>
                <a:gd name="connsiteY3" fmla="*/ 906066 h 904875"/>
                <a:gd name="connsiteX4" fmla="*/ 112795 w 685800"/>
                <a:gd name="connsiteY4" fmla="*/ 906066 h 904875"/>
                <a:gd name="connsiteX5" fmla="*/ 112795 w 685800"/>
                <a:gd name="connsiteY5" fmla="*/ 567100 h 904875"/>
                <a:gd name="connsiteX6" fmla="*/ 250965 w 685800"/>
                <a:gd name="connsiteY6" fmla="*/ 567100 h 904875"/>
                <a:gd name="connsiteX7" fmla="*/ 404689 w 685800"/>
                <a:gd name="connsiteY7" fmla="*/ 906066 h 904875"/>
                <a:gd name="connsiteX8" fmla="*/ 694963 w 685800"/>
                <a:gd name="connsiteY8" fmla="*/ 906066 h 904875"/>
                <a:gd name="connsiteX9" fmla="*/ 694782 w 685800"/>
                <a:gd name="connsiteY9" fmla="*/ 905770 h 904875"/>
                <a:gd name="connsiteX10" fmla="*/ 451009 w 685800"/>
                <a:gd name="connsiteY10" fmla="*/ 811635 h 904875"/>
                <a:gd name="connsiteX11" fmla="*/ 343967 w 685800"/>
                <a:gd name="connsiteY11" fmla="*/ 523532 h 904875"/>
                <a:gd name="connsiteX12" fmla="*/ 232743 w 685800"/>
                <a:gd name="connsiteY12" fmla="*/ 388125 h 904875"/>
                <a:gd name="connsiteX13" fmla="*/ 112795 w 685800"/>
                <a:gd name="connsiteY13" fmla="*/ 388125 h 904875"/>
                <a:gd name="connsiteX14" fmla="*/ 112795 w 685800"/>
                <a:gd name="connsiteY14" fmla="*/ 181461 h 904875"/>
                <a:gd name="connsiteX15" fmla="*/ 239153 w 685800"/>
                <a:gd name="connsiteY15" fmla="*/ 181461 h 904875"/>
                <a:gd name="connsiteX16" fmla="*/ 342995 w 685800"/>
                <a:gd name="connsiteY16" fmla="*/ 279749 h 904875"/>
                <a:gd name="connsiteX17" fmla="*/ 232743 w 685800"/>
                <a:gd name="connsiteY17" fmla="*/ 38812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85800" h="904875">
                  <a:moveTo>
                    <a:pt x="343967" y="523532"/>
                  </a:moveTo>
                  <a:lnTo>
                    <a:pt x="343967" y="0"/>
                  </a:lnTo>
                  <a:lnTo>
                    <a:pt x="0" y="0"/>
                  </a:lnTo>
                  <a:lnTo>
                    <a:pt x="0" y="906066"/>
                  </a:lnTo>
                  <a:lnTo>
                    <a:pt x="112795" y="906066"/>
                  </a:lnTo>
                  <a:lnTo>
                    <a:pt x="112795" y="567100"/>
                  </a:lnTo>
                  <a:lnTo>
                    <a:pt x="250965" y="567100"/>
                  </a:lnTo>
                  <a:cubicBezTo>
                    <a:pt x="250965" y="567100"/>
                    <a:pt x="376533" y="830447"/>
                    <a:pt x="404689" y="906066"/>
                  </a:cubicBezTo>
                  <a:lnTo>
                    <a:pt x="694963" y="906066"/>
                  </a:lnTo>
                  <a:lnTo>
                    <a:pt x="694782" y="905770"/>
                  </a:lnTo>
                  <a:cubicBezTo>
                    <a:pt x="587626" y="902084"/>
                    <a:pt x="515950" y="863813"/>
                    <a:pt x="451009" y="811635"/>
                  </a:cubicBezTo>
                  <a:cubicBezTo>
                    <a:pt x="367599" y="744245"/>
                    <a:pt x="343967" y="654720"/>
                    <a:pt x="343967" y="523532"/>
                  </a:cubicBezTo>
                  <a:moveTo>
                    <a:pt x="232743" y="388125"/>
                  </a:moveTo>
                  <a:lnTo>
                    <a:pt x="112795" y="388125"/>
                  </a:lnTo>
                  <a:lnTo>
                    <a:pt x="112795" y="181461"/>
                  </a:lnTo>
                  <a:lnTo>
                    <a:pt x="239153" y="181461"/>
                  </a:lnTo>
                  <a:cubicBezTo>
                    <a:pt x="293837" y="181461"/>
                    <a:pt x="342995" y="212960"/>
                    <a:pt x="342995" y="279749"/>
                  </a:cubicBezTo>
                  <a:cubicBezTo>
                    <a:pt x="342995" y="355340"/>
                    <a:pt x="291989" y="388125"/>
                    <a:pt x="232743" y="388125"/>
                  </a:cubicBezTo>
                </a:path>
              </a:pathLst>
            </a:custGeom>
            <a:solidFill>
              <a:srgbClr val="2484C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reeform: Shape 33">
              <a:extLst>
                <a:ext uri="{FF2B5EF4-FFF2-40B4-BE49-F238E27FC236}">
                  <a16:creationId xmlns:a16="http://schemas.microsoft.com/office/drawing/2014/main" id="{0B0D7ECD-292C-504A-BC8C-1703ED306088}"/>
                </a:ext>
              </a:extLst>
            </p:cNvPr>
            <p:cNvSpPr/>
            <p:nvPr/>
          </p:nvSpPr>
          <p:spPr>
            <a:xfrm>
              <a:off x="6032105" y="2976487"/>
              <a:ext cx="342900" cy="904875"/>
            </a:xfrm>
            <a:custGeom>
              <a:avLst/>
              <a:gdLst>
                <a:gd name="connsiteX0" fmla="*/ 268871 w 342900"/>
                <a:gd name="connsiteY0" fmla="*/ 285007 h 904875"/>
                <a:gd name="connsiteX1" fmla="*/ 268871 w 342900"/>
                <a:gd name="connsiteY1" fmla="*/ 243878 h 904875"/>
                <a:gd name="connsiteX2" fmla="*/ 0 w 342900"/>
                <a:gd name="connsiteY2" fmla="*/ 0 h 904875"/>
                <a:gd name="connsiteX3" fmla="*/ 0 w 342900"/>
                <a:gd name="connsiteY3" fmla="*/ 523532 h 904875"/>
                <a:gd name="connsiteX4" fmla="*/ 107052 w 342900"/>
                <a:gd name="connsiteY4" fmla="*/ 811644 h 904875"/>
                <a:gd name="connsiteX5" fmla="*/ 350825 w 342900"/>
                <a:gd name="connsiteY5" fmla="*/ 905789 h 904875"/>
                <a:gd name="connsiteX6" fmla="*/ 130836 w 342900"/>
                <a:gd name="connsiteY6" fmla="*/ 499539 h 904875"/>
                <a:gd name="connsiteX7" fmla="*/ 268871 w 342900"/>
                <a:gd name="connsiteY7" fmla="*/ 285007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2900" h="904875">
                  <a:moveTo>
                    <a:pt x="268871" y="285007"/>
                  </a:moveTo>
                  <a:lnTo>
                    <a:pt x="268871" y="243878"/>
                  </a:lnTo>
                  <a:cubicBezTo>
                    <a:pt x="268871" y="94393"/>
                    <a:pt x="110528" y="0"/>
                    <a:pt x="0" y="0"/>
                  </a:cubicBezTo>
                  <a:lnTo>
                    <a:pt x="0" y="523532"/>
                  </a:lnTo>
                  <a:cubicBezTo>
                    <a:pt x="0" y="654729"/>
                    <a:pt x="23641" y="744264"/>
                    <a:pt x="107052" y="811644"/>
                  </a:cubicBezTo>
                  <a:cubicBezTo>
                    <a:pt x="171993" y="863813"/>
                    <a:pt x="243668" y="902084"/>
                    <a:pt x="350825" y="905789"/>
                  </a:cubicBezTo>
                  <a:lnTo>
                    <a:pt x="130836" y="499539"/>
                  </a:lnTo>
                  <a:cubicBezTo>
                    <a:pt x="130836" y="499539"/>
                    <a:pt x="268871" y="419957"/>
                    <a:pt x="268871" y="285007"/>
                  </a:cubicBezTo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reeform: Shape 34">
              <a:extLst>
                <a:ext uri="{FF2B5EF4-FFF2-40B4-BE49-F238E27FC236}">
                  <a16:creationId xmlns:a16="http://schemas.microsoft.com/office/drawing/2014/main" id="{49DE236C-4871-314F-9880-A2D0BAAC824D}"/>
                </a:ext>
              </a:extLst>
            </p:cNvPr>
            <p:cNvSpPr/>
            <p:nvPr/>
          </p:nvSpPr>
          <p:spPr>
            <a:xfrm>
              <a:off x="5535487" y="2976487"/>
              <a:ext cx="152399" cy="904875"/>
            </a:xfrm>
            <a:custGeom>
              <a:avLst/>
              <a:gdLst>
                <a:gd name="connsiteX0" fmla="*/ 0 w 152400"/>
                <a:gd name="connsiteY0" fmla="*/ 0 h 904875"/>
                <a:gd name="connsiteX1" fmla="*/ 153495 w 152400"/>
                <a:gd name="connsiteY1" fmla="*/ 0 h 904875"/>
                <a:gd name="connsiteX2" fmla="*/ 153495 w 152400"/>
                <a:gd name="connsiteY2" fmla="*/ 906075 h 904875"/>
                <a:gd name="connsiteX3" fmla="*/ 0 w 1524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400" h="904875">
                  <a:moveTo>
                    <a:pt x="0" y="0"/>
                  </a:moveTo>
                  <a:lnTo>
                    <a:pt x="153495" y="0"/>
                  </a:lnTo>
                  <a:lnTo>
                    <a:pt x="153495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604845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AA27C242-D4D2-6F49-8A23-D176CDC2CEF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718445" y="3075628"/>
            <a:ext cx="2085321" cy="1418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4A72BE10-9652-C246-946A-79489CFCF7BB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722200" y="609638"/>
            <a:ext cx="2085321" cy="1418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4AD0F346-B6C3-3849-AD75-7ED520ADC83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340234" y="1836216"/>
            <a:ext cx="2085321" cy="14187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F80E43A-5313-514D-AACC-3749869CF8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65984-D348-BF47-86A8-7DC2AFD6D920}" type="datetimeFigureOut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04/09/2021</a:t>
            </a:fld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AB9E8F-135B-B54D-A175-912FD89467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A42FDC5-D2E1-FD44-B5AF-A4DC2B00DF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6F86F5-1EE3-164C-BBF2-87129EE00A76}" type="slidenum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/>
              <a:t>‹#›</a:t>
            </a:fld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5B422BF-60D8-5645-A987-7358EBF31AF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692186" y="4839295"/>
            <a:ext cx="216000" cy="129778"/>
            <a:chOff x="5342425" y="2976487"/>
            <a:chExt cx="1506305" cy="905027"/>
          </a:xfrm>
        </p:grpSpPr>
        <p:sp>
          <p:nvSpPr>
            <p:cNvPr id="15" name="Freeform: Shape 30">
              <a:extLst>
                <a:ext uri="{FF2B5EF4-FFF2-40B4-BE49-F238E27FC236}">
                  <a16:creationId xmlns:a16="http://schemas.microsoft.com/office/drawing/2014/main" id="{1A32058F-57B4-F041-8678-CDC838541316}"/>
                </a:ext>
              </a:extLst>
            </p:cNvPr>
            <p:cNvSpPr/>
            <p:nvPr/>
          </p:nvSpPr>
          <p:spPr>
            <a:xfrm>
              <a:off x="6162929" y="2976631"/>
              <a:ext cx="685801" cy="904876"/>
            </a:xfrm>
            <a:custGeom>
              <a:avLst/>
              <a:gdLst>
                <a:gd name="connsiteX0" fmla="*/ 419281 w 685800"/>
                <a:gd name="connsiteY0" fmla="*/ 0 h 904875"/>
                <a:gd name="connsiteX1" fmla="*/ 419281 w 685800"/>
                <a:gd name="connsiteY1" fmla="*/ 534876 h 904875"/>
                <a:gd name="connsiteX2" fmla="*/ 279302 w 685800"/>
                <a:gd name="connsiteY2" fmla="*/ 702840 h 904875"/>
                <a:gd name="connsiteX3" fmla="*/ 138046 w 685800"/>
                <a:gd name="connsiteY3" fmla="*/ 534876 h 904875"/>
                <a:gd name="connsiteX4" fmla="*/ 138046 w 685800"/>
                <a:gd name="connsiteY4" fmla="*/ 285007 h 904875"/>
                <a:gd name="connsiteX5" fmla="*/ 0 w 685800"/>
                <a:gd name="connsiteY5" fmla="*/ 499529 h 904875"/>
                <a:gd name="connsiteX6" fmla="*/ 219999 w 685800"/>
                <a:gd name="connsiteY6" fmla="*/ 905780 h 904875"/>
                <a:gd name="connsiteX7" fmla="*/ 237125 w 685800"/>
                <a:gd name="connsiteY7" fmla="*/ 906075 h 904875"/>
                <a:gd name="connsiteX8" fmla="*/ 286084 w 685800"/>
                <a:gd name="connsiteY8" fmla="*/ 906075 h 904875"/>
                <a:gd name="connsiteX9" fmla="*/ 584997 w 685800"/>
                <a:gd name="connsiteY9" fmla="*/ 811644 h 904875"/>
                <a:gd name="connsiteX10" fmla="*/ 690658 w 685800"/>
                <a:gd name="connsiteY10" fmla="*/ 523532 h 904875"/>
                <a:gd name="connsiteX11" fmla="*/ 690658 w 685800"/>
                <a:gd name="connsiteY11" fmla="*/ 0 h 904875"/>
                <a:gd name="connsiteX12" fmla="*/ 419281 w 685800"/>
                <a:gd name="connsiteY12" fmla="*/ 0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85800" h="904875">
                  <a:moveTo>
                    <a:pt x="419281" y="0"/>
                  </a:moveTo>
                  <a:lnTo>
                    <a:pt x="419281" y="534876"/>
                  </a:lnTo>
                  <a:cubicBezTo>
                    <a:pt x="419281" y="651358"/>
                    <a:pt x="352911" y="702840"/>
                    <a:pt x="279302" y="702840"/>
                  </a:cubicBezTo>
                  <a:cubicBezTo>
                    <a:pt x="202540" y="702840"/>
                    <a:pt x="138046" y="651358"/>
                    <a:pt x="138046" y="534876"/>
                  </a:cubicBezTo>
                  <a:lnTo>
                    <a:pt x="138046" y="285007"/>
                  </a:lnTo>
                  <a:cubicBezTo>
                    <a:pt x="138046" y="419967"/>
                    <a:pt x="0" y="499529"/>
                    <a:pt x="0" y="499529"/>
                  </a:cubicBezTo>
                  <a:lnTo>
                    <a:pt x="219999" y="905780"/>
                  </a:lnTo>
                  <a:cubicBezTo>
                    <a:pt x="225609" y="905961"/>
                    <a:pt x="231305" y="906075"/>
                    <a:pt x="237125" y="906075"/>
                  </a:cubicBezTo>
                  <a:lnTo>
                    <a:pt x="286084" y="906075"/>
                  </a:lnTo>
                  <a:cubicBezTo>
                    <a:pt x="418700" y="906075"/>
                    <a:pt x="507121" y="874205"/>
                    <a:pt x="584997" y="811644"/>
                  </a:cubicBezTo>
                  <a:cubicBezTo>
                    <a:pt x="668417" y="744255"/>
                    <a:pt x="690658" y="654729"/>
                    <a:pt x="690658" y="523532"/>
                  </a:cubicBezTo>
                  <a:lnTo>
                    <a:pt x="690658" y="0"/>
                  </a:lnTo>
                  <a:lnTo>
                    <a:pt x="419281" y="0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reeform: Shape 31">
              <a:extLst>
                <a:ext uri="{FF2B5EF4-FFF2-40B4-BE49-F238E27FC236}">
                  <a16:creationId xmlns:a16="http://schemas.microsoft.com/office/drawing/2014/main" id="{775E6B47-585C-B643-B83B-F34FCB19B055}"/>
                </a:ext>
              </a:extLst>
            </p:cNvPr>
            <p:cNvSpPr/>
            <p:nvPr/>
          </p:nvSpPr>
          <p:spPr>
            <a:xfrm>
              <a:off x="5342425" y="2976631"/>
              <a:ext cx="190499" cy="904876"/>
            </a:xfrm>
            <a:custGeom>
              <a:avLst/>
              <a:gdLst>
                <a:gd name="connsiteX0" fmla="*/ 0 w 190500"/>
                <a:gd name="connsiteY0" fmla="*/ 0 h 904875"/>
                <a:gd name="connsiteX1" fmla="*/ 193062 w 190500"/>
                <a:gd name="connsiteY1" fmla="*/ 0 h 904875"/>
                <a:gd name="connsiteX2" fmla="*/ 193062 w 190500"/>
                <a:gd name="connsiteY2" fmla="*/ 906075 h 904875"/>
                <a:gd name="connsiteX3" fmla="*/ 0 w 1905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904875">
                  <a:moveTo>
                    <a:pt x="0" y="0"/>
                  </a:moveTo>
                  <a:lnTo>
                    <a:pt x="193062" y="0"/>
                  </a:lnTo>
                  <a:lnTo>
                    <a:pt x="193062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B6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reeform: Shape 32">
              <a:extLst>
                <a:ext uri="{FF2B5EF4-FFF2-40B4-BE49-F238E27FC236}">
                  <a16:creationId xmlns:a16="http://schemas.microsoft.com/office/drawing/2014/main" id="{4C2B1702-F2BA-CF48-9385-3C387446E503}"/>
                </a:ext>
              </a:extLst>
            </p:cNvPr>
            <p:cNvSpPr/>
            <p:nvPr/>
          </p:nvSpPr>
          <p:spPr>
            <a:xfrm>
              <a:off x="5688984" y="2976638"/>
              <a:ext cx="685801" cy="904876"/>
            </a:xfrm>
            <a:custGeom>
              <a:avLst/>
              <a:gdLst>
                <a:gd name="connsiteX0" fmla="*/ 343967 w 685800"/>
                <a:gd name="connsiteY0" fmla="*/ 523532 h 904875"/>
                <a:gd name="connsiteX1" fmla="*/ 343967 w 685800"/>
                <a:gd name="connsiteY1" fmla="*/ 0 h 904875"/>
                <a:gd name="connsiteX2" fmla="*/ 0 w 685800"/>
                <a:gd name="connsiteY2" fmla="*/ 0 h 904875"/>
                <a:gd name="connsiteX3" fmla="*/ 0 w 685800"/>
                <a:gd name="connsiteY3" fmla="*/ 906066 h 904875"/>
                <a:gd name="connsiteX4" fmla="*/ 112795 w 685800"/>
                <a:gd name="connsiteY4" fmla="*/ 906066 h 904875"/>
                <a:gd name="connsiteX5" fmla="*/ 112795 w 685800"/>
                <a:gd name="connsiteY5" fmla="*/ 567100 h 904875"/>
                <a:gd name="connsiteX6" fmla="*/ 250965 w 685800"/>
                <a:gd name="connsiteY6" fmla="*/ 567100 h 904875"/>
                <a:gd name="connsiteX7" fmla="*/ 404689 w 685800"/>
                <a:gd name="connsiteY7" fmla="*/ 906066 h 904875"/>
                <a:gd name="connsiteX8" fmla="*/ 694963 w 685800"/>
                <a:gd name="connsiteY8" fmla="*/ 906066 h 904875"/>
                <a:gd name="connsiteX9" fmla="*/ 694782 w 685800"/>
                <a:gd name="connsiteY9" fmla="*/ 905770 h 904875"/>
                <a:gd name="connsiteX10" fmla="*/ 451009 w 685800"/>
                <a:gd name="connsiteY10" fmla="*/ 811635 h 904875"/>
                <a:gd name="connsiteX11" fmla="*/ 343967 w 685800"/>
                <a:gd name="connsiteY11" fmla="*/ 523532 h 904875"/>
                <a:gd name="connsiteX12" fmla="*/ 232743 w 685800"/>
                <a:gd name="connsiteY12" fmla="*/ 388125 h 904875"/>
                <a:gd name="connsiteX13" fmla="*/ 112795 w 685800"/>
                <a:gd name="connsiteY13" fmla="*/ 388125 h 904875"/>
                <a:gd name="connsiteX14" fmla="*/ 112795 w 685800"/>
                <a:gd name="connsiteY14" fmla="*/ 181461 h 904875"/>
                <a:gd name="connsiteX15" fmla="*/ 239153 w 685800"/>
                <a:gd name="connsiteY15" fmla="*/ 181461 h 904875"/>
                <a:gd name="connsiteX16" fmla="*/ 342995 w 685800"/>
                <a:gd name="connsiteY16" fmla="*/ 279749 h 904875"/>
                <a:gd name="connsiteX17" fmla="*/ 232743 w 685800"/>
                <a:gd name="connsiteY17" fmla="*/ 38812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85800" h="904875">
                  <a:moveTo>
                    <a:pt x="343967" y="523532"/>
                  </a:moveTo>
                  <a:lnTo>
                    <a:pt x="343967" y="0"/>
                  </a:lnTo>
                  <a:lnTo>
                    <a:pt x="0" y="0"/>
                  </a:lnTo>
                  <a:lnTo>
                    <a:pt x="0" y="906066"/>
                  </a:lnTo>
                  <a:lnTo>
                    <a:pt x="112795" y="906066"/>
                  </a:lnTo>
                  <a:lnTo>
                    <a:pt x="112795" y="567100"/>
                  </a:lnTo>
                  <a:lnTo>
                    <a:pt x="250965" y="567100"/>
                  </a:lnTo>
                  <a:cubicBezTo>
                    <a:pt x="250965" y="567100"/>
                    <a:pt x="376533" y="830447"/>
                    <a:pt x="404689" y="906066"/>
                  </a:cubicBezTo>
                  <a:lnTo>
                    <a:pt x="694963" y="906066"/>
                  </a:lnTo>
                  <a:lnTo>
                    <a:pt x="694782" y="905770"/>
                  </a:lnTo>
                  <a:cubicBezTo>
                    <a:pt x="587626" y="902084"/>
                    <a:pt x="515950" y="863813"/>
                    <a:pt x="451009" y="811635"/>
                  </a:cubicBezTo>
                  <a:cubicBezTo>
                    <a:pt x="367599" y="744245"/>
                    <a:pt x="343967" y="654720"/>
                    <a:pt x="343967" y="523532"/>
                  </a:cubicBezTo>
                  <a:moveTo>
                    <a:pt x="232743" y="388125"/>
                  </a:moveTo>
                  <a:lnTo>
                    <a:pt x="112795" y="388125"/>
                  </a:lnTo>
                  <a:lnTo>
                    <a:pt x="112795" y="181461"/>
                  </a:lnTo>
                  <a:lnTo>
                    <a:pt x="239153" y="181461"/>
                  </a:lnTo>
                  <a:cubicBezTo>
                    <a:pt x="293837" y="181461"/>
                    <a:pt x="342995" y="212960"/>
                    <a:pt x="342995" y="279749"/>
                  </a:cubicBezTo>
                  <a:cubicBezTo>
                    <a:pt x="342995" y="355340"/>
                    <a:pt x="291989" y="388125"/>
                    <a:pt x="232743" y="388125"/>
                  </a:cubicBezTo>
                </a:path>
              </a:pathLst>
            </a:custGeom>
            <a:solidFill>
              <a:srgbClr val="2484C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reeform: Shape 33">
              <a:extLst>
                <a:ext uri="{FF2B5EF4-FFF2-40B4-BE49-F238E27FC236}">
                  <a16:creationId xmlns:a16="http://schemas.microsoft.com/office/drawing/2014/main" id="{57B9479F-ECDB-9647-AE18-D5EF2C08BB8D}"/>
                </a:ext>
              </a:extLst>
            </p:cNvPr>
            <p:cNvSpPr/>
            <p:nvPr/>
          </p:nvSpPr>
          <p:spPr>
            <a:xfrm>
              <a:off x="6032105" y="2976487"/>
              <a:ext cx="342900" cy="904875"/>
            </a:xfrm>
            <a:custGeom>
              <a:avLst/>
              <a:gdLst>
                <a:gd name="connsiteX0" fmla="*/ 268871 w 342900"/>
                <a:gd name="connsiteY0" fmla="*/ 285007 h 904875"/>
                <a:gd name="connsiteX1" fmla="*/ 268871 w 342900"/>
                <a:gd name="connsiteY1" fmla="*/ 243878 h 904875"/>
                <a:gd name="connsiteX2" fmla="*/ 0 w 342900"/>
                <a:gd name="connsiteY2" fmla="*/ 0 h 904875"/>
                <a:gd name="connsiteX3" fmla="*/ 0 w 342900"/>
                <a:gd name="connsiteY3" fmla="*/ 523532 h 904875"/>
                <a:gd name="connsiteX4" fmla="*/ 107052 w 342900"/>
                <a:gd name="connsiteY4" fmla="*/ 811644 h 904875"/>
                <a:gd name="connsiteX5" fmla="*/ 350825 w 342900"/>
                <a:gd name="connsiteY5" fmla="*/ 905789 h 904875"/>
                <a:gd name="connsiteX6" fmla="*/ 130836 w 342900"/>
                <a:gd name="connsiteY6" fmla="*/ 499539 h 904875"/>
                <a:gd name="connsiteX7" fmla="*/ 268871 w 342900"/>
                <a:gd name="connsiteY7" fmla="*/ 285007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42900" h="904875">
                  <a:moveTo>
                    <a:pt x="268871" y="285007"/>
                  </a:moveTo>
                  <a:lnTo>
                    <a:pt x="268871" y="243878"/>
                  </a:lnTo>
                  <a:cubicBezTo>
                    <a:pt x="268871" y="94393"/>
                    <a:pt x="110528" y="0"/>
                    <a:pt x="0" y="0"/>
                  </a:cubicBezTo>
                  <a:lnTo>
                    <a:pt x="0" y="523532"/>
                  </a:lnTo>
                  <a:cubicBezTo>
                    <a:pt x="0" y="654729"/>
                    <a:pt x="23641" y="744264"/>
                    <a:pt x="107052" y="811644"/>
                  </a:cubicBezTo>
                  <a:cubicBezTo>
                    <a:pt x="171993" y="863813"/>
                    <a:pt x="243668" y="902084"/>
                    <a:pt x="350825" y="905789"/>
                  </a:cubicBezTo>
                  <a:lnTo>
                    <a:pt x="130836" y="499539"/>
                  </a:lnTo>
                  <a:cubicBezTo>
                    <a:pt x="130836" y="499539"/>
                    <a:pt x="268871" y="419957"/>
                    <a:pt x="268871" y="285007"/>
                  </a:cubicBezTo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reeform: Shape 34">
              <a:extLst>
                <a:ext uri="{FF2B5EF4-FFF2-40B4-BE49-F238E27FC236}">
                  <a16:creationId xmlns:a16="http://schemas.microsoft.com/office/drawing/2014/main" id="{61723C70-7976-4345-B837-B4088ADF3D7F}"/>
                </a:ext>
              </a:extLst>
            </p:cNvPr>
            <p:cNvSpPr/>
            <p:nvPr/>
          </p:nvSpPr>
          <p:spPr>
            <a:xfrm>
              <a:off x="5535487" y="2976487"/>
              <a:ext cx="152399" cy="904875"/>
            </a:xfrm>
            <a:custGeom>
              <a:avLst/>
              <a:gdLst>
                <a:gd name="connsiteX0" fmla="*/ 0 w 152400"/>
                <a:gd name="connsiteY0" fmla="*/ 0 h 904875"/>
                <a:gd name="connsiteX1" fmla="*/ 153495 w 152400"/>
                <a:gd name="connsiteY1" fmla="*/ 0 h 904875"/>
                <a:gd name="connsiteX2" fmla="*/ 153495 w 152400"/>
                <a:gd name="connsiteY2" fmla="*/ 906075 h 904875"/>
                <a:gd name="connsiteX3" fmla="*/ 0 w 152400"/>
                <a:gd name="connsiteY3" fmla="*/ 906075 h 904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400" h="904875">
                  <a:moveTo>
                    <a:pt x="0" y="0"/>
                  </a:moveTo>
                  <a:lnTo>
                    <a:pt x="153495" y="0"/>
                  </a:lnTo>
                  <a:lnTo>
                    <a:pt x="153495" y="906075"/>
                  </a:lnTo>
                  <a:lnTo>
                    <a:pt x="0" y="906075"/>
                  </a:lnTo>
                  <a:close/>
                </a:path>
              </a:pathLst>
            </a:custGeom>
            <a:solidFill>
              <a:srgbClr val="0052A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800">
                <a:defRPr/>
              </a:pPr>
              <a:endParaRPr lang="en-US" sz="135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629508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1E057E-5FDA-1F48-8287-536EDD490B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09A331-1B01-B44D-9458-BD63151FF2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139022-FC68-BA45-B809-6884D5CB03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50B30-21F4-B749-BB47-AF362920352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4/09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560443-832A-EF4D-AA4C-26EBD94217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0E67C5-9A56-BD4A-99FF-10091D566E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AD4C63-7729-6B4E-A6F0-448485D234E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84593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+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205979"/>
            <a:ext cx="6860419" cy="959700"/>
          </a:xfrm>
          <a:prstGeom prst="rect">
            <a:avLst/>
          </a:prstGeom>
        </p:spPr>
        <p:txBody>
          <a:bodyPr lIns="0" tIns="46800" rIns="0" bIns="0" anchor="t"/>
          <a:lstStyle>
            <a:lvl1pPr algn="l">
              <a:defRPr sz="3000"/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830010" y="4866821"/>
            <a:ext cx="1375228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5388520C-11E2-403E-830B-A788EE7CBFCC}" type="datetime1">
              <a:rPr lang="en-US" noProof="0" smtClean="0"/>
              <a:t>04/09/2021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1999" y="4866821"/>
            <a:ext cx="4118429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noProof="0"/>
              <a:t>Санкт-Петербург  4 апреля 2019 г.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4866821"/>
            <a:ext cx="1284515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8BC4BD7E-6A9D-424B-9890-D8BA950DB6F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57199" y="4862519"/>
            <a:ext cx="8233230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457199" y="3102662"/>
            <a:ext cx="8233230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457201" y="1727597"/>
            <a:ext cx="2670175" cy="128468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 baseline="0" dirty="0"/>
            </a:lvl1pPr>
          </a:lstStyle>
          <a:p>
            <a:r>
              <a:rPr lang="en-GB" noProof="0" dirty="0" err="1"/>
              <a:t>Pic</a:t>
            </a:r>
            <a:r>
              <a:rPr lang="en-GB" noProof="0" dirty="0"/>
              <a:t> 1</a:t>
            </a:r>
          </a:p>
        </p:txBody>
      </p:sp>
      <p:sp>
        <p:nvSpPr>
          <p:cNvPr id="2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236912" y="1727597"/>
            <a:ext cx="2670175" cy="128468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 baseline="0"/>
            </a:lvl1pPr>
          </a:lstStyle>
          <a:p>
            <a:r>
              <a:rPr lang="en-GB" noProof="0"/>
              <a:t>Pic 2</a:t>
            </a:r>
          </a:p>
        </p:txBody>
      </p:sp>
      <p:sp>
        <p:nvSpPr>
          <p:cNvPr id="21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6020255" y="1727597"/>
            <a:ext cx="2670175" cy="128468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 baseline="0"/>
            </a:lvl1pPr>
          </a:lstStyle>
          <a:p>
            <a:r>
              <a:rPr lang="en-GB" noProof="0"/>
              <a:t>Pic 3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1" y="3175397"/>
            <a:ext cx="2670175" cy="1160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600" b="0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/>
              <a:t>Heading 1 to go here</a:t>
            </a:r>
          </a:p>
          <a:p>
            <a:pPr lvl="0"/>
            <a:r>
              <a:rPr lang="en-GB" noProof="0"/>
              <a:t>Lorem ipsum dolor sit amet, consectetuer adipiscing elit, nonummy nibh euismod tunt</a:t>
            </a:r>
          </a:p>
        </p:txBody>
      </p:sp>
      <p:sp>
        <p:nvSpPr>
          <p:cNvPr id="24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3236912" y="3175397"/>
            <a:ext cx="2670175" cy="1160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600" b="0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/>
              <a:t>Heading 2 to go here</a:t>
            </a:r>
          </a:p>
          <a:p>
            <a:pPr lvl="0"/>
            <a:r>
              <a:rPr lang="en-GB" noProof="0"/>
              <a:t>Lorem ipsum dolor sit amet, consectetuer adipiscing elit, nonummy nibh euismod tunt</a:t>
            </a:r>
          </a:p>
        </p:txBody>
      </p:sp>
      <p:sp>
        <p:nvSpPr>
          <p:cNvPr id="25" name="Text Placeholder 22"/>
          <p:cNvSpPr>
            <a:spLocks noGrp="1"/>
          </p:cNvSpPr>
          <p:nvPr>
            <p:ph type="body" sz="quarter" idx="18" hasCustomPrompt="1"/>
          </p:nvPr>
        </p:nvSpPr>
        <p:spPr>
          <a:xfrm>
            <a:off x="6020254" y="3175397"/>
            <a:ext cx="2670175" cy="1160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600" b="0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/>
              <a:t>Heading 3 to go here</a:t>
            </a:r>
          </a:p>
          <a:p>
            <a:pPr lvl="0"/>
            <a:r>
              <a:rPr lang="en-GB" noProof="0"/>
              <a:t>Lorem ipsum dolor sit amet, consectetuer adipiscing elit, nonummy nibh euismod tunt</a:t>
            </a:r>
          </a:p>
        </p:txBody>
      </p:sp>
      <p:pic>
        <p:nvPicPr>
          <p:cNvPr id="15" name="Picture 14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5929" y="228631"/>
            <a:ext cx="694500" cy="418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9834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1" y="205978"/>
            <a:ext cx="6860419" cy="441337"/>
          </a:xfrm>
          <a:prstGeom prst="rect">
            <a:avLst/>
          </a:prstGeom>
        </p:spPr>
        <p:txBody>
          <a:bodyPr lIns="0" tIns="46800" rIns="0" bIns="0" anchor="t"/>
          <a:lstStyle>
            <a:lvl1pPr algn="l">
              <a:defRPr sz="3000"/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830010" y="4866821"/>
            <a:ext cx="1375228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A002C0A9-15BD-4DC8-B78F-1F4400286C6A}" type="datetime1">
              <a:rPr lang="en-US" noProof="0" smtClean="0"/>
              <a:t>04/09/2021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1999" y="4866821"/>
            <a:ext cx="4118429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noProof="0"/>
              <a:t>Санкт-Петербург  4 апреля 2019 г.</a:t>
            </a:r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0" y="4866821"/>
            <a:ext cx="1284515" cy="17428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8BC4BD7E-6A9D-424B-9890-D8BA950DB6FF}" type="slidenum">
              <a:rPr lang="en-GB" noProof="0" smtClean="0"/>
              <a:pPr/>
              <a:t>‹#›</a:t>
            </a:fld>
            <a:endParaRPr lang="en-GB" noProof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57199" y="4862519"/>
            <a:ext cx="8233230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457201" y="830036"/>
            <a:ext cx="8232775" cy="393700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/>
            </a:lvl1pPr>
          </a:lstStyle>
          <a:p>
            <a:r>
              <a:rPr lang="en-GB" noProof="0"/>
              <a:t>image</a:t>
            </a:r>
          </a:p>
        </p:txBody>
      </p:sp>
      <p:pic>
        <p:nvPicPr>
          <p:cNvPr id="9" name="Picture 8" descr="IRU_logo_colour_pos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5929" y="228631"/>
            <a:ext cx="694500" cy="418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07308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16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4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18" Type="http://schemas.openxmlformats.org/officeDocument/2006/relationships/slideLayout" Target="../slideLayouts/slideLayout74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17" Type="http://schemas.openxmlformats.org/officeDocument/2006/relationships/slideLayout" Target="../slideLayouts/slideLayout73.xml"/><Relationship Id="rId2" Type="http://schemas.openxmlformats.org/officeDocument/2006/relationships/slideLayout" Target="../slideLayouts/slideLayout58.xml"/><Relationship Id="rId16" Type="http://schemas.openxmlformats.org/officeDocument/2006/relationships/slideLayout" Target="../slideLayouts/slideLayout72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66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76932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2" r:id="rId2"/>
    <p:sldLayoutId id="2147483660" r:id="rId3"/>
    <p:sldLayoutId id="2147483650" r:id="rId4"/>
    <p:sldLayoutId id="2147483667" r:id="rId5"/>
    <p:sldLayoutId id="2147483669" r:id="rId6"/>
    <p:sldLayoutId id="2147483665" r:id="rId7"/>
    <p:sldLayoutId id="2147483666" r:id="rId8"/>
    <p:sldLayoutId id="2147483668" r:id="rId9"/>
    <p:sldLayoutId id="2147483670" r:id="rId10"/>
    <p:sldLayoutId id="2147483724" r:id="rId11"/>
    <p:sldLayoutId id="2147483727" r:id="rId12"/>
    <p:sldLayoutId id="2147483734" r:id="rId13"/>
    <p:sldLayoutId id="2147483739" r:id="rId14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28632"/>
            <a:ext cx="7247239" cy="103978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fr-CH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70013"/>
            <a:ext cx="7247239" cy="32623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 dirty="0"/>
          </a:p>
        </p:txBody>
      </p:sp>
      <p:pic>
        <p:nvPicPr>
          <p:cNvPr id="8" name="Picture 7" descr="IRU_logo_colour_pos_rgb.png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5929" y="228632"/>
            <a:ext cx="694500" cy="418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6729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  <p:sldLayoutId id="2147483693" r:id="rId13"/>
    <p:sldLayoutId id="2147483694" r:id="rId14"/>
    <p:sldLayoutId id="2147483725" r:id="rId15"/>
  </p:sldLayoutIdLst>
  <p:hf hdr="0"/>
  <p:txStyles>
    <p:titleStyle>
      <a:lvl1pPr algn="l" defTabSz="457189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defTabSz="457189" rtl="0" eaLnBrk="1" latinLnBrk="0" hangingPunct="1">
        <a:spcBef>
          <a:spcPct val="20000"/>
        </a:spcBef>
        <a:buClr>
          <a:schemeClr val="tx2"/>
        </a:buClr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2" indent="-228594" algn="l" defTabSz="457189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457189" rtl="0" eaLnBrk="1" latinLnBrk="0" hangingPunct="1">
        <a:spcBef>
          <a:spcPct val="20000"/>
        </a:spcBef>
        <a:buClr>
          <a:schemeClr val="accent1"/>
        </a:buClr>
        <a:buFont typeface="Arial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defTabSz="457189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28632"/>
            <a:ext cx="7247239" cy="103978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fr-CH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70013"/>
            <a:ext cx="7247239" cy="32623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 dirty="0"/>
          </a:p>
        </p:txBody>
      </p:sp>
      <p:pic>
        <p:nvPicPr>
          <p:cNvPr id="8" name="Picture 7" descr="IRU_logo_colour_pos_rgb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5929" y="228632"/>
            <a:ext cx="694500" cy="418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072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</p:sldLayoutIdLst>
  <p:hf hdr="0"/>
  <p:txStyles>
    <p:titleStyle>
      <a:lvl1pPr algn="l" defTabSz="457189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defTabSz="457189" rtl="0" eaLnBrk="1" latinLnBrk="0" hangingPunct="1">
        <a:spcBef>
          <a:spcPct val="20000"/>
        </a:spcBef>
        <a:buClr>
          <a:schemeClr val="tx2"/>
        </a:buClr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2" indent="-228594" algn="l" defTabSz="457189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457189" rtl="0" eaLnBrk="1" latinLnBrk="0" hangingPunct="1">
        <a:spcBef>
          <a:spcPct val="20000"/>
        </a:spcBef>
        <a:buClr>
          <a:schemeClr val="accent1"/>
        </a:buClr>
        <a:buFont typeface="Arial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defTabSz="457189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28632"/>
            <a:ext cx="7247239" cy="103978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fr-CH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70013"/>
            <a:ext cx="7247239" cy="32623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 dirty="0"/>
          </a:p>
        </p:txBody>
      </p:sp>
      <p:pic>
        <p:nvPicPr>
          <p:cNvPr id="8" name="Picture 7" descr="IRU_logo_colour_pos_rgb.png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5929" y="228632"/>
            <a:ext cx="694500" cy="418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163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</p:sldLayoutIdLst>
  <p:hf hdr="0"/>
  <p:txStyles>
    <p:titleStyle>
      <a:lvl1pPr algn="l" defTabSz="457189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defTabSz="457189" rtl="0" eaLnBrk="1" latinLnBrk="0" hangingPunct="1">
        <a:spcBef>
          <a:spcPct val="20000"/>
        </a:spcBef>
        <a:buClr>
          <a:schemeClr val="tx2"/>
        </a:buClr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2" indent="-228594" algn="l" defTabSz="457189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457189" rtl="0" eaLnBrk="1" latinLnBrk="0" hangingPunct="1">
        <a:spcBef>
          <a:spcPct val="20000"/>
        </a:spcBef>
        <a:buClr>
          <a:schemeClr val="accent1"/>
        </a:buClr>
        <a:buFont typeface="Arial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defTabSz="457189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05E08B-5297-6844-B5F5-CC0F9F9ABB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1">
                    <a:lumMod val="50000"/>
                    <a:lumOff val="50000"/>
                  </a:schemeClr>
                </a:solidFill>
                <a:latin typeface="Corbel" panose="020B0503020204020204" pitchFamily="34" charset="0"/>
              </a:defRPr>
            </a:lvl1pPr>
          </a:lstStyle>
          <a:p>
            <a:pPr defTabSz="685800"/>
            <a:fld id="{64365984-D348-BF47-86A8-7DC2AFD6D920}" type="datetimeFigureOut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 defTabSz="685800"/>
              <a:t>04/09/2021</a:t>
            </a:fld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983C59-7FB1-2249-AF8C-6843B69609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1">
                    <a:lumMod val="50000"/>
                    <a:lumOff val="50000"/>
                  </a:schemeClr>
                </a:solidFill>
                <a:latin typeface="Corbel" panose="020B0503020204020204" pitchFamily="34" charset="0"/>
              </a:defRPr>
            </a:lvl1pPr>
          </a:lstStyle>
          <a:p>
            <a:pPr defTabSz="685800"/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EE4BB6-10BF-F949-9F12-D0509D6FC0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lumMod val="50000"/>
                    <a:lumOff val="50000"/>
                  </a:schemeClr>
                </a:solidFill>
                <a:latin typeface="Corbel" panose="020B0503020204020204" pitchFamily="34" charset="0"/>
              </a:defRPr>
            </a:lvl1pPr>
          </a:lstStyle>
          <a:p>
            <a:pPr defTabSz="685800"/>
            <a:fld id="{3D6F86F5-1EE3-164C-BBF2-87129EE00A76}" type="slidenum">
              <a:rPr lang="en-US" smtClean="0">
                <a:solidFill>
                  <a:srgbClr val="323232">
                    <a:lumMod val="50000"/>
                    <a:lumOff val="50000"/>
                  </a:srgbClr>
                </a:solidFill>
              </a:rPr>
              <a:pPr defTabSz="685800"/>
              <a:t>‹#›</a:t>
            </a:fld>
            <a:endParaRPr lang="en-US">
              <a:solidFill>
                <a:srgbClr val="323232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6193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  <p:sldLayoutId id="2147483753" r:id="rId12"/>
    <p:sldLayoutId id="2147483754" r:id="rId13"/>
    <p:sldLayoutId id="2147483755" r:id="rId14"/>
    <p:sldLayoutId id="2147483756" r:id="rId15"/>
    <p:sldLayoutId id="2147483757" r:id="rId16"/>
    <p:sldLayoutId id="2147483758" r:id="rId17"/>
    <p:sldLayoutId id="2147483759" r:id="rId18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Corbel" panose="020B050302020402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Corbel" panose="020B0503020204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6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>
            <a:extLst>
              <a:ext uri="{FF2B5EF4-FFF2-40B4-BE49-F238E27FC236}">
                <a16:creationId xmlns:a16="http://schemas.microsoft.com/office/drawing/2014/main" id="{03CF087D-66D9-DB41-98B0-D0EE3D2D013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F0A1558-3CBF-3249-908A-B3AC044470D4}"/>
              </a:ext>
            </a:extLst>
          </p:cNvPr>
          <p:cNvSpPr/>
          <p:nvPr/>
        </p:nvSpPr>
        <p:spPr>
          <a:xfrm>
            <a:off x="0" y="3944542"/>
            <a:ext cx="9144000" cy="1198958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348A57C-AB90-5648-BF4F-F72321C3B331}"/>
              </a:ext>
            </a:extLst>
          </p:cNvPr>
          <p:cNvGrpSpPr/>
          <p:nvPr/>
        </p:nvGrpSpPr>
        <p:grpSpPr>
          <a:xfrm>
            <a:off x="588523" y="3203152"/>
            <a:ext cx="4978064" cy="1297653"/>
            <a:chOff x="784697" y="4507148"/>
            <a:chExt cx="5771745" cy="1504545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3441C00F-B19C-0C4A-A40A-370876A449FF}"/>
                </a:ext>
              </a:extLst>
            </p:cNvPr>
            <p:cNvSpPr/>
            <p:nvPr userDrawn="1"/>
          </p:nvSpPr>
          <p:spPr>
            <a:xfrm>
              <a:off x="784697" y="4507148"/>
              <a:ext cx="1504545" cy="150454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E5AE0C29-5FA1-AA4E-9E20-A2F6BAE9D216}"/>
                </a:ext>
              </a:extLst>
            </p:cNvPr>
            <p:cNvSpPr/>
            <p:nvPr userDrawn="1"/>
          </p:nvSpPr>
          <p:spPr>
            <a:xfrm>
              <a:off x="2282757" y="4507148"/>
              <a:ext cx="4273685" cy="1504545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E7A2468-CBB2-4442-8DFD-6D309946284C}"/>
                </a:ext>
              </a:extLst>
            </p:cNvPr>
            <p:cNvGrpSpPr/>
            <p:nvPr/>
          </p:nvGrpSpPr>
          <p:grpSpPr>
            <a:xfrm>
              <a:off x="1139473" y="5017193"/>
              <a:ext cx="806210" cy="484392"/>
              <a:chOff x="5342425" y="2976487"/>
              <a:chExt cx="1506305" cy="905027"/>
            </a:xfrm>
          </p:grpSpPr>
          <p:sp>
            <p:nvSpPr>
              <p:cNvPr id="10" name="Freeform: Shape 30">
                <a:extLst>
                  <a:ext uri="{FF2B5EF4-FFF2-40B4-BE49-F238E27FC236}">
                    <a16:creationId xmlns:a16="http://schemas.microsoft.com/office/drawing/2014/main" id="{F9193CAC-8B75-964D-A7D0-F69C1DC091C9}"/>
                  </a:ext>
                </a:extLst>
              </p:cNvPr>
              <p:cNvSpPr/>
              <p:nvPr/>
            </p:nvSpPr>
            <p:spPr>
              <a:xfrm>
                <a:off x="6162929" y="2976631"/>
                <a:ext cx="685801" cy="904876"/>
              </a:xfrm>
              <a:custGeom>
                <a:avLst/>
                <a:gdLst>
                  <a:gd name="connsiteX0" fmla="*/ 419281 w 685800"/>
                  <a:gd name="connsiteY0" fmla="*/ 0 h 904875"/>
                  <a:gd name="connsiteX1" fmla="*/ 419281 w 685800"/>
                  <a:gd name="connsiteY1" fmla="*/ 534876 h 904875"/>
                  <a:gd name="connsiteX2" fmla="*/ 279302 w 685800"/>
                  <a:gd name="connsiteY2" fmla="*/ 702840 h 904875"/>
                  <a:gd name="connsiteX3" fmla="*/ 138046 w 685800"/>
                  <a:gd name="connsiteY3" fmla="*/ 534876 h 904875"/>
                  <a:gd name="connsiteX4" fmla="*/ 138046 w 685800"/>
                  <a:gd name="connsiteY4" fmla="*/ 285007 h 904875"/>
                  <a:gd name="connsiteX5" fmla="*/ 0 w 685800"/>
                  <a:gd name="connsiteY5" fmla="*/ 499529 h 904875"/>
                  <a:gd name="connsiteX6" fmla="*/ 219999 w 685800"/>
                  <a:gd name="connsiteY6" fmla="*/ 905780 h 904875"/>
                  <a:gd name="connsiteX7" fmla="*/ 237125 w 685800"/>
                  <a:gd name="connsiteY7" fmla="*/ 906075 h 904875"/>
                  <a:gd name="connsiteX8" fmla="*/ 286084 w 685800"/>
                  <a:gd name="connsiteY8" fmla="*/ 906075 h 904875"/>
                  <a:gd name="connsiteX9" fmla="*/ 584997 w 685800"/>
                  <a:gd name="connsiteY9" fmla="*/ 811644 h 904875"/>
                  <a:gd name="connsiteX10" fmla="*/ 690658 w 685800"/>
                  <a:gd name="connsiteY10" fmla="*/ 523532 h 904875"/>
                  <a:gd name="connsiteX11" fmla="*/ 690658 w 685800"/>
                  <a:gd name="connsiteY11" fmla="*/ 0 h 904875"/>
                  <a:gd name="connsiteX12" fmla="*/ 419281 w 685800"/>
                  <a:gd name="connsiteY12" fmla="*/ 0 h 904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85800" h="904875">
                    <a:moveTo>
                      <a:pt x="419281" y="0"/>
                    </a:moveTo>
                    <a:lnTo>
                      <a:pt x="419281" y="534876"/>
                    </a:lnTo>
                    <a:cubicBezTo>
                      <a:pt x="419281" y="651358"/>
                      <a:pt x="352911" y="702840"/>
                      <a:pt x="279302" y="702840"/>
                    </a:cubicBezTo>
                    <a:cubicBezTo>
                      <a:pt x="202540" y="702840"/>
                      <a:pt x="138046" y="651358"/>
                      <a:pt x="138046" y="534876"/>
                    </a:cubicBezTo>
                    <a:lnTo>
                      <a:pt x="138046" y="285007"/>
                    </a:lnTo>
                    <a:cubicBezTo>
                      <a:pt x="138046" y="419967"/>
                      <a:pt x="0" y="499529"/>
                      <a:pt x="0" y="499529"/>
                    </a:cubicBezTo>
                    <a:lnTo>
                      <a:pt x="219999" y="905780"/>
                    </a:lnTo>
                    <a:cubicBezTo>
                      <a:pt x="225609" y="905961"/>
                      <a:pt x="231305" y="906075"/>
                      <a:pt x="237125" y="906075"/>
                    </a:cubicBezTo>
                    <a:lnTo>
                      <a:pt x="286084" y="906075"/>
                    </a:lnTo>
                    <a:cubicBezTo>
                      <a:pt x="418700" y="906075"/>
                      <a:pt x="507121" y="874205"/>
                      <a:pt x="584997" y="811644"/>
                    </a:cubicBezTo>
                    <a:cubicBezTo>
                      <a:pt x="668417" y="744255"/>
                      <a:pt x="690658" y="654729"/>
                      <a:pt x="690658" y="523532"/>
                    </a:cubicBezTo>
                    <a:lnTo>
                      <a:pt x="690658" y="0"/>
                    </a:lnTo>
                    <a:lnTo>
                      <a:pt x="419281" y="0"/>
                    </a:lnTo>
                    <a:close/>
                  </a:path>
                </a:pathLst>
              </a:custGeom>
              <a:solidFill>
                <a:srgbClr val="00B6F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800">
                  <a:defRPr/>
                </a:pPr>
                <a:endParaRPr lang="en-US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" name="Freeform: Shape 31">
                <a:extLst>
                  <a:ext uri="{FF2B5EF4-FFF2-40B4-BE49-F238E27FC236}">
                    <a16:creationId xmlns:a16="http://schemas.microsoft.com/office/drawing/2014/main" id="{09ED0B00-8D65-7D40-8A9B-08617A0CC80F}"/>
                  </a:ext>
                </a:extLst>
              </p:cNvPr>
              <p:cNvSpPr/>
              <p:nvPr/>
            </p:nvSpPr>
            <p:spPr>
              <a:xfrm>
                <a:off x="5342425" y="2976631"/>
                <a:ext cx="190499" cy="904876"/>
              </a:xfrm>
              <a:custGeom>
                <a:avLst/>
                <a:gdLst>
                  <a:gd name="connsiteX0" fmla="*/ 0 w 190500"/>
                  <a:gd name="connsiteY0" fmla="*/ 0 h 904875"/>
                  <a:gd name="connsiteX1" fmla="*/ 193062 w 190500"/>
                  <a:gd name="connsiteY1" fmla="*/ 0 h 904875"/>
                  <a:gd name="connsiteX2" fmla="*/ 193062 w 190500"/>
                  <a:gd name="connsiteY2" fmla="*/ 906075 h 904875"/>
                  <a:gd name="connsiteX3" fmla="*/ 0 w 190500"/>
                  <a:gd name="connsiteY3" fmla="*/ 906075 h 904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0" h="904875">
                    <a:moveTo>
                      <a:pt x="0" y="0"/>
                    </a:moveTo>
                    <a:lnTo>
                      <a:pt x="193062" y="0"/>
                    </a:lnTo>
                    <a:lnTo>
                      <a:pt x="193062" y="906075"/>
                    </a:lnTo>
                    <a:lnTo>
                      <a:pt x="0" y="906075"/>
                    </a:lnTo>
                    <a:close/>
                  </a:path>
                </a:pathLst>
              </a:custGeom>
              <a:solidFill>
                <a:srgbClr val="00B6F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800">
                  <a:defRPr/>
                </a:pPr>
                <a:endParaRPr lang="en-US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" name="Freeform: Shape 32">
                <a:extLst>
                  <a:ext uri="{FF2B5EF4-FFF2-40B4-BE49-F238E27FC236}">
                    <a16:creationId xmlns:a16="http://schemas.microsoft.com/office/drawing/2014/main" id="{22910ECC-A419-4D44-A554-1ACE14C37690}"/>
                  </a:ext>
                </a:extLst>
              </p:cNvPr>
              <p:cNvSpPr/>
              <p:nvPr/>
            </p:nvSpPr>
            <p:spPr>
              <a:xfrm>
                <a:off x="5688984" y="2976638"/>
                <a:ext cx="685801" cy="904876"/>
              </a:xfrm>
              <a:custGeom>
                <a:avLst/>
                <a:gdLst>
                  <a:gd name="connsiteX0" fmla="*/ 343967 w 685800"/>
                  <a:gd name="connsiteY0" fmla="*/ 523532 h 904875"/>
                  <a:gd name="connsiteX1" fmla="*/ 343967 w 685800"/>
                  <a:gd name="connsiteY1" fmla="*/ 0 h 904875"/>
                  <a:gd name="connsiteX2" fmla="*/ 0 w 685800"/>
                  <a:gd name="connsiteY2" fmla="*/ 0 h 904875"/>
                  <a:gd name="connsiteX3" fmla="*/ 0 w 685800"/>
                  <a:gd name="connsiteY3" fmla="*/ 906066 h 904875"/>
                  <a:gd name="connsiteX4" fmla="*/ 112795 w 685800"/>
                  <a:gd name="connsiteY4" fmla="*/ 906066 h 904875"/>
                  <a:gd name="connsiteX5" fmla="*/ 112795 w 685800"/>
                  <a:gd name="connsiteY5" fmla="*/ 567100 h 904875"/>
                  <a:gd name="connsiteX6" fmla="*/ 250965 w 685800"/>
                  <a:gd name="connsiteY6" fmla="*/ 567100 h 904875"/>
                  <a:gd name="connsiteX7" fmla="*/ 404689 w 685800"/>
                  <a:gd name="connsiteY7" fmla="*/ 906066 h 904875"/>
                  <a:gd name="connsiteX8" fmla="*/ 694963 w 685800"/>
                  <a:gd name="connsiteY8" fmla="*/ 906066 h 904875"/>
                  <a:gd name="connsiteX9" fmla="*/ 694782 w 685800"/>
                  <a:gd name="connsiteY9" fmla="*/ 905770 h 904875"/>
                  <a:gd name="connsiteX10" fmla="*/ 451009 w 685800"/>
                  <a:gd name="connsiteY10" fmla="*/ 811635 h 904875"/>
                  <a:gd name="connsiteX11" fmla="*/ 343967 w 685800"/>
                  <a:gd name="connsiteY11" fmla="*/ 523532 h 904875"/>
                  <a:gd name="connsiteX12" fmla="*/ 232743 w 685800"/>
                  <a:gd name="connsiteY12" fmla="*/ 388125 h 904875"/>
                  <a:gd name="connsiteX13" fmla="*/ 112795 w 685800"/>
                  <a:gd name="connsiteY13" fmla="*/ 388125 h 904875"/>
                  <a:gd name="connsiteX14" fmla="*/ 112795 w 685800"/>
                  <a:gd name="connsiteY14" fmla="*/ 181461 h 904875"/>
                  <a:gd name="connsiteX15" fmla="*/ 239153 w 685800"/>
                  <a:gd name="connsiteY15" fmla="*/ 181461 h 904875"/>
                  <a:gd name="connsiteX16" fmla="*/ 342995 w 685800"/>
                  <a:gd name="connsiteY16" fmla="*/ 279749 h 904875"/>
                  <a:gd name="connsiteX17" fmla="*/ 232743 w 685800"/>
                  <a:gd name="connsiteY17" fmla="*/ 388125 h 904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85800" h="904875">
                    <a:moveTo>
                      <a:pt x="343967" y="523532"/>
                    </a:moveTo>
                    <a:lnTo>
                      <a:pt x="343967" y="0"/>
                    </a:lnTo>
                    <a:lnTo>
                      <a:pt x="0" y="0"/>
                    </a:lnTo>
                    <a:lnTo>
                      <a:pt x="0" y="906066"/>
                    </a:lnTo>
                    <a:lnTo>
                      <a:pt x="112795" y="906066"/>
                    </a:lnTo>
                    <a:lnTo>
                      <a:pt x="112795" y="567100"/>
                    </a:lnTo>
                    <a:lnTo>
                      <a:pt x="250965" y="567100"/>
                    </a:lnTo>
                    <a:cubicBezTo>
                      <a:pt x="250965" y="567100"/>
                      <a:pt x="376533" y="830447"/>
                      <a:pt x="404689" y="906066"/>
                    </a:cubicBezTo>
                    <a:lnTo>
                      <a:pt x="694963" y="906066"/>
                    </a:lnTo>
                    <a:lnTo>
                      <a:pt x="694782" y="905770"/>
                    </a:lnTo>
                    <a:cubicBezTo>
                      <a:pt x="587626" y="902084"/>
                      <a:pt x="515950" y="863813"/>
                      <a:pt x="451009" y="811635"/>
                    </a:cubicBezTo>
                    <a:cubicBezTo>
                      <a:pt x="367599" y="744245"/>
                      <a:pt x="343967" y="654720"/>
                      <a:pt x="343967" y="523532"/>
                    </a:cubicBezTo>
                    <a:moveTo>
                      <a:pt x="232743" y="388125"/>
                    </a:moveTo>
                    <a:lnTo>
                      <a:pt x="112795" y="388125"/>
                    </a:lnTo>
                    <a:lnTo>
                      <a:pt x="112795" y="181461"/>
                    </a:lnTo>
                    <a:lnTo>
                      <a:pt x="239153" y="181461"/>
                    </a:lnTo>
                    <a:cubicBezTo>
                      <a:pt x="293837" y="181461"/>
                      <a:pt x="342995" y="212960"/>
                      <a:pt x="342995" y="279749"/>
                    </a:cubicBezTo>
                    <a:cubicBezTo>
                      <a:pt x="342995" y="355340"/>
                      <a:pt x="291989" y="388125"/>
                      <a:pt x="232743" y="388125"/>
                    </a:cubicBezTo>
                  </a:path>
                </a:pathLst>
              </a:custGeom>
              <a:solidFill>
                <a:srgbClr val="2484C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800">
                  <a:defRPr/>
                </a:pPr>
                <a:endParaRPr lang="en-US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" name="Freeform: Shape 33">
                <a:extLst>
                  <a:ext uri="{FF2B5EF4-FFF2-40B4-BE49-F238E27FC236}">
                    <a16:creationId xmlns:a16="http://schemas.microsoft.com/office/drawing/2014/main" id="{713A6A53-ED19-FE44-A743-1C7AC6E1FB51}"/>
                  </a:ext>
                </a:extLst>
              </p:cNvPr>
              <p:cNvSpPr/>
              <p:nvPr/>
            </p:nvSpPr>
            <p:spPr>
              <a:xfrm>
                <a:off x="6032105" y="2976487"/>
                <a:ext cx="342900" cy="904875"/>
              </a:xfrm>
              <a:custGeom>
                <a:avLst/>
                <a:gdLst>
                  <a:gd name="connsiteX0" fmla="*/ 268871 w 342900"/>
                  <a:gd name="connsiteY0" fmla="*/ 285007 h 904875"/>
                  <a:gd name="connsiteX1" fmla="*/ 268871 w 342900"/>
                  <a:gd name="connsiteY1" fmla="*/ 243878 h 904875"/>
                  <a:gd name="connsiteX2" fmla="*/ 0 w 342900"/>
                  <a:gd name="connsiteY2" fmla="*/ 0 h 904875"/>
                  <a:gd name="connsiteX3" fmla="*/ 0 w 342900"/>
                  <a:gd name="connsiteY3" fmla="*/ 523532 h 904875"/>
                  <a:gd name="connsiteX4" fmla="*/ 107052 w 342900"/>
                  <a:gd name="connsiteY4" fmla="*/ 811644 h 904875"/>
                  <a:gd name="connsiteX5" fmla="*/ 350825 w 342900"/>
                  <a:gd name="connsiteY5" fmla="*/ 905789 h 904875"/>
                  <a:gd name="connsiteX6" fmla="*/ 130836 w 342900"/>
                  <a:gd name="connsiteY6" fmla="*/ 499539 h 904875"/>
                  <a:gd name="connsiteX7" fmla="*/ 268871 w 342900"/>
                  <a:gd name="connsiteY7" fmla="*/ 285007 h 904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2900" h="904875">
                    <a:moveTo>
                      <a:pt x="268871" y="285007"/>
                    </a:moveTo>
                    <a:lnTo>
                      <a:pt x="268871" y="243878"/>
                    </a:lnTo>
                    <a:cubicBezTo>
                      <a:pt x="268871" y="94393"/>
                      <a:pt x="110528" y="0"/>
                      <a:pt x="0" y="0"/>
                    </a:cubicBezTo>
                    <a:lnTo>
                      <a:pt x="0" y="523532"/>
                    </a:lnTo>
                    <a:cubicBezTo>
                      <a:pt x="0" y="654729"/>
                      <a:pt x="23641" y="744264"/>
                      <a:pt x="107052" y="811644"/>
                    </a:cubicBezTo>
                    <a:cubicBezTo>
                      <a:pt x="171993" y="863813"/>
                      <a:pt x="243668" y="902084"/>
                      <a:pt x="350825" y="905789"/>
                    </a:cubicBezTo>
                    <a:lnTo>
                      <a:pt x="130836" y="499539"/>
                    </a:lnTo>
                    <a:cubicBezTo>
                      <a:pt x="130836" y="499539"/>
                      <a:pt x="268871" y="419957"/>
                      <a:pt x="268871" y="285007"/>
                    </a:cubicBezTo>
                  </a:path>
                </a:pathLst>
              </a:custGeom>
              <a:solidFill>
                <a:srgbClr val="0052A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800">
                  <a:defRPr/>
                </a:pPr>
                <a:endParaRPr lang="en-US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" name="Freeform: Shape 34">
                <a:extLst>
                  <a:ext uri="{FF2B5EF4-FFF2-40B4-BE49-F238E27FC236}">
                    <a16:creationId xmlns:a16="http://schemas.microsoft.com/office/drawing/2014/main" id="{4AF7C8A6-0CD5-184F-92C5-C0FDD0629DB2}"/>
                  </a:ext>
                </a:extLst>
              </p:cNvPr>
              <p:cNvSpPr/>
              <p:nvPr/>
            </p:nvSpPr>
            <p:spPr>
              <a:xfrm>
                <a:off x="5535487" y="2976487"/>
                <a:ext cx="152399" cy="904875"/>
              </a:xfrm>
              <a:custGeom>
                <a:avLst/>
                <a:gdLst>
                  <a:gd name="connsiteX0" fmla="*/ 0 w 152400"/>
                  <a:gd name="connsiteY0" fmla="*/ 0 h 904875"/>
                  <a:gd name="connsiteX1" fmla="*/ 153495 w 152400"/>
                  <a:gd name="connsiteY1" fmla="*/ 0 h 904875"/>
                  <a:gd name="connsiteX2" fmla="*/ 153495 w 152400"/>
                  <a:gd name="connsiteY2" fmla="*/ 906075 h 904875"/>
                  <a:gd name="connsiteX3" fmla="*/ 0 w 152400"/>
                  <a:gd name="connsiteY3" fmla="*/ 906075 h 904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904875">
                    <a:moveTo>
                      <a:pt x="0" y="0"/>
                    </a:moveTo>
                    <a:lnTo>
                      <a:pt x="153495" y="0"/>
                    </a:lnTo>
                    <a:lnTo>
                      <a:pt x="153495" y="906075"/>
                    </a:lnTo>
                    <a:lnTo>
                      <a:pt x="0" y="906075"/>
                    </a:lnTo>
                    <a:close/>
                  </a:path>
                </a:pathLst>
              </a:custGeom>
              <a:solidFill>
                <a:srgbClr val="0052A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800">
                  <a:defRPr/>
                </a:pPr>
                <a:endParaRPr lang="en-US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sp>
        <p:nvSpPr>
          <p:cNvPr id="22" name="Subtitle 21">
            <a:extLst>
              <a:ext uri="{FF2B5EF4-FFF2-40B4-BE49-F238E27FC236}">
                <a16:creationId xmlns:a16="http://schemas.microsoft.com/office/drawing/2014/main" id="{D29F3506-392A-4B47-8998-4BEA6D52E6F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959048" y="3991243"/>
            <a:ext cx="3502858" cy="509562"/>
          </a:xfrm>
        </p:spPr>
        <p:txBody>
          <a:bodyPr>
            <a:normAutofit lnSpcReduction="10000"/>
          </a:bodyPr>
          <a:lstStyle/>
          <a:p>
            <a:r>
              <a:rPr lang="en-US" dirty="0">
                <a:latin typeface="Corbel" panose="020B0503020204020204" pitchFamily="34" charset="0"/>
              </a:rPr>
              <a:t>Vakhtang Zarandia – Senior Adviser          TIR &amp; Transit, IRU</a:t>
            </a:r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34AD055F-A60C-9849-832A-8B10380638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46395" y="3372396"/>
            <a:ext cx="3620192" cy="618847"/>
          </a:xfrm>
        </p:spPr>
        <p:txBody>
          <a:bodyPr>
            <a:noAutofit/>
          </a:bodyPr>
          <a:lstStyle/>
          <a:p>
            <a:r>
              <a:rPr lang="en-US" sz="1400" dirty="0">
                <a:latin typeface="Corbel" panose="020B0503020204020204" pitchFamily="34" charset="0"/>
              </a:rPr>
              <a:t>ADB-IRU joint workshop on TIR Digitalization</a:t>
            </a:r>
          </a:p>
        </p:txBody>
      </p:sp>
      <p:sp>
        <p:nvSpPr>
          <p:cNvPr id="18" name="Subtitle 21">
            <a:extLst>
              <a:ext uri="{FF2B5EF4-FFF2-40B4-BE49-F238E27FC236}">
                <a16:creationId xmlns:a16="http://schemas.microsoft.com/office/drawing/2014/main" id="{8E2FC493-F6C4-7948-A7CF-BFE88D49E446}"/>
              </a:ext>
            </a:extLst>
          </p:cNvPr>
          <p:cNvSpPr txBox="1">
            <a:spLocks/>
          </p:cNvSpPr>
          <p:nvPr/>
        </p:nvSpPr>
        <p:spPr>
          <a:xfrm>
            <a:off x="5808971" y="3991243"/>
            <a:ext cx="2910487" cy="5095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br>
              <a:rPr lang="en-US" sz="1500" dirty="0">
                <a:solidFill>
                  <a:schemeClr val="bg2">
                    <a:lumMod val="90000"/>
                  </a:schemeClr>
                </a:solidFill>
              </a:rPr>
            </a:br>
            <a:r>
              <a:rPr lang="en-US" sz="1500" dirty="0">
                <a:solidFill>
                  <a:schemeClr val="bg2">
                    <a:lumMod val="90000"/>
                  </a:schemeClr>
                </a:solidFill>
              </a:rPr>
              <a:t>7.09. 202</a:t>
            </a:r>
            <a:r>
              <a:rPr lang="ru-RU" sz="1500" dirty="0">
                <a:solidFill>
                  <a:schemeClr val="bg2">
                    <a:lumMod val="90000"/>
                  </a:schemeClr>
                </a:solidFill>
              </a:rPr>
              <a:t>1</a:t>
            </a:r>
            <a:endParaRPr lang="en-US" sz="1500" dirty="0">
              <a:solidFill>
                <a:schemeClr val="bg2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56464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C8D78BB7-D1DA-DB48-84F6-40D34511252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644086" y="844751"/>
            <a:ext cx="6683987" cy="2306597"/>
          </a:xfrm>
        </p:spPr>
        <p:txBody>
          <a:bodyPr/>
          <a:lstStyle/>
          <a:p>
            <a:pPr marL="514337" lvl="1" indent="0">
              <a:buNone/>
            </a:pPr>
            <a:endParaRPr lang="en-US" sz="1400" b="1" dirty="0"/>
          </a:p>
          <a:p>
            <a:pPr marL="514337" lvl="1" indent="0">
              <a:buNone/>
            </a:pPr>
            <a:r>
              <a:rPr lang="en-US" sz="1400" b="1" dirty="0"/>
              <a:t>Awareness</a:t>
            </a:r>
          </a:p>
          <a:p>
            <a:pPr marL="514337" lvl="1" indent="0">
              <a:buNone/>
            </a:pPr>
            <a:r>
              <a:rPr lang="de-DE" sz="1400" dirty="0"/>
              <a:t>Increase awareness of digital TIR users and business community in the region to fully benefit from this transit facilitation tool ensuring transparancy for customs and business partners: </a:t>
            </a:r>
          </a:p>
          <a:p>
            <a:pPr marL="1142987" lvl="2" indent="-285750"/>
            <a:r>
              <a:rPr lang="de-DE" sz="1400" dirty="0"/>
              <a:t>Training for customs officers and transport operators</a:t>
            </a:r>
          </a:p>
          <a:p>
            <a:pPr marL="1142987" lvl="2" indent="-285750"/>
            <a:r>
              <a:rPr lang="de-DE" sz="1400" dirty="0"/>
              <a:t>Active engagement of IRU and its memebrs with strong support of development partners: GIZ, Turkic Council, CLDP, ADB and others</a:t>
            </a:r>
          </a:p>
          <a:p>
            <a:pPr marL="514337" lvl="1" indent="0">
              <a:buNone/>
            </a:pPr>
            <a:endParaRPr lang="en-US" sz="1400" b="1" dirty="0"/>
          </a:p>
          <a:p>
            <a:pPr marL="514337" lvl="1" indent="0">
              <a:buNone/>
            </a:pPr>
            <a:r>
              <a:rPr lang="en-US" sz="1400" b="1" dirty="0"/>
              <a:t>Expanding digital TIR geography</a:t>
            </a:r>
            <a:endParaRPr lang="en-GB" sz="1400" b="1" dirty="0"/>
          </a:p>
          <a:p>
            <a:pPr marL="514337" lvl="1" indent="0">
              <a:buNone/>
            </a:pPr>
            <a:r>
              <a:rPr lang="en-US" sz="1400" dirty="0"/>
              <a:t>Bring Kyrgyzstan to the digital TIR geography by beginning of October 2021</a:t>
            </a:r>
          </a:p>
          <a:p>
            <a:pPr marL="514337" lvl="1" indent="0">
              <a:buNone/>
            </a:pPr>
            <a:endParaRPr lang="en-US" sz="1400" b="1" dirty="0"/>
          </a:p>
          <a:p>
            <a:pPr marL="514337" lvl="1" indent="0">
              <a:buNone/>
            </a:pPr>
            <a:r>
              <a:rPr lang="en-US" sz="1400" b="1" dirty="0"/>
              <a:t>Annex 11 implementation</a:t>
            </a:r>
          </a:p>
          <a:p>
            <a:pPr marL="514337" lvl="1" indent="0">
              <a:buNone/>
            </a:pPr>
            <a:r>
              <a:rPr lang="de-DE" sz="1400" dirty="0"/>
              <a:t>Implement full e TIR message exchange including connectivity to eTIR International system according to Annex 11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00577290-3CB4-154E-9506-A17157A139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4" y="244332"/>
            <a:ext cx="8118304" cy="498580"/>
          </a:xfrm>
        </p:spPr>
        <p:txBody>
          <a:bodyPr/>
          <a:lstStyle/>
          <a:p>
            <a:r>
              <a:rPr lang="de-DE" sz="2550" dirty="0"/>
              <a:t>Digitalisation of Tajikistan-Uzbekistan-Kazakhstan corridor 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51E94BEC-0B2B-7340-8CD1-812E05C64C8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-4" y="736399"/>
            <a:ext cx="1644090" cy="418952"/>
          </a:xfrm>
        </p:spPr>
        <p:txBody>
          <a:bodyPr/>
          <a:lstStyle/>
          <a:p>
            <a:r>
              <a:rPr lang="de-DE" sz="2500" dirty="0"/>
              <a:t>Next steps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0" y="1174135"/>
            <a:ext cx="2010176" cy="1145240"/>
            <a:chOff x="6682247" y="140997"/>
            <a:chExt cx="5368757" cy="3058695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 rotWithShape="1">
            <a:blip r:embed="rId3"/>
            <a:srcRect l="12054" t="12163" r="71305" b="72429"/>
            <a:stretch/>
          </p:blipFill>
          <p:spPr>
            <a:xfrm>
              <a:off x="6682247" y="140997"/>
              <a:ext cx="5368757" cy="3058695"/>
            </a:xfrm>
            <a:prstGeom prst="rect">
              <a:avLst/>
            </a:prstGeom>
          </p:spPr>
        </p:pic>
        <p:sp>
          <p:nvSpPr>
            <p:cNvPr id="17" name="Freeform 193">
              <a:extLst>
                <a:ext uri="{FF2B5EF4-FFF2-40B4-BE49-F238E27FC236}">
                  <a16:creationId xmlns:a16="http://schemas.microsoft.com/office/drawing/2014/main" id="{50DB9A8F-56D5-304F-BD0F-42C45A7442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8808" y="2529361"/>
              <a:ext cx="689162" cy="495193"/>
            </a:xfrm>
            <a:custGeom>
              <a:avLst/>
              <a:gdLst>
                <a:gd name="T0" fmla="*/ 54 w 138"/>
                <a:gd name="T1" fmla="*/ 15 h 88"/>
                <a:gd name="T2" fmla="*/ 50 w 138"/>
                <a:gd name="T3" fmla="*/ 22 h 88"/>
                <a:gd name="T4" fmla="*/ 30 w 138"/>
                <a:gd name="T5" fmla="*/ 18 h 88"/>
                <a:gd name="T6" fmla="*/ 32 w 138"/>
                <a:gd name="T7" fmla="*/ 30 h 88"/>
                <a:gd name="T8" fmla="*/ 50 w 138"/>
                <a:gd name="T9" fmla="*/ 29 h 88"/>
                <a:gd name="T10" fmla="*/ 73 w 138"/>
                <a:gd name="T11" fmla="*/ 35 h 88"/>
                <a:gd name="T12" fmla="*/ 104 w 138"/>
                <a:gd name="T13" fmla="*/ 32 h 88"/>
                <a:gd name="T14" fmla="*/ 113 w 138"/>
                <a:gd name="T15" fmla="*/ 51 h 88"/>
                <a:gd name="T16" fmla="*/ 119 w 138"/>
                <a:gd name="T17" fmla="*/ 49 h 88"/>
                <a:gd name="T18" fmla="*/ 130 w 138"/>
                <a:gd name="T19" fmla="*/ 54 h 88"/>
                <a:gd name="T20" fmla="*/ 132 w 138"/>
                <a:gd name="T21" fmla="*/ 62 h 88"/>
                <a:gd name="T22" fmla="*/ 138 w 138"/>
                <a:gd name="T23" fmla="*/ 74 h 88"/>
                <a:gd name="T24" fmla="*/ 120 w 138"/>
                <a:gd name="T25" fmla="*/ 74 h 88"/>
                <a:gd name="T26" fmla="*/ 108 w 138"/>
                <a:gd name="T27" fmla="*/ 72 h 88"/>
                <a:gd name="T28" fmla="*/ 99 w 138"/>
                <a:gd name="T29" fmla="*/ 81 h 88"/>
                <a:gd name="T30" fmla="*/ 92 w 138"/>
                <a:gd name="T31" fmla="*/ 83 h 88"/>
                <a:gd name="T32" fmla="*/ 88 w 138"/>
                <a:gd name="T33" fmla="*/ 88 h 88"/>
                <a:gd name="T34" fmla="*/ 79 w 138"/>
                <a:gd name="T35" fmla="*/ 81 h 88"/>
                <a:gd name="T36" fmla="*/ 76 w 138"/>
                <a:gd name="T37" fmla="*/ 64 h 88"/>
                <a:gd name="T38" fmla="*/ 71 w 138"/>
                <a:gd name="T39" fmla="*/ 63 h 88"/>
                <a:gd name="T40" fmla="*/ 71 w 138"/>
                <a:gd name="T41" fmla="*/ 56 h 88"/>
                <a:gd name="T42" fmla="*/ 60 w 138"/>
                <a:gd name="T43" fmla="*/ 51 h 88"/>
                <a:gd name="T44" fmla="*/ 55 w 138"/>
                <a:gd name="T45" fmla="*/ 59 h 88"/>
                <a:gd name="T46" fmla="*/ 55 w 138"/>
                <a:gd name="T47" fmla="*/ 67 h 88"/>
                <a:gd name="T48" fmla="*/ 53 w 138"/>
                <a:gd name="T49" fmla="*/ 70 h 88"/>
                <a:gd name="T50" fmla="*/ 43 w 138"/>
                <a:gd name="T51" fmla="*/ 70 h 88"/>
                <a:gd name="T52" fmla="*/ 40 w 138"/>
                <a:gd name="T53" fmla="*/ 79 h 88"/>
                <a:gd name="T54" fmla="*/ 33 w 138"/>
                <a:gd name="T55" fmla="*/ 75 h 88"/>
                <a:gd name="T56" fmla="*/ 22 w 138"/>
                <a:gd name="T57" fmla="*/ 82 h 88"/>
                <a:gd name="T58" fmla="*/ 16 w 138"/>
                <a:gd name="T59" fmla="*/ 79 h 88"/>
                <a:gd name="T60" fmla="*/ 21 w 138"/>
                <a:gd name="T61" fmla="*/ 58 h 88"/>
                <a:gd name="T62" fmla="*/ 13 w 138"/>
                <a:gd name="T63" fmla="*/ 43 h 88"/>
                <a:gd name="T64" fmla="*/ 0 w 138"/>
                <a:gd name="T65" fmla="*/ 38 h 88"/>
                <a:gd name="T66" fmla="*/ 2 w 138"/>
                <a:gd name="T67" fmla="*/ 29 h 88"/>
                <a:gd name="T68" fmla="*/ 16 w 138"/>
                <a:gd name="T69" fmla="*/ 30 h 88"/>
                <a:gd name="T70" fmla="*/ 21 w 138"/>
                <a:gd name="T71" fmla="*/ 19 h 88"/>
                <a:gd name="T72" fmla="*/ 23 w 138"/>
                <a:gd name="T73" fmla="*/ 5 h 88"/>
                <a:gd name="T74" fmla="*/ 44 w 138"/>
                <a:gd name="T75" fmla="*/ 0 h 88"/>
                <a:gd name="T76" fmla="*/ 43 w 138"/>
                <a:gd name="T77" fmla="*/ 10 h 88"/>
                <a:gd name="T78" fmla="*/ 47 w 138"/>
                <a:gd name="T79" fmla="*/ 16 h 88"/>
                <a:gd name="T80" fmla="*/ 54 w 138"/>
                <a:gd name="T81" fmla="*/ 15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8" h="88">
                  <a:moveTo>
                    <a:pt x="54" y="15"/>
                  </a:moveTo>
                  <a:lnTo>
                    <a:pt x="50" y="22"/>
                  </a:lnTo>
                  <a:lnTo>
                    <a:pt x="30" y="18"/>
                  </a:lnTo>
                  <a:lnTo>
                    <a:pt x="32" y="30"/>
                  </a:lnTo>
                  <a:lnTo>
                    <a:pt x="50" y="29"/>
                  </a:lnTo>
                  <a:lnTo>
                    <a:pt x="73" y="35"/>
                  </a:lnTo>
                  <a:lnTo>
                    <a:pt x="104" y="32"/>
                  </a:lnTo>
                  <a:lnTo>
                    <a:pt x="113" y="51"/>
                  </a:lnTo>
                  <a:lnTo>
                    <a:pt x="119" y="49"/>
                  </a:lnTo>
                  <a:lnTo>
                    <a:pt x="130" y="54"/>
                  </a:lnTo>
                  <a:lnTo>
                    <a:pt x="132" y="62"/>
                  </a:lnTo>
                  <a:lnTo>
                    <a:pt x="138" y="74"/>
                  </a:lnTo>
                  <a:lnTo>
                    <a:pt x="120" y="74"/>
                  </a:lnTo>
                  <a:lnTo>
                    <a:pt x="108" y="72"/>
                  </a:lnTo>
                  <a:lnTo>
                    <a:pt x="99" y="81"/>
                  </a:lnTo>
                  <a:lnTo>
                    <a:pt x="92" y="83"/>
                  </a:lnTo>
                  <a:lnTo>
                    <a:pt x="88" y="88"/>
                  </a:lnTo>
                  <a:lnTo>
                    <a:pt x="79" y="81"/>
                  </a:lnTo>
                  <a:lnTo>
                    <a:pt x="76" y="64"/>
                  </a:lnTo>
                  <a:lnTo>
                    <a:pt x="71" y="63"/>
                  </a:lnTo>
                  <a:lnTo>
                    <a:pt x="71" y="56"/>
                  </a:lnTo>
                  <a:lnTo>
                    <a:pt x="60" y="51"/>
                  </a:lnTo>
                  <a:lnTo>
                    <a:pt x="55" y="59"/>
                  </a:lnTo>
                  <a:lnTo>
                    <a:pt x="55" y="67"/>
                  </a:lnTo>
                  <a:lnTo>
                    <a:pt x="53" y="70"/>
                  </a:lnTo>
                  <a:lnTo>
                    <a:pt x="43" y="70"/>
                  </a:lnTo>
                  <a:lnTo>
                    <a:pt x="40" y="79"/>
                  </a:lnTo>
                  <a:lnTo>
                    <a:pt x="33" y="75"/>
                  </a:lnTo>
                  <a:lnTo>
                    <a:pt x="22" y="82"/>
                  </a:lnTo>
                  <a:lnTo>
                    <a:pt x="16" y="79"/>
                  </a:lnTo>
                  <a:lnTo>
                    <a:pt x="21" y="58"/>
                  </a:lnTo>
                  <a:lnTo>
                    <a:pt x="13" y="43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16" y="30"/>
                  </a:lnTo>
                  <a:lnTo>
                    <a:pt x="21" y="19"/>
                  </a:lnTo>
                  <a:lnTo>
                    <a:pt x="23" y="5"/>
                  </a:lnTo>
                  <a:lnTo>
                    <a:pt x="44" y="0"/>
                  </a:lnTo>
                  <a:lnTo>
                    <a:pt x="43" y="10"/>
                  </a:lnTo>
                  <a:lnTo>
                    <a:pt x="47" y="16"/>
                  </a:lnTo>
                  <a:lnTo>
                    <a:pt x="54" y="15"/>
                  </a:lnTo>
                  <a:close/>
                </a:path>
              </a:pathLst>
            </a:custGeom>
            <a:solidFill>
              <a:srgbClr val="0052A4"/>
            </a:solidFill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pPr defTabSz="257175"/>
              <a:endParaRPr lang="hu-HU" sz="1013" kern="0">
                <a:solidFill>
                  <a:srgbClr val="32323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26166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AD4C63-7729-6B4E-A6F0-448485D234E8}" type="slidenum">
              <a:rPr lang="en-US" smtClean="0"/>
              <a:t>11</a:t>
            </a:fld>
            <a:endParaRPr lang="en-US"/>
          </a:p>
        </p:txBody>
      </p:sp>
      <p:pic>
        <p:nvPicPr>
          <p:cNvPr id="4098" name="Picture 2" descr="BCDC8C05-6F07-404B-AFC1-C0135F7EB478-L0-001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9198"/>
          <a:stretch/>
        </p:blipFill>
        <p:spPr bwMode="auto">
          <a:xfrm>
            <a:off x="-874318" y="-60417"/>
            <a:ext cx="10389190" cy="5264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9">
            <a:extLst>
              <a:ext uri="{FF2B5EF4-FFF2-40B4-BE49-F238E27FC236}">
                <a16:creationId xmlns:a16="http://schemas.microsoft.com/office/drawing/2014/main" id="{00577290-3CB4-154E-9506-A17157A13913}"/>
              </a:ext>
            </a:extLst>
          </p:cNvPr>
          <p:cNvSpPr txBox="1">
            <a:spLocks/>
          </p:cNvSpPr>
          <p:nvPr/>
        </p:nvSpPr>
        <p:spPr>
          <a:xfrm>
            <a:off x="0" y="427967"/>
            <a:ext cx="3515953" cy="576293"/>
          </a:xfrm>
          <a:prstGeom prst="rect">
            <a:avLst/>
          </a:prstGeom>
          <a:solidFill>
            <a:srgbClr val="0C95C6">
              <a:alpha val="91765"/>
            </a:srgbClr>
          </a:solidFill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>
                <a:solidFill>
                  <a:schemeClr val="bg1"/>
                </a:solidFill>
              </a:rPr>
              <a:t>Call for action</a:t>
            </a:r>
            <a:endParaRPr lang="en-GB" sz="2800" dirty="0">
              <a:solidFill>
                <a:schemeClr val="bg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C50D743-811D-2B40-AB6C-49C5B9A3472B}"/>
              </a:ext>
            </a:extLst>
          </p:cNvPr>
          <p:cNvSpPr txBox="1">
            <a:spLocks/>
          </p:cNvSpPr>
          <p:nvPr/>
        </p:nvSpPr>
        <p:spPr>
          <a:xfrm>
            <a:off x="3852204" y="3648688"/>
            <a:ext cx="5386374" cy="485694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</p:spPr>
        <p:txBody>
          <a:bodyPr vert="horz" lIns="180000" tIns="144000" rIns="144000" bIns="14400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0075" indent="-2571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 sz="1400" b="1" dirty="0"/>
              <a:t>Quickly move towards digitalisation of transport documents and procedure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C50D743-811D-2B40-AB6C-49C5B9A3472B}"/>
              </a:ext>
            </a:extLst>
          </p:cNvPr>
          <p:cNvSpPr txBox="1">
            <a:spLocks/>
          </p:cNvSpPr>
          <p:nvPr/>
        </p:nvSpPr>
        <p:spPr>
          <a:xfrm>
            <a:off x="3852204" y="4205505"/>
            <a:ext cx="5386374" cy="626375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</p:spPr>
        <p:txBody>
          <a:bodyPr vert="horz" lIns="180000" tIns="144000" rIns="144000" bIns="14400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0075" indent="-2571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ClrTx/>
              <a:buNone/>
            </a:pPr>
            <a:r>
              <a:rPr lang="en-GB" sz="1400" b="1" dirty="0"/>
              <a:t>Use best practices and  global standards to solve other border crossing issues</a:t>
            </a:r>
            <a:r>
              <a:rPr lang="en-US" sz="1400" b="1" dirty="0"/>
              <a:t> </a:t>
            </a:r>
            <a:endParaRPr lang="en-GB" sz="1400" b="1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5C50D743-811D-2B40-AB6C-49C5B9A3472B}"/>
              </a:ext>
            </a:extLst>
          </p:cNvPr>
          <p:cNvSpPr txBox="1">
            <a:spLocks/>
          </p:cNvSpPr>
          <p:nvPr/>
        </p:nvSpPr>
        <p:spPr>
          <a:xfrm>
            <a:off x="3852204" y="2863696"/>
            <a:ext cx="5386374" cy="713869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</p:spPr>
        <p:txBody>
          <a:bodyPr vert="horz" lIns="180000" tIns="144000" rIns="144000" bIns="14400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0075" indent="-2571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b="1" dirty="0"/>
              <a:t>Coordinate cross-border issues at global and regional level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14443499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>
            <a:extLst>
              <a:ext uri="{FF2B5EF4-FFF2-40B4-BE49-F238E27FC236}">
                <a16:creationId xmlns:a16="http://schemas.microsoft.com/office/drawing/2014/main" id="{90F6351F-AC9C-4B43-9593-12E98C15C55E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4F0A1558-3CBF-3249-908A-B3AC044470D4}"/>
              </a:ext>
            </a:extLst>
          </p:cNvPr>
          <p:cNvSpPr/>
          <p:nvPr/>
        </p:nvSpPr>
        <p:spPr>
          <a:xfrm>
            <a:off x="0" y="3944542"/>
            <a:ext cx="9144000" cy="1198958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17A8313-102C-8441-9290-2AD6CD7927C7}"/>
              </a:ext>
            </a:extLst>
          </p:cNvPr>
          <p:cNvGrpSpPr/>
          <p:nvPr/>
        </p:nvGrpSpPr>
        <p:grpSpPr>
          <a:xfrm>
            <a:off x="588523" y="3380361"/>
            <a:ext cx="1128409" cy="1128409"/>
            <a:chOff x="784697" y="4507148"/>
            <a:chExt cx="1504545" cy="1504545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3441C00F-B19C-0C4A-A40A-370876A449FF}"/>
                </a:ext>
              </a:extLst>
            </p:cNvPr>
            <p:cNvSpPr/>
            <p:nvPr userDrawn="1"/>
          </p:nvSpPr>
          <p:spPr>
            <a:xfrm>
              <a:off x="784697" y="4507148"/>
              <a:ext cx="1504545" cy="150454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solidFill>
                  <a:srgbClr val="FFFFFF"/>
                </a:solidFill>
              </a:endParaRP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E7A2468-CBB2-4442-8DFD-6D309946284C}"/>
                </a:ext>
              </a:extLst>
            </p:cNvPr>
            <p:cNvGrpSpPr/>
            <p:nvPr/>
          </p:nvGrpSpPr>
          <p:grpSpPr>
            <a:xfrm>
              <a:off x="1139473" y="5017193"/>
              <a:ext cx="806210" cy="484392"/>
              <a:chOff x="5342425" y="2976487"/>
              <a:chExt cx="1506305" cy="905027"/>
            </a:xfrm>
          </p:grpSpPr>
          <p:sp>
            <p:nvSpPr>
              <p:cNvPr id="10" name="Freeform: Shape 30">
                <a:extLst>
                  <a:ext uri="{FF2B5EF4-FFF2-40B4-BE49-F238E27FC236}">
                    <a16:creationId xmlns:a16="http://schemas.microsoft.com/office/drawing/2014/main" id="{F9193CAC-8B75-964D-A7D0-F69C1DC091C9}"/>
                  </a:ext>
                </a:extLst>
              </p:cNvPr>
              <p:cNvSpPr/>
              <p:nvPr/>
            </p:nvSpPr>
            <p:spPr>
              <a:xfrm>
                <a:off x="6162929" y="2976631"/>
                <a:ext cx="685801" cy="904876"/>
              </a:xfrm>
              <a:custGeom>
                <a:avLst/>
                <a:gdLst>
                  <a:gd name="connsiteX0" fmla="*/ 419281 w 685800"/>
                  <a:gd name="connsiteY0" fmla="*/ 0 h 904875"/>
                  <a:gd name="connsiteX1" fmla="*/ 419281 w 685800"/>
                  <a:gd name="connsiteY1" fmla="*/ 534876 h 904875"/>
                  <a:gd name="connsiteX2" fmla="*/ 279302 w 685800"/>
                  <a:gd name="connsiteY2" fmla="*/ 702840 h 904875"/>
                  <a:gd name="connsiteX3" fmla="*/ 138046 w 685800"/>
                  <a:gd name="connsiteY3" fmla="*/ 534876 h 904875"/>
                  <a:gd name="connsiteX4" fmla="*/ 138046 w 685800"/>
                  <a:gd name="connsiteY4" fmla="*/ 285007 h 904875"/>
                  <a:gd name="connsiteX5" fmla="*/ 0 w 685800"/>
                  <a:gd name="connsiteY5" fmla="*/ 499529 h 904875"/>
                  <a:gd name="connsiteX6" fmla="*/ 219999 w 685800"/>
                  <a:gd name="connsiteY6" fmla="*/ 905780 h 904875"/>
                  <a:gd name="connsiteX7" fmla="*/ 237125 w 685800"/>
                  <a:gd name="connsiteY7" fmla="*/ 906075 h 904875"/>
                  <a:gd name="connsiteX8" fmla="*/ 286084 w 685800"/>
                  <a:gd name="connsiteY8" fmla="*/ 906075 h 904875"/>
                  <a:gd name="connsiteX9" fmla="*/ 584997 w 685800"/>
                  <a:gd name="connsiteY9" fmla="*/ 811644 h 904875"/>
                  <a:gd name="connsiteX10" fmla="*/ 690658 w 685800"/>
                  <a:gd name="connsiteY10" fmla="*/ 523532 h 904875"/>
                  <a:gd name="connsiteX11" fmla="*/ 690658 w 685800"/>
                  <a:gd name="connsiteY11" fmla="*/ 0 h 904875"/>
                  <a:gd name="connsiteX12" fmla="*/ 419281 w 685800"/>
                  <a:gd name="connsiteY12" fmla="*/ 0 h 904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85800" h="904875">
                    <a:moveTo>
                      <a:pt x="419281" y="0"/>
                    </a:moveTo>
                    <a:lnTo>
                      <a:pt x="419281" y="534876"/>
                    </a:lnTo>
                    <a:cubicBezTo>
                      <a:pt x="419281" y="651358"/>
                      <a:pt x="352911" y="702840"/>
                      <a:pt x="279302" y="702840"/>
                    </a:cubicBezTo>
                    <a:cubicBezTo>
                      <a:pt x="202540" y="702840"/>
                      <a:pt x="138046" y="651358"/>
                      <a:pt x="138046" y="534876"/>
                    </a:cubicBezTo>
                    <a:lnTo>
                      <a:pt x="138046" y="285007"/>
                    </a:lnTo>
                    <a:cubicBezTo>
                      <a:pt x="138046" y="419967"/>
                      <a:pt x="0" y="499529"/>
                      <a:pt x="0" y="499529"/>
                    </a:cubicBezTo>
                    <a:lnTo>
                      <a:pt x="219999" y="905780"/>
                    </a:lnTo>
                    <a:cubicBezTo>
                      <a:pt x="225609" y="905961"/>
                      <a:pt x="231305" y="906075"/>
                      <a:pt x="237125" y="906075"/>
                    </a:cubicBezTo>
                    <a:lnTo>
                      <a:pt x="286084" y="906075"/>
                    </a:lnTo>
                    <a:cubicBezTo>
                      <a:pt x="418700" y="906075"/>
                      <a:pt x="507121" y="874205"/>
                      <a:pt x="584997" y="811644"/>
                    </a:cubicBezTo>
                    <a:cubicBezTo>
                      <a:pt x="668417" y="744255"/>
                      <a:pt x="690658" y="654729"/>
                      <a:pt x="690658" y="523532"/>
                    </a:cubicBezTo>
                    <a:lnTo>
                      <a:pt x="690658" y="0"/>
                    </a:lnTo>
                    <a:lnTo>
                      <a:pt x="419281" y="0"/>
                    </a:lnTo>
                    <a:close/>
                  </a:path>
                </a:pathLst>
              </a:custGeom>
              <a:solidFill>
                <a:srgbClr val="00B6F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en-US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" name="Freeform: Shape 31">
                <a:extLst>
                  <a:ext uri="{FF2B5EF4-FFF2-40B4-BE49-F238E27FC236}">
                    <a16:creationId xmlns:a16="http://schemas.microsoft.com/office/drawing/2014/main" id="{09ED0B00-8D65-7D40-8A9B-08617A0CC80F}"/>
                  </a:ext>
                </a:extLst>
              </p:cNvPr>
              <p:cNvSpPr/>
              <p:nvPr/>
            </p:nvSpPr>
            <p:spPr>
              <a:xfrm>
                <a:off x="5342425" y="2976631"/>
                <a:ext cx="190499" cy="904876"/>
              </a:xfrm>
              <a:custGeom>
                <a:avLst/>
                <a:gdLst>
                  <a:gd name="connsiteX0" fmla="*/ 0 w 190500"/>
                  <a:gd name="connsiteY0" fmla="*/ 0 h 904875"/>
                  <a:gd name="connsiteX1" fmla="*/ 193062 w 190500"/>
                  <a:gd name="connsiteY1" fmla="*/ 0 h 904875"/>
                  <a:gd name="connsiteX2" fmla="*/ 193062 w 190500"/>
                  <a:gd name="connsiteY2" fmla="*/ 906075 h 904875"/>
                  <a:gd name="connsiteX3" fmla="*/ 0 w 190500"/>
                  <a:gd name="connsiteY3" fmla="*/ 906075 h 904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0" h="904875">
                    <a:moveTo>
                      <a:pt x="0" y="0"/>
                    </a:moveTo>
                    <a:lnTo>
                      <a:pt x="193062" y="0"/>
                    </a:lnTo>
                    <a:lnTo>
                      <a:pt x="193062" y="906075"/>
                    </a:lnTo>
                    <a:lnTo>
                      <a:pt x="0" y="906075"/>
                    </a:lnTo>
                    <a:close/>
                  </a:path>
                </a:pathLst>
              </a:custGeom>
              <a:solidFill>
                <a:srgbClr val="00B6F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en-US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2" name="Freeform: Shape 32">
                <a:extLst>
                  <a:ext uri="{FF2B5EF4-FFF2-40B4-BE49-F238E27FC236}">
                    <a16:creationId xmlns:a16="http://schemas.microsoft.com/office/drawing/2014/main" id="{22910ECC-A419-4D44-A554-1ACE14C37690}"/>
                  </a:ext>
                </a:extLst>
              </p:cNvPr>
              <p:cNvSpPr/>
              <p:nvPr/>
            </p:nvSpPr>
            <p:spPr>
              <a:xfrm>
                <a:off x="5688984" y="2976638"/>
                <a:ext cx="685801" cy="904876"/>
              </a:xfrm>
              <a:custGeom>
                <a:avLst/>
                <a:gdLst>
                  <a:gd name="connsiteX0" fmla="*/ 343967 w 685800"/>
                  <a:gd name="connsiteY0" fmla="*/ 523532 h 904875"/>
                  <a:gd name="connsiteX1" fmla="*/ 343967 w 685800"/>
                  <a:gd name="connsiteY1" fmla="*/ 0 h 904875"/>
                  <a:gd name="connsiteX2" fmla="*/ 0 w 685800"/>
                  <a:gd name="connsiteY2" fmla="*/ 0 h 904875"/>
                  <a:gd name="connsiteX3" fmla="*/ 0 w 685800"/>
                  <a:gd name="connsiteY3" fmla="*/ 906066 h 904875"/>
                  <a:gd name="connsiteX4" fmla="*/ 112795 w 685800"/>
                  <a:gd name="connsiteY4" fmla="*/ 906066 h 904875"/>
                  <a:gd name="connsiteX5" fmla="*/ 112795 w 685800"/>
                  <a:gd name="connsiteY5" fmla="*/ 567100 h 904875"/>
                  <a:gd name="connsiteX6" fmla="*/ 250965 w 685800"/>
                  <a:gd name="connsiteY6" fmla="*/ 567100 h 904875"/>
                  <a:gd name="connsiteX7" fmla="*/ 404689 w 685800"/>
                  <a:gd name="connsiteY7" fmla="*/ 906066 h 904875"/>
                  <a:gd name="connsiteX8" fmla="*/ 694963 w 685800"/>
                  <a:gd name="connsiteY8" fmla="*/ 906066 h 904875"/>
                  <a:gd name="connsiteX9" fmla="*/ 694782 w 685800"/>
                  <a:gd name="connsiteY9" fmla="*/ 905770 h 904875"/>
                  <a:gd name="connsiteX10" fmla="*/ 451009 w 685800"/>
                  <a:gd name="connsiteY10" fmla="*/ 811635 h 904875"/>
                  <a:gd name="connsiteX11" fmla="*/ 343967 w 685800"/>
                  <a:gd name="connsiteY11" fmla="*/ 523532 h 904875"/>
                  <a:gd name="connsiteX12" fmla="*/ 232743 w 685800"/>
                  <a:gd name="connsiteY12" fmla="*/ 388125 h 904875"/>
                  <a:gd name="connsiteX13" fmla="*/ 112795 w 685800"/>
                  <a:gd name="connsiteY13" fmla="*/ 388125 h 904875"/>
                  <a:gd name="connsiteX14" fmla="*/ 112795 w 685800"/>
                  <a:gd name="connsiteY14" fmla="*/ 181461 h 904875"/>
                  <a:gd name="connsiteX15" fmla="*/ 239153 w 685800"/>
                  <a:gd name="connsiteY15" fmla="*/ 181461 h 904875"/>
                  <a:gd name="connsiteX16" fmla="*/ 342995 w 685800"/>
                  <a:gd name="connsiteY16" fmla="*/ 279749 h 904875"/>
                  <a:gd name="connsiteX17" fmla="*/ 232743 w 685800"/>
                  <a:gd name="connsiteY17" fmla="*/ 388125 h 904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85800" h="904875">
                    <a:moveTo>
                      <a:pt x="343967" y="523532"/>
                    </a:moveTo>
                    <a:lnTo>
                      <a:pt x="343967" y="0"/>
                    </a:lnTo>
                    <a:lnTo>
                      <a:pt x="0" y="0"/>
                    </a:lnTo>
                    <a:lnTo>
                      <a:pt x="0" y="906066"/>
                    </a:lnTo>
                    <a:lnTo>
                      <a:pt x="112795" y="906066"/>
                    </a:lnTo>
                    <a:lnTo>
                      <a:pt x="112795" y="567100"/>
                    </a:lnTo>
                    <a:lnTo>
                      <a:pt x="250965" y="567100"/>
                    </a:lnTo>
                    <a:cubicBezTo>
                      <a:pt x="250965" y="567100"/>
                      <a:pt x="376533" y="830447"/>
                      <a:pt x="404689" y="906066"/>
                    </a:cubicBezTo>
                    <a:lnTo>
                      <a:pt x="694963" y="906066"/>
                    </a:lnTo>
                    <a:lnTo>
                      <a:pt x="694782" y="905770"/>
                    </a:lnTo>
                    <a:cubicBezTo>
                      <a:pt x="587626" y="902084"/>
                      <a:pt x="515950" y="863813"/>
                      <a:pt x="451009" y="811635"/>
                    </a:cubicBezTo>
                    <a:cubicBezTo>
                      <a:pt x="367599" y="744245"/>
                      <a:pt x="343967" y="654720"/>
                      <a:pt x="343967" y="523532"/>
                    </a:cubicBezTo>
                    <a:moveTo>
                      <a:pt x="232743" y="388125"/>
                    </a:moveTo>
                    <a:lnTo>
                      <a:pt x="112795" y="388125"/>
                    </a:lnTo>
                    <a:lnTo>
                      <a:pt x="112795" y="181461"/>
                    </a:lnTo>
                    <a:lnTo>
                      <a:pt x="239153" y="181461"/>
                    </a:lnTo>
                    <a:cubicBezTo>
                      <a:pt x="293837" y="181461"/>
                      <a:pt x="342995" y="212960"/>
                      <a:pt x="342995" y="279749"/>
                    </a:cubicBezTo>
                    <a:cubicBezTo>
                      <a:pt x="342995" y="355340"/>
                      <a:pt x="291989" y="388125"/>
                      <a:pt x="232743" y="388125"/>
                    </a:cubicBezTo>
                  </a:path>
                </a:pathLst>
              </a:custGeom>
              <a:solidFill>
                <a:srgbClr val="2484C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en-US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3" name="Freeform: Shape 33">
                <a:extLst>
                  <a:ext uri="{FF2B5EF4-FFF2-40B4-BE49-F238E27FC236}">
                    <a16:creationId xmlns:a16="http://schemas.microsoft.com/office/drawing/2014/main" id="{713A6A53-ED19-FE44-A743-1C7AC6E1FB51}"/>
                  </a:ext>
                </a:extLst>
              </p:cNvPr>
              <p:cNvSpPr/>
              <p:nvPr/>
            </p:nvSpPr>
            <p:spPr>
              <a:xfrm>
                <a:off x="6032105" y="2976487"/>
                <a:ext cx="342900" cy="904875"/>
              </a:xfrm>
              <a:custGeom>
                <a:avLst/>
                <a:gdLst>
                  <a:gd name="connsiteX0" fmla="*/ 268871 w 342900"/>
                  <a:gd name="connsiteY0" fmla="*/ 285007 h 904875"/>
                  <a:gd name="connsiteX1" fmla="*/ 268871 w 342900"/>
                  <a:gd name="connsiteY1" fmla="*/ 243878 h 904875"/>
                  <a:gd name="connsiteX2" fmla="*/ 0 w 342900"/>
                  <a:gd name="connsiteY2" fmla="*/ 0 h 904875"/>
                  <a:gd name="connsiteX3" fmla="*/ 0 w 342900"/>
                  <a:gd name="connsiteY3" fmla="*/ 523532 h 904875"/>
                  <a:gd name="connsiteX4" fmla="*/ 107052 w 342900"/>
                  <a:gd name="connsiteY4" fmla="*/ 811644 h 904875"/>
                  <a:gd name="connsiteX5" fmla="*/ 350825 w 342900"/>
                  <a:gd name="connsiteY5" fmla="*/ 905789 h 904875"/>
                  <a:gd name="connsiteX6" fmla="*/ 130836 w 342900"/>
                  <a:gd name="connsiteY6" fmla="*/ 499539 h 904875"/>
                  <a:gd name="connsiteX7" fmla="*/ 268871 w 342900"/>
                  <a:gd name="connsiteY7" fmla="*/ 285007 h 904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2900" h="904875">
                    <a:moveTo>
                      <a:pt x="268871" y="285007"/>
                    </a:moveTo>
                    <a:lnTo>
                      <a:pt x="268871" y="243878"/>
                    </a:lnTo>
                    <a:cubicBezTo>
                      <a:pt x="268871" y="94393"/>
                      <a:pt x="110528" y="0"/>
                      <a:pt x="0" y="0"/>
                    </a:cubicBezTo>
                    <a:lnTo>
                      <a:pt x="0" y="523532"/>
                    </a:lnTo>
                    <a:cubicBezTo>
                      <a:pt x="0" y="654729"/>
                      <a:pt x="23641" y="744264"/>
                      <a:pt x="107052" y="811644"/>
                    </a:cubicBezTo>
                    <a:cubicBezTo>
                      <a:pt x="171993" y="863813"/>
                      <a:pt x="243668" y="902084"/>
                      <a:pt x="350825" y="905789"/>
                    </a:cubicBezTo>
                    <a:lnTo>
                      <a:pt x="130836" y="499539"/>
                    </a:lnTo>
                    <a:cubicBezTo>
                      <a:pt x="130836" y="499539"/>
                      <a:pt x="268871" y="419957"/>
                      <a:pt x="268871" y="285007"/>
                    </a:cubicBezTo>
                  </a:path>
                </a:pathLst>
              </a:custGeom>
              <a:solidFill>
                <a:srgbClr val="0052A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en-US" sz="135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4" name="Freeform: Shape 34">
                <a:extLst>
                  <a:ext uri="{FF2B5EF4-FFF2-40B4-BE49-F238E27FC236}">
                    <a16:creationId xmlns:a16="http://schemas.microsoft.com/office/drawing/2014/main" id="{4AF7C8A6-0CD5-184F-92C5-C0FDD0629DB2}"/>
                  </a:ext>
                </a:extLst>
              </p:cNvPr>
              <p:cNvSpPr/>
              <p:nvPr/>
            </p:nvSpPr>
            <p:spPr>
              <a:xfrm>
                <a:off x="5535487" y="2976487"/>
                <a:ext cx="152399" cy="904875"/>
              </a:xfrm>
              <a:custGeom>
                <a:avLst/>
                <a:gdLst>
                  <a:gd name="connsiteX0" fmla="*/ 0 w 152400"/>
                  <a:gd name="connsiteY0" fmla="*/ 0 h 904875"/>
                  <a:gd name="connsiteX1" fmla="*/ 153495 w 152400"/>
                  <a:gd name="connsiteY1" fmla="*/ 0 h 904875"/>
                  <a:gd name="connsiteX2" fmla="*/ 153495 w 152400"/>
                  <a:gd name="connsiteY2" fmla="*/ 906075 h 904875"/>
                  <a:gd name="connsiteX3" fmla="*/ 0 w 152400"/>
                  <a:gd name="connsiteY3" fmla="*/ 906075 h 904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2400" h="904875">
                    <a:moveTo>
                      <a:pt x="0" y="0"/>
                    </a:moveTo>
                    <a:lnTo>
                      <a:pt x="153495" y="0"/>
                    </a:lnTo>
                    <a:lnTo>
                      <a:pt x="153495" y="906075"/>
                    </a:lnTo>
                    <a:lnTo>
                      <a:pt x="0" y="906075"/>
                    </a:lnTo>
                    <a:close/>
                  </a:path>
                </a:pathLst>
              </a:custGeom>
              <a:solidFill>
                <a:srgbClr val="0052A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>
                  <a:defRPr/>
                </a:pPr>
                <a:endParaRPr lang="en-US" sz="135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C1964387-E082-FE43-8987-DCF48D14B954}"/>
              </a:ext>
            </a:extLst>
          </p:cNvPr>
          <p:cNvSpPr txBox="1"/>
          <p:nvPr/>
        </p:nvSpPr>
        <p:spPr>
          <a:xfrm>
            <a:off x="1829687" y="4007804"/>
            <a:ext cx="29718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100" dirty="0">
                <a:solidFill>
                  <a:srgbClr val="FFFFFF"/>
                </a:solidFill>
              </a:rPr>
              <a:t>For the world </a:t>
            </a:r>
            <a:r>
              <a:rPr lang="en-US" sz="2100" dirty="0">
                <a:solidFill>
                  <a:srgbClr val="FFD600"/>
                </a:solidFill>
              </a:rPr>
              <a:t>in motion</a:t>
            </a:r>
          </a:p>
        </p:txBody>
      </p:sp>
    </p:spTree>
    <p:extLst>
      <p:ext uri="{BB962C8B-B14F-4D97-AF65-F5344CB8AC3E}">
        <p14:creationId xmlns:p14="http://schemas.microsoft.com/office/powerpoint/2010/main" val="22478571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943642E2-75EC-8B4A-B9AC-B52D1C5D9DDD}"/>
              </a:ext>
            </a:extLst>
          </p:cNvPr>
          <p:cNvGrpSpPr/>
          <p:nvPr/>
        </p:nvGrpSpPr>
        <p:grpSpPr>
          <a:xfrm>
            <a:off x="1" y="-5582"/>
            <a:ext cx="8609558" cy="5152326"/>
            <a:chOff x="0" y="-7443"/>
            <a:chExt cx="11479410" cy="6869768"/>
          </a:xfrm>
        </p:grpSpPr>
        <p:pic>
          <p:nvPicPr>
            <p:cNvPr id="2" name="Picture 1" descr="A picture containing grass, outdoor, building, transport&#10;&#10;Description automatically generated">
              <a:extLst>
                <a:ext uri="{FF2B5EF4-FFF2-40B4-BE49-F238E27FC236}">
                  <a16:creationId xmlns:a16="http://schemas.microsoft.com/office/drawing/2014/main" id="{31AF4E95-C7FE-3444-BDB9-23942D8C3B7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0" y="5030"/>
              <a:ext cx="7259102" cy="6857295"/>
            </a:xfrm>
            <a:prstGeom prst="rect">
              <a:avLst/>
            </a:prstGeom>
          </p:spPr>
        </p:pic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EA1CD43-DB0F-D844-8DD0-8D6B6EE4DAB2}"/>
                </a:ext>
              </a:extLst>
            </p:cNvPr>
            <p:cNvSpPr/>
            <p:nvPr/>
          </p:nvSpPr>
          <p:spPr>
            <a:xfrm>
              <a:off x="4220308" y="-7443"/>
              <a:ext cx="7259102" cy="6860413"/>
            </a:xfrm>
            <a:prstGeom prst="rect">
              <a:avLst/>
            </a:prstGeom>
            <a:gradFill flip="none" rotWithShape="1">
              <a:gsLst>
                <a:gs pos="32000">
                  <a:schemeClr val="bg1"/>
                </a:gs>
                <a:gs pos="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srgbClr val="FFFFFF"/>
                </a:solidFill>
              </a:endParaRPr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9303484A-910E-7A4E-AAF1-D70AF8F07CD0}"/>
              </a:ext>
            </a:extLst>
          </p:cNvPr>
          <p:cNvSpPr/>
          <p:nvPr/>
        </p:nvSpPr>
        <p:spPr>
          <a:xfrm>
            <a:off x="4009401" y="1105591"/>
            <a:ext cx="4894361" cy="2926915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4EE54B9-4A70-6E4A-9122-791D6B3B95AF}"/>
              </a:ext>
            </a:extLst>
          </p:cNvPr>
          <p:cNvSpPr/>
          <p:nvPr/>
        </p:nvSpPr>
        <p:spPr>
          <a:xfrm>
            <a:off x="4318002" y="1339995"/>
            <a:ext cx="4458026" cy="1609027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r>
              <a:rPr lang="en-US" sz="4500" baseline="30000" dirty="0">
                <a:solidFill>
                  <a:srgbClr val="000000"/>
                </a:solidFill>
              </a:rPr>
              <a:t>The world road </a:t>
            </a:r>
            <a:br>
              <a:rPr lang="en-US" sz="4500" baseline="30000" dirty="0">
                <a:solidFill>
                  <a:srgbClr val="000000"/>
                </a:solidFill>
              </a:rPr>
            </a:br>
            <a:r>
              <a:rPr lang="en-US" sz="4500" baseline="30000" dirty="0">
                <a:solidFill>
                  <a:srgbClr val="000000"/>
                </a:solidFill>
              </a:rPr>
              <a:t>transport </a:t>
            </a:r>
            <a:r>
              <a:rPr lang="en-US" sz="4500" baseline="30000" dirty="0" err="1">
                <a:solidFill>
                  <a:srgbClr val="000000"/>
                </a:solidFill>
              </a:rPr>
              <a:t>organisation</a:t>
            </a:r>
            <a:endParaRPr lang="en-US" sz="4500" baseline="30000" dirty="0">
              <a:solidFill>
                <a:srgbClr val="000000"/>
              </a:solidFill>
            </a:endParaRPr>
          </a:p>
          <a:p>
            <a:r>
              <a:rPr lang="en-US" baseline="30000" dirty="0">
                <a:solidFill>
                  <a:srgbClr val="000000"/>
                </a:solidFill>
              </a:rPr>
              <a:t>IRU is the global voice of companies providing commercial road transport, mobility and logistics services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A159CEB-B9D5-624A-9D24-AD81F81CCB6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8563" y="2773648"/>
            <a:ext cx="4199740" cy="120556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448145E-300B-0846-B818-CE4400C57AC4}"/>
              </a:ext>
            </a:extLst>
          </p:cNvPr>
          <p:cNvSpPr/>
          <p:nvPr/>
        </p:nvSpPr>
        <p:spPr>
          <a:xfrm>
            <a:off x="2337535" y="2360326"/>
            <a:ext cx="1671866" cy="1672178"/>
          </a:xfrm>
          <a:prstGeom prst="rect">
            <a:avLst/>
          </a:prstGeom>
          <a:solidFill>
            <a:srgbClr val="40C8F4">
              <a:alpha val="9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rgbClr val="FFFFFF"/>
                </a:solidFill>
              </a:rPr>
              <a:t>WE ARE THE VOICE</a:t>
            </a:r>
          </a:p>
          <a:p>
            <a:pPr algn="ctr"/>
            <a:r>
              <a:rPr lang="en-US" sz="900" dirty="0">
                <a:solidFill>
                  <a:srgbClr val="FFFFFF"/>
                </a:solidFill>
              </a:rPr>
              <a:t>OF MORE THAN </a:t>
            </a:r>
          </a:p>
          <a:p>
            <a:pPr algn="ctr"/>
            <a:r>
              <a:rPr lang="en-US" sz="2700" b="1" dirty="0">
                <a:solidFill>
                  <a:srgbClr val="FFFFFF"/>
                </a:solidFill>
              </a:rPr>
              <a:t>3.5 MILLION</a:t>
            </a:r>
          </a:p>
          <a:p>
            <a:pPr algn="ctr"/>
            <a:r>
              <a:rPr lang="en-US" sz="900" dirty="0">
                <a:solidFill>
                  <a:srgbClr val="FFFFFF"/>
                </a:solidFill>
              </a:rPr>
              <a:t>COMPANIES WORLDWIDE</a:t>
            </a:r>
          </a:p>
        </p:txBody>
      </p:sp>
    </p:spTree>
    <p:extLst>
      <p:ext uri="{BB962C8B-B14F-4D97-AF65-F5344CB8AC3E}">
        <p14:creationId xmlns:p14="http://schemas.microsoft.com/office/powerpoint/2010/main" val="12985072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8" name="Group 3">
            <a:extLst>
              <a:ext uri="{FF2B5EF4-FFF2-40B4-BE49-F238E27FC236}">
                <a16:creationId xmlns:a16="http://schemas.microsoft.com/office/drawing/2014/main" id="{F55C1DF1-D4EC-4B9C-BB5D-41DF3B5D3316}"/>
              </a:ext>
            </a:extLst>
          </p:cNvPr>
          <p:cNvGrpSpPr/>
          <p:nvPr/>
        </p:nvGrpSpPr>
        <p:grpSpPr>
          <a:xfrm>
            <a:off x="246580" y="263692"/>
            <a:ext cx="8897420" cy="4392299"/>
            <a:chOff x="925764" y="769228"/>
            <a:chExt cx="7292472" cy="3600000"/>
          </a:xfrm>
        </p:grpSpPr>
        <p:sp>
          <p:nvSpPr>
            <p:cNvPr id="249" name="Freeform 6">
              <a:extLst>
                <a:ext uri="{FF2B5EF4-FFF2-40B4-BE49-F238E27FC236}">
                  <a16:creationId xmlns:a16="http://schemas.microsoft.com/office/drawing/2014/main" id="{3929E8DF-554A-4175-9078-E4EC27780D6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2014" y="1835943"/>
              <a:ext cx="307380" cy="246165"/>
            </a:xfrm>
            <a:custGeom>
              <a:avLst/>
              <a:gdLst>
                <a:gd name="T0" fmla="*/ 23 w 236"/>
                <a:gd name="T1" fmla="*/ 66 h 189"/>
                <a:gd name="T2" fmla="*/ 37 w 236"/>
                <a:gd name="T3" fmla="*/ 54 h 189"/>
                <a:gd name="T4" fmla="*/ 58 w 236"/>
                <a:gd name="T5" fmla="*/ 45 h 189"/>
                <a:gd name="T6" fmla="*/ 71 w 236"/>
                <a:gd name="T7" fmla="*/ 24 h 189"/>
                <a:gd name="T8" fmla="*/ 82 w 236"/>
                <a:gd name="T9" fmla="*/ 22 h 189"/>
                <a:gd name="T10" fmla="*/ 97 w 236"/>
                <a:gd name="T11" fmla="*/ 23 h 189"/>
                <a:gd name="T12" fmla="*/ 116 w 236"/>
                <a:gd name="T13" fmla="*/ 30 h 189"/>
                <a:gd name="T14" fmla="*/ 134 w 236"/>
                <a:gd name="T15" fmla="*/ 27 h 189"/>
                <a:gd name="T16" fmla="*/ 147 w 236"/>
                <a:gd name="T17" fmla="*/ 18 h 189"/>
                <a:gd name="T18" fmla="*/ 149 w 236"/>
                <a:gd name="T19" fmla="*/ 7 h 189"/>
                <a:gd name="T20" fmla="*/ 165 w 236"/>
                <a:gd name="T21" fmla="*/ 4 h 189"/>
                <a:gd name="T22" fmla="*/ 170 w 236"/>
                <a:gd name="T23" fmla="*/ 12 h 189"/>
                <a:gd name="T24" fmla="*/ 182 w 236"/>
                <a:gd name="T25" fmla="*/ 36 h 189"/>
                <a:gd name="T26" fmla="*/ 193 w 236"/>
                <a:gd name="T27" fmla="*/ 29 h 189"/>
                <a:gd name="T28" fmla="*/ 214 w 236"/>
                <a:gd name="T29" fmla="*/ 22 h 189"/>
                <a:gd name="T30" fmla="*/ 236 w 236"/>
                <a:gd name="T31" fmla="*/ 28 h 189"/>
                <a:gd name="T32" fmla="*/ 219 w 236"/>
                <a:gd name="T33" fmla="*/ 34 h 189"/>
                <a:gd name="T34" fmla="*/ 183 w 236"/>
                <a:gd name="T35" fmla="*/ 40 h 189"/>
                <a:gd name="T36" fmla="*/ 181 w 236"/>
                <a:gd name="T37" fmla="*/ 58 h 189"/>
                <a:gd name="T38" fmla="*/ 179 w 236"/>
                <a:gd name="T39" fmla="*/ 77 h 189"/>
                <a:gd name="T40" fmla="*/ 178 w 236"/>
                <a:gd name="T41" fmla="*/ 93 h 189"/>
                <a:gd name="T42" fmla="*/ 172 w 236"/>
                <a:gd name="T43" fmla="*/ 106 h 189"/>
                <a:gd name="T44" fmla="*/ 157 w 236"/>
                <a:gd name="T45" fmla="*/ 123 h 189"/>
                <a:gd name="T46" fmla="*/ 155 w 236"/>
                <a:gd name="T47" fmla="*/ 142 h 189"/>
                <a:gd name="T48" fmla="*/ 135 w 236"/>
                <a:gd name="T49" fmla="*/ 142 h 189"/>
                <a:gd name="T50" fmla="*/ 121 w 236"/>
                <a:gd name="T51" fmla="*/ 148 h 189"/>
                <a:gd name="T52" fmla="*/ 116 w 236"/>
                <a:gd name="T53" fmla="*/ 178 h 189"/>
                <a:gd name="T54" fmla="*/ 82 w 236"/>
                <a:gd name="T55" fmla="*/ 184 h 189"/>
                <a:gd name="T56" fmla="*/ 68 w 236"/>
                <a:gd name="T57" fmla="*/ 186 h 189"/>
                <a:gd name="T58" fmla="*/ 20 w 236"/>
                <a:gd name="T59" fmla="*/ 179 h 189"/>
                <a:gd name="T60" fmla="*/ 29 w 236"/>
                <a:gd name="T61" fmla="*/ 147 h 189"/>
                <a:gd name="T62" fmla="*/ 11 w 236"/>
                <a:gd name="T63" fmla="*/ 130 h 189"/>
                <a:gd name="T64" fmla="*/ 8 w 236"/>
                <a:gd name="T65" fmla="*/ 102 h 189"/>
                <a:gd name="T66" fmla="*/ 2 w 236"/>
                <a:gd name="T67" fmla="*/ 84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36" h="189">
                  <a:moveTo>
                    <a:pt x="4" y="58"/>
                  </a:moveTo>
                  <a:lnTo>
                    <a:pt x="23" y="66"/>
                  </a:lnTo>
                  <a:lnTo>
                    <a:pt x="35" y="63"/>
                  </a:lnTo>
                  <a:lnTo>
                    <a:pt x="37" y="54"/>
                  </a:lnTo>
                  <a:lnTo>
                    <a:pt x="50" y="51"/>
                  </a:lnTo>
                  <a:lnTo>
                    <a:pt x="58" y="45"/>
                  </a:lnTo>
                  <a:lnTo>
                    <a:pt x="58" y="28"/>
                  </a:lnTo>
                  <a:lnTo>
                    <a:pt x="71" y="24"/>
                  </a:lnTo>
                  <a:lnTo>
                    <a:pt x="72" y="17"/>
                  </a:lnTo>
                  <a:lnTo>
                    <a:pt x="82" y="22"/>
                  </a:lnTo>
                  <a:lnTo>
                    <a:pt x="87" y="23"/>
                  </a:lnTo>
                  <a:lnTo>
                    <a:pt x="97" y="23"/>
                  </a:lnTo>
                  <a:lnTo>
                    <a:pt x="110" y="27"/>
                  </a:lnTo>
                  <a:lnTo>
                    <a:pt x="116" y="30"/>
                  </a:lnTo>
                  <a:lnTo>
                    <a:pt x="127" y="23"/>
                  </a:lnTo>
                  <a:lnTo>
                    <a:pt x="134" y="27"/>
                  </a:lnTo>
                  <a:lnTo>
                    <a:pt x="137" y="18"/>
                  </a:lnTo>
                  <a:lnTo>
                    <a:pt x="147" y="18"/>
                  </a:lnTo>
                  <a:lnTo>
                    <a:pt x="149" y="15"/>
                  </a:lnTo>
                  <a:lnTo>
                    <a:pt x="149" y="7"/>
                  </a:lnTo>
                  <a:lnTo>
                    <a:pt x="154" y="0"/>
                  </a:lnTo>
                  <a:lnTo>
                    <a:pt x="165" y="4"/>
                  </a:lnTo>
                  <a:lnTo>
                    <a:pt x="165" y="11"/>
                  </a:lnTo>
                  <a:lnTo>
                    <a:pt x="170" y="12"/>
                  </a:lnTo>
                  <a:lnTo>
                    <a:pt x="173" y="29"/>
                  </a:lnTo>
                  <a:lnTo>
                    <a:pt x="182" y="36"/>
                  </a:lnTo>
                  <a:lnTo>
                    <a:pt x="186" y="31"/>
                  </a:lnTo>
                  <a:lnTo>
                    <a:pt x="193" y="29"/>
                  </a:lnTo>
                  <a:lnTo>
                    <a:pt x="202" y="20"/>
                  </a:lnTo>
                  <a:lnTo>
                    <a:pt x="214" y="22"/>
                  </a:lnTo>
                  <a:lnTo>
                    <a:pt x="232" y="22"/>
                  </a:lnTo>
                  <a:lnTo>
                    <a:pt x="236" y="28"/>
                  </a:lnTo>
                  <a:lnTo>
                    <a:pt x="227" y="30"/>
                  </a:lnTo>
                  <a:lnTo>
                    <a:pt x="219" y="34"/>
                  </a:lnTo>
                  <a:lnTo>
                    <a:pt x="200" y="36"/>
                  </a:lnTo>
                  <a:lnTo>
                    <a:pt x="183" y="40"/>
                  </a:lnTo>
                  <a:lnTo>
                    <a:pt x="175" y="50"/>
                  </a:lnTo>
                  <a:lnTo>
                    <a:pt x="181" y="58"/>
                  </a:lnTo>
                  <a:lnTo>
                    <a:pt x="185" y="69"/>
                  </a:lnTo>
                  <a:lnTo>
                    <a:pt x="179" y="77"/>
                  </a:lnTo>
                  <a:lnTo>
                    <a:pt x="182" y="85"/>
                  </a:lnTo>
                  <a:lnTo>
                    <a:pt x="178" y="93"/>
                  </a:lnTo>
                  <a:lnTo>
                    <a:pt x="162" y="92"/>
                  </a:lnTo>
                  <a:lnTo>
                    <a:pt x="172" y="106"/>
                  </a:lnTo>
                  <a:lnTo>
                    <a:pt x="162" y="111"/>
                  </a:lnTo>
                  <a:lnTo>
                    <a:pt x="157" y="123"/>
                  </a:lnTo>
                  <a:lnTo>
                    <a:pt x="160" y="136"/>
                  </a:lnTo>
                  <a:lnTo>
                    <a:pt x="155" y="142"/>
                  </a:lnTo>
                  <a:lnTo>
                    <a:pt x="148" y="140"/>
                  </a:lnTo>
                  <a:lnTo>
                    <a:pt x="135" y="142"/>
                  </a:lnTo>
                  <a:lnTo>
                    <a:pt x="134" y="148"/>
                  </a:lnTo>
                  <a:lnTo>
                    <a:pt x="121" y="148"/>
                  </a:lnTo>
                  <a:lnTo>
                    <a:pt x="113" y="160"/>
                  </a:lnTo>
                  <a:lnTo>
                    <a:pt x="116" y="178"/>
                  </a:lnTo>
                  <a:lnTo>
                    <a:pt x="95" y="186"/>
                  </a:lnTo>
                  <a:lnTo>
                    <a:pt x="82" y="184"/>
                  </a:lnTo>
                  <a:lnTo>
                    <a:pt x="79" y="189"/>
                  </a:lnTo>
                  <a:lnTo>
                    <a:pt x="68" y="186"/>
                  </a:lnTo>
                  <a:lnTo>
                    <a:pt x="51" y="189"/>
                  </a:lnTo>
                  <a:lnTo>
                    <a:pt x="20" y="179"/>
                  </a:lnTo>
                  <a:lnTo>
                    <a:pt x="33" y="160"/>
                  </a:lnTo>
                  <a:lnTo>
                    <a:pt x="29" y="147"/>
                  </a:lnTo>
                  <a:lnTo>
                    <a:pt x="15" y="143"/>
                  </a:lnTo>
                  <a:lnTo>
                    <a:pt x="11" y="130"/>
                  </a:lnTo>
                  <a:lnTo>
                    <a:pt x="3" y="113"/>
                  </a:lnTo>
                  <a:lnTo>
                    <a:pt x="8" y="102"/>
                  </a:lnTo>
                  <a:lnTo>
                    <a:pt x="0" y="99"/>
                  </a:lnTo>
                  <a:lnTo>
                    <a:pt x="2" y="84"/>
                  </a:lnTo>
                  <a:lnTo>
                    <a:pt x="4" y="58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50" name="Freeform 7">
              <a:extLst>
                <a:ext uri="{FF2B5EF4-FFF2-40B4-BE49-F238E27FC236}">
                  <a16:creationId xmlns:a16="http://schemas.microsoft.com/office/drawing/2014/main" id="{40C7E674-3AAD-43AC-B15D-45F23F250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6646" y="3034206"/>
              <a:ext cx="296961" cy="326918"/>
            </a:xfrm>
            <a:custGeom>
              <a:avLst/>
              <a:gdLst>
                <a:gd name="T0" fmla="*/ 92 w 228"/>
                <a:gd name="T1" fmla="*/ 16 h 251"/>
                <a:gd name="T2" fmla="*/ 102 w 228"/>
                <a:gd name="T3" fmla="*/ 35 h 251"/>
                <a:gd name="T4" fmla="*/ 121 w 228"/>
                <a:gd name="T5" fmla="*/ 44 h 251"/>
                <a:gd name="T6" fmla="*/ 137 w 228"/>
                <a:gd name="T7" fmla="*/ 44 h 251"/>
                <a:gd name="T8" fmla="*/ 144 w 228"/>
                <a:gd name="T9" fmla="*/ 27 h 251"/>
                <a:gd name="T10" fmla="*/ 157 w 228"/>
                <a:gd name="T11" fmla="*/ 23 h 251"/>
                <a:gd name="T12" fmla="*/ 165 w 228"/>
                <a:gd name="T13" fmla="*/ 30 h 251"/>
                <a:gd name="T14" fmla="*/ 187 w 228"/>
                <a:gd name="T15" fmla="*/ 43 h 251"/>
                <a:gd name="T16" fmla="*/ 188 w 228"/>
                <a:gd name="T17" fmla="*/ 63 h 251"/>
                <a:gd name="T18" fmla="*/ 195 w 228"/>
                <a:gd name="T19" fmla="*/ 84 h 251"/>
                <a:gd name="T20" fmla="*/ 198 w 228"/>
                <a:gd name="T21" fmla="*/ 107 h 251"/>
                <a:gd name="T22" fmla="*/ 217 w 228"/>
                <a:gd name="T23" fmla="*/ 104 h 251"/>
                <a:gd name="T24" fmla="*/ 227 w 228"/>
                <a:gd name="T25" fmla="*/ 112 h 251"/>
                <a:gd name="T26" fmla="*/ 228 w 228"/>
                <a:gd name="T27" fmla="*/ 132 h 251"/>
                <a:gd name="T28" fmla="*/ 227 w 228"/>
                <a:gd name="T29" fmla="*/ 147 h 251"/>
                <a:gd name="T30" fmla="*/ 186 w 228"/>
                <a:gd name="T31" fmla="*/ 213 h 251"/>
                <a:gd name="T32" fmla="*/ 209 w 228"/>
                <a:gd name="T33" fmla="*/ 243 h 251"/>
                <a:gd name="T34" fmla="*/ 132 w 228"/>
                <a:gd name="T35" fmla="*/ 248 h 251"/>
                <a:gd name="T36" fmla="*/ 46 w 228"/>
                <a:gd name="T37" fmla="*/ 239 h 251"/>
                <a:gd name="T38" fmla="*/ 33 w 228"/>
                <a:gd name="T39" fmla="*/ 231 h 251"/>
                <a:gd name="T40" fmla="*/ 10 w 228"/>
                <a:gd name="T41" fmla="*/ 234 h 251"/>
                <a:gd name="T42" fmla="*/ 0 w 228"/>
                <a:gd name="T43" fmla="*/ 225 h 251"/>
                <a:gd name="T44" fmla="*/ 9 w 228"/>
                <a:gd name="T45" fmla="*/ 188 h 251"/>
                <a:gd name="T46" fmla="*/ 16 w 228"/>
                <a:gd name="T47" fmla="*/ 160 h 251"/>
                <a:gd name="T48" fmla="*/ 31 w 228"/>
                <a:gd name="T49" fmla="*/ 138 h 251"/>
                <a:gd name="T50" fmla="*/ 39 w 228"/>
                <a:gd name="T51" fmla="*/ 113 h 251"/>
                <a:gd name="T52" fmla="*/ 33 w 228"/>
                <a:gd name="T53" fmla="*/ 94 h 251"/>
                <a:gd name="T54" fmla="*/ 24 w 228"/>
                <a:gd name="T55" fmla="*/ 69 h 251"/>
                <a:gd name="T56" fmla="*/ 31 w 228"/>
                <a:gd name="T57" fmla="*/ 56 h 251"/>
                <a:gd name="T58" fmla="*/ 22 w 228"/>
                <a:gd name="T59" fmla="*/ 22 h 251"/>
                <a:gd name="T60" fmla="*/ 14 w 228"/>
                <a:gd name="T61" fmla="*/ 5 h 251"/>
                <a:gd name="T62" fmla="*/ 27 w 228"/>
                <a:gd name="T63" fmla="*/ 3 h 251"/>
                <a:gd name="T64" fmla="*/ 88 w 228"/>
                <a:gd name="T65" fmla="*/ 1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28" h="251">
                  <a:moveTo>
                    <a:pt x="88" y="1"/>
                  </a:moveTo>
                  <a:lnTo>
                    <a:pt x="92" y="16"/>
                  </a:lnTo>
                  <a:lnTo>
                    <a:pt x="97" y="29"/>
                  </a:lnTo>
                  <a:lnTo>
                    <a:pt x="102" y="35"/>
                  </a:lnTo>
                  <a:lnTo>
                    <a:pt x="109" y="46"/>
                  </a:lnTo>
                  <a:lnTo>
                    <a:pt x="121" y="44"/>
                  </a:lnTo>
                  <a:lnTo>
                    <a:pt x="127" y="42"/>
                  </a:lnTo>
                  <a:lnTo>
                    <a:pt x="137" y="44"/>
                  </a:lnTo>
                  <a:lnTo>
                    <a:pt x="140" y="39"/>
                  </a:lnTo>
                  <a:lnTo>
                    <a:pt x="144" y="27"/>
                  </a:lnTo>
                  <a:lnTo>
                    <a:pt x="156" y="26"/>
                  </a:lnTo>
                  <a:lnTo>
                    <a:pt x="157" y="23"/>
                  </a:lnTo>
                  <a:lnTo>
                    <a:pt x="166" y="22"/>
                  </a:lnTo>
                  <a:lnTo>
                    <a:pt x="165" y="30"/>
                  </a:lnTo>
                  <a:lnTo>
                    <a:pt x="187" y="30"/>
                  </a:lnTo>
                  <a:lnTo>
                    <a:pt x="187" y="43"/>
                  </a:lnTo>
                  <a:lnTo>
                    <a:pt x="190" y="51"/>
                  </a:lnTo>
                  <a:lnTo>
                    <a:pt x="188" y="63"/>
                  </a:lnTo>
                  <a:lnTo>
                    <a:pt x="189" y="76"/>
                  </a:lnTo>
                  <a:lnTo>
                    <a:pt x="195" y="84"/>
                  </a:lnTo>
                  <a:lnTo>
                    <a:pt x="193" y="109"/>
                  </a:lnTo>
                  <a:lnTo>
                    <a:pt x="198" y="107"/>
                  </a:lnTo>
                  <a:lnTo>
                    <a:pt x="206" y="107"/>
                  </a:lnTo>
                  <a:lnTo>
                    <a:pt x="217" y="104"/>
                  </a:lnTo>
                  <a:lnTo>
                    <a:pt x="226" y="105"/>
                  </a:lnTo>
                  <a:lnTo>
                    <a:pt x="227" y="112"/>
                  </a:lnTo>
                  <a:lnTo>
                    <a:pt x="225" y="122"/>
                  </a:lnTo>
                  <a:lnTo>
                    <a:pt x="228" y="132"/>
                  </a:lnTo>
                  <a:lnTo>
                    <a:pt x="225" y="140"/>
                  </a:lnTo>
                  <a:lnTo>
                    <a:pt x="227" y="147"/>
                  </a:lnTo>
                  <a:lnTo>
                    <a:pt x="188" y="146"/>
                  </a:lnTo>
                  <a:lnTo>
                    <a:pt x="186" y="213"/>
                  </a:lnTo>
                  <a:lnTo>
                    <a:pt x="198" y="230"/>
                  </a:lnTo>
                  <a:lnTo>
                    <a:pt x="209" y="243"/>
                  </a:lnTo>
                  <a:lnTo>
                    <a:pt x="176" y="251"/>
                  </a:lnTo>
                  <a:lnTo>
                    <a:pt x="132" y="248"/>
                  </a:lnTo>
                  <a:lnTo>
                    <a:pt x="120" y="238"/>
                  </a:lnTo>
                  <a:lnTo>
                    <a:pt x="46" y="239"/>
                  </a:lnTo>
                  <a:lnTo>
                    <a:pt x="43" y="240"/>
                  </a:lnTo>
                  <a:lnTo>
                    <a:pt x="33" y="231"/>
                  </a:lnTo>
                  <a:lnTo>
                    <a:pt x="21" y="230"/>
                  </a:lnTo>
                  <a:lnTo>
                    <a:pt x="10" y="234"/>
                  </a:lnTo>
                  <a:lnTo>
                    <a:pt x="1" y="238"/>
                  </a:lnTo>
                  <a:lnTo>
                    <a:pt x="0" y="225"/>
                  </a:lnTo>
                  <a:lnTo>
                    <a:pt x="2" y="206"/>
                  </a:lnTo>
                  <a:lnTo>
                    <a:pt x="9" y="188"/>
                  </a:lnTo>
                  <a:lnTo>
                    <a:pt x="10" y="179"/>
                  </a:lnTo>
                  <a:lnTo>
                    <a:pt x="16" y="160"/>
                  </a:lnTo>
                  <a:lnTo>
                    <a:pt x="21" y="151"/>
                  </a:lnTo>
                  <a:lnTo>
                    <a:pt x="31" y="138"/>
                  </a:lnTo>
                  <a:lnTo>
                    <a:pt x="37" y="129"/>
                  </a:lnTo>
                  <a:lnTo>
                    <a:pt x="39" y="113"/>
                  </a:lnTo>
                  <a:lnTo>
                    <a:pt x="39" y="101"/>
                  </a:lnTo>
                  <a:lnTo>
                    <a:pt x="33" y="94"/>
                  </a:lnTo>
                  <a:lnTo>
                    <a:pt x="29" y="81"/>
                  </a:lnTo>
                  <a:lnTo>
                    <a:pt x="24" y="69"/>
                  </a:lnTo>
                  <a:lnTo>
                    <a:pt x="25" y="64"/>
                  </a:lnTo>
                  <a:lnTo>
                    <a:pt x="31" y="56"/>
                  </a:lnTo>
                  <a:lnTo>
                    <a:pt x="25" y="36"/>
                  </a:lnTo>
                  <a:lnTo>
                    <a:pt x="22" y="22"/>
                  </a:lnTo>
                  <a:lnTo>
                    <a:pt x="13" y="9"/>
                  </a:lnTo>
                  <a:lnTo>
                    <a:pt x="14" y="5"/>
                  </a:lnTo>
                  <a:lnTo>
                    <a:pt x="22" y="2"/>
                  </a:lnTo>
                  <a:lnTo>
                    <a:pt x="27" y="3"/>
                  </a:lnTo>
                  <a:lnTo>
                    <a:pt x="34" y="0"/>
                  </a:lnTo>
                  <a:lnTo>
                    <a:pt x="88" y="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51" name="Freeform 8">
              <a:extLst>
                <a:ext uri="{FF2B5EF4-FFF2-40B4-BE49-F238E27FC236}">
                  <a16:creationId xmlns:a16="http://schemas.microsoft.com/office/drawing/2014/main" id="{27130FFF-49FB-4778-83A5-9A304774BD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5762" y="2996435"/>
              <a:ext cx="26049" cy="36469"/>
            </a:xfrm>
            <a:custGeom>
              <a:avLst/>
              <a:gdLst>
                <a:gd name="T0" fmla="*/ 10 w 20"/>
                <a:gd name="T1" fmla="*/ 26 h 28"/>
                <a:gd name="T2" fmla="*/ 5 w 20"/>
                <a:gd name="T3" fmla="*/ 28 h 28"/>
                <a:gd name="T4" fmla="*/ 0 w 20"/>
                <a:gd name="T5" fmla="*/ 12 h 28"/>
                <a:gd name="T6" fmla="*/ 7 w 20"/>
                <a:gd name="T7" fmla="*/ 3 h 28"/>
                <a:gd name="T8" fmla="*/ 13 w 20"/>
                <a:gd name="T9" fmla="*/ 0 h 28"/>
                <a:gd name="T10" fmla="*/ 20 w 20"/>
                <a:gd name="T11" fmla="*/ 7 h 28"/>
                <a:gd name="T12" fmla="*/ 13 w 20"/>
                <a:gd name="T13" fmla="*/ 11 h 28"/>
                <a:gd name="T14" fmla="*/ 10 w 20"/>
                <a:gd name="T15" fmla="*/ 16 h 28"/>
                <a:gd name="T16" fmla="*/ 10 w 20"/>
                <a:gd name="T17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8">
                  <a:moveTo>
                    <a:pt x="10" y="26"/>
                  </a:moveTo>
                  <a:lnTo>
                    <a:pt x="5" y="28"/>
                  </a:lnTo>
                  <a:lnTo>
                    <a:pt x="0" y="12"/>
                  </a:lnTo>
                  <a:lnTo>
                    <a:pt x="7" y="3"/>
                  </a:lnTo>
                  <a:lnTo>
                    <a:pt x="13" y="0"/>
                  </a:lnTo>
                  <a:lnTo>
                    <a:pt x="20" y="7"/>
                  </a:lnTo>
                  <a:lnTo>
                    <a:pt x="13" y="11"/>
                  </a:lnTo>
                  <a:lnTo>
                    <a:pt x="10" y="16"/>
                  </a:lnTo>
                  <a:lnTo>
                    <a:pt x="10" y="2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52" name="Freeform 9">
              <a:extLst>
                <a:ext uri="{FF2B5EF4-FFF2-40B4-BE49-F238E27FC236}">
                  <a16:creationId xmlns:a16="http://schemas.microsoft.com/office/drawing/2014/main" id="{E743A3CD-F935-48DA-8928-B9A4A2FA6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2521" y="1722629"/>
              <a:ext cx="40377" cy="82055"/>
            </a:xfrm>
            <a:custGeom>
              <a:avLst/>
              <a:gdLst>
                <a:gd name="T0" fmla="*/ 22 w 31"/>
                <a:gd name="T1" fmla="*/ 17 h 63"/>
                <a:gd name="T2" fmla="*/ 20 w 31"/>
                <a:gd name="T3" fmla="*/ 24 h 63"/>
                <a:gd name="T4" fmla="*/ 23 w 31"/>
                <a:gd name="T5" fmla="*/ 33 h 63"/>
                <a:gd name="T6" fmla="*/ 31 w 31"/>
                <a:gd name="T7" fmla="*/ 38 h 63"/>
                <a:gd name="T8" fmla="*/ 31 w 31"/>
                <a:gd name="T9" fmla="*/ 44 h 63"/>
                <a:gd name="T10" fmla="*/ 25 w 31"/>
                <a:gd name="T11" fmla="*/ 46 h 63"/>
                <a:gd name="T12" fmla="*/ 25 w 31"/>
                <a:gd name="T13" fmla="*/ 53 h 63"/>
                <a:gd name="T14" fmla="*/ 18 w 31"/>
                <a:gd name="T15" fmla="*/ 63 h 63"/>
                <a:gd name="T16" fmla="*/ 15 w 31"/>
                <a:gd name="T17" fmla="*/ 62 h 63"/>
                <a:gd name="T18" fmla="*/ 14 w 31"/>
                <a:gd name="T19" fmla="*/ 57 h 63"/>
                <a:gd name="T20" fmla="*/ 4 w 31"/>
                <a:gd name="T21" fmla="*/ 50 h 63"/>
                <a:gd name="T22" fmla="*/ 2 w 31"/>
                <a:gd name="T23" fmla="*/ 40 h 63"/>
                <a:gd name="T24" fmla="*/ 3 w 31"/>
                <a:gd name="T25" fmla="*/ 26 h 63"/>
                <a:gd name="T26" fmla="*/ 4 w 31"/>
                <a:gd name="T27" fmla="*/ 20 h 63"/>
                <a:gd name="T28" fmla="*/ 1 w 31"/>
                <a:gd name="T29" fmla="*/ 17 h 63"/>
                <a:gd name="T30" fmla="*/ 0 w 31"/>
                <a:gd name="T31" fmla="*/ 10 h 63"/>
                <a:gd name="T32" fmla="*/ 6 w 31"/>
                <a:gd name="T33" fmla="*/ 0 h 63"/>
                <a:gd name="T34" fmla="*/ 7 w 31"/>
                <a:gd name="T35" fmla="*/ 4 h 63"/>
                <a:gd name="T36" fmla="*/ 12 w 31"/>
                <a:gd name="T37" fmla="*/ 2 h 63"/>
                <a:gd name="T38" fmla="*/ 16 w 31"/>
                <a:gd name="T39" fmla="*/ 8 h 63"/>
                <a:gd name="T40" fmla="*/ 20 w 31"/>
                <a:gd name="T41" fmla="*/ 10 h 63"/>
                <a:gd name="T42" fmla="*/ 22 w 31"/>
                <a:gd name="T43" fmla="*/ 1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1" h="63">
                  <a:moveTo>
                    <a:pt x="22" y="17"/>
                  </a:moveTo>
                  <a:lnTo>
                    <a:pt x="20" y="24"/>
                  </a:lnTo>
                  <a:lnTo>
                    <a:pt x="23" y="33"/>
                  </a:lnTo>
                  <a:lnTo>
                    <a:pt x="31" y="38"/>
                  </a:lnTo>
                  <a:lnTo>
                    <a:pt x="31" y="44"/>
                  </a:lnTo>
                  <a:lnTo>
                    <a:pt x="25" y="46"/>
                  </a:lnTo>
                  <a:lnTo>
                    <a:pt x="25" y="53"/>
                  </a:lnTo>
                  <a:lnTo>
                    <a:pt x="18" y="63"/>
                  </a:lnTo>
                  <a:lnTo>
                    <a:pt x="15" y="62"/>
                  </a:lnTo>
                  <a:lnTo>
                    <a:pt x="14" y="57"/>
                  </a:lnTo>
                  <a:lnTo>
                    <a:pt x="4" y="50"/>
                  </a:lnTo>
                  <a:lnTo>
                    <a:pt x="2" y="40"/>
                  </a:lnTo>
                  <a:lnTo>
                    <a:pt x="3" y="26"/>
                  </a:lnTo>
                  <a:lnTo>
                    <a:pt x="4" y="20"/>
                  </a:lnTo>
                  <a:lnTo>
                    <a:pt x="1" y="17"/>
                  </a:lnTo>
                  <a:lnTo>
                    <a:pt x="0" y="10"/>
                  </a:lnTo>
                  <a:lnTo>
                    <a:pt x="6" y="0"/>
                  </a:lnTo>
                  <a:lnTo>
                    <a:pt x="7" y="4"/>
                  </a:lnTo>
                  <a:lnTo>
                    <a:pt x="12" y="2"/>
                  </a:lnTo>
                  <a:lnTo>
                    <a:pt x="16" y="8"/>
                  </a:lnTo>
                  <a:lnTo>
                    <a:pt x="20" y="10"/>
                  </a:lnTo>
                  <a:lnTo>
                    <a:pt x="22" y="17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53" name="Freeform 10">
              <a:extLst>
                <a:ext uri="{FF2B5EF4-FFF2-40B4-BE49-F238E27FC236}">
                  <a16:creationId xmlns:a16="http://schemas.microsoft.com/office/drawing/2014/main" id="{9EB4E263-504E-4EE1-B4B5-7DE81CB123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2694" y="2170675"/>
              <a:ext cx="110709" cy="96382"/>
            </a:xfrm>
            <a:custGeom>
              <a:avLst/>
              <a:gdLst>
                <a:gd name="T0" fmla="*/ 0 w 85"/>
                <a:gd name="T1" fmla="*/ 38 h 74"/>
                <a:gd name="T2" fmla="*/ 3 w 85"/>
                <a:gd name="T3" fmla="*/ 37 h 74"/>
                <a:gd name="T4" fmla="*/ 4 w 85"/>
                <a:gd name="T5" fmla="*/ 42 h 74"/>
                <a:gd name="T6" fmla="*/ 18 w 85"/>
                <a:gd name="T7" fmla="*/ 39 h 74"/>
                <a:gd name="T8" fmla="*/ 33 w 85"/>
                <a:gd name="T9" fmla="*/ 40 h 74"/>
                <a:gd name="T10" fmla="*/ 44 w 85"/>
                <a:gd name="T11" fmla="*/ 40 h 74"/>
                <a:gd name="T12" fmla="*/ 54 w 85"/>
                <a:gd name="T13" fmla="*/ 26 h 74"/>
                <a:gd name="T14" fmla="*/ 66 w 85"/>
                <a:gd name="T15" fmla="*/ 13 h 74"/>
                <a:gd name="T16" fmla="*/ 76 w 85"/>
                <a:gd name="T17" fmla="*/ 0 h 74"/>
                <a:gd name="T18" fmla="*/ 80 w 85"/>
                <a:gd name="T19" fmla="*/ 7 h 74"/>
                <a:gd name="T20" fmla="*/ 85 w 85"/>
                <a:gd name="T21" fmla="*/ 24 h 74"/>
                <a:gd name="T22" fmla="*/ 75 w 85"/>
                <a:gd name="T23" fmla="*/ 24 h 74"/>
                <a:gd name="T24" fmla="*/ 76 w 85"/>
                <a:gd name="T25" fmla="*/ 37 h 74"/>
                <a:gd name="T26" fmla="*/ 79 w 85"/>
                <a:gd name="T27" fmla="*/ 40 h 74"/>
                <a:gd name="T28" fmla="*/ 72 w 85"/>
                <a:gd name="T29" fmla="*/ 44 h 74"/>
                <a:gd name="T30" fmla="*/ 72 w 85"/>
                <a:gd name="T31" fmla="*/ 53 h 74"/>
                <a:gd name="T32" fmla="*/ 68 w 85"/>
                <a:gd name="T33" fmla="*/ 61 h 74"/>
                <a:gd name="T34" fmla="*/ 69 w 85"/>
                <a:gd name="T35" fmla="*/ 70 h 74"/>
                <a:gd name="T36" fmla="*/ 65 w 85"/>
                <a:gd name="T37" fmla="*/ 74 h 74"/>
                <a:gd name="T38" fmla="*/ 10 w 85"/>
                <a:gd name="T39" fmla="*/ 64 h 74"/>
                <a:gd name="T40" fmla="*/ 1 w 85"/>
                <a:gd name="T41" fmla="*/ 43 h 74"/>
                <a:gd name="T42" fmla="*/ 0 w 85"/>
                <a:gd name="T43" fmla="*/ 3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5" h="74">
                  <a:moveTo>
                    <a:pt x="0" y="38"/>
                  </a:moveTo>
                  <a:lnTo>
                    <a:pt x="3" y="37"/>
                  </a:lnTo>
                  <a:lnTo>
                    <a:pt x="4" y="42"/>
                  </a:lnTo>
                  <a:lnTo>
                    <a:pt x="18" y="39"/>
                  </a:lnTo>
                  <a:lnTo>
                    <a:pt x="33" y="40"/>
                  </a:lnTo>
                  <a:lnTo>
                    <a:pt x="44" y="40"/>
                  </a:lnTo>
                  <a:lnTo>
                    <a:pt x="54" y="26"/>
                  </a:lnTo>
                  <a:lnTo>
                    <a:pt x="66" y="13"/>
                  </a:lnTo>
                  <a:lnTo>
                    <a:pt x="76" y="0"/>
                  </a:lnTo>
                  <a:lnTo>
                    <a:pt x="80" y="7"/>
                  </a:lnTo>
                  <a:lnTo>
                    <a:pt x="85" y="24"/>
                  </a:lnTo>
                  <a:lnTo>
                    <a:pt x="75" y="24"/>
                  </a:lnTo>
                  <a:lnTo>
                    <a:pt x="76" y="37"/>
                  </a:lnTo>
                  <a:lnTo>
                    <a:pt x="79" y="40"/>
                  </a:lnTo>
                  <a:lnTo>
                    <a:pt x="72" y="44"/>
                  </a:lnTo>
                  <a:lnTo>
                    <a:pt x="72" y="53"/>
                  </a:lnTo>
                  <a:lnTo>
                    <a:pt x="68" y="61"/>
                  </a:lnTo>
                  <a:lnTo>
                    <a:pt x="69" y="70"/>
                  </a:lnTo>
                  <a:lnTo>
                    <a:pt x="65" y="74"/>
                  </a:lnTo>
                  <a:lnTo>
                    <a:pt x="10" y="64"/>
                  </a:lnTo>
                  <a:lnTo>
                    <a:pt x="1" y="43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54" name="Freeform 11">
              <a:extLst>
                <a:ext uri="{FF2B5EF4-FFF2-40B4-BE49-F238E27FC236}">
                  <a16:creationId xmlns:a16="http://schemas.microsoft.com/office/drawing/2014/main" id="{BE59E22C-CF12-497B-B405-8B4838BBB4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30684" y="3466623"/>
              <a:ext cx="368596" cy="893487"/>
            </a:xfrm>
            <a:custGeom>
              <a:avLst/>
              <a:gdLst>
                <a:gd name="T0" fmla="*/ 331 w 1160"/>
                <a:gd name="T1" fmla="*/ 82 h 2811"/>
                <a:gd name="T2" fmla="*/ 436 w 1160"/>
                <a:gd name="T3" fmla="*/ 17 h 2811"/>
                <a:gd name="T4" fmla="*/ 602 w 1160"/>
                <a:gd name="T5" fmla="*/ 174 h 2811"/>
                <a:gd name="T6" fmla="*/ 761 w 1160"/>
                <a:gd name="T7" fmla="*/ 250 h 2811"/>
                <a:gd name="T8" fmla="*/ 855 w 1160"/>
                <a:gd name="T9" fmla="*/ 321 h 2811"/>
                <a:gd name="T10" fmla="*/ 877 w 1160"/>
                <a:gd name="T11" fmla="*/ 473 h 2811"/>
                <a:gd name="T12" fmla="*/ 1016 w 1160"/>
                <a:gd name="T13" fmla="*/ 472 h 2811"/>
                <a:gd name="T14" fmla="*/ 1076 w 1160"/>
                <a:gd name="T15" fmla="*/ 332 h 2811"/>
                <a:gd name="T16" fmla="*/ 1153 w 1160"/>
                <a:gd name="T17" fmla="*/ 365 h 2811"/>
                <a:gd name="T18" fmla="*/ 1105 w 1160"/>
                <a:gd name="T19" fmla="*/ 480 h 2811"/>
                <a:gd name="T20" fmla="*/ 990 w 1160"/>
                <a:gd name="T21" fmla="*/ 597 h 2811"/>
                <a:gd name="T22" fmla="*/ 904 w 1160"/>
                <a:gd name="T23" fmla="*/ 781 h 2811"/>
                <a:gd name="T24" fmla="*/ 914 w 1160"/>
                <a:gd name="T25" fmla="*/ 953 h 2811"/>
                <a:gd name="T26" fmla="*/ 907 w 1160"/>
                <a:gd name="T27" fmla="*/ 1027 h 2811"/>
                <a:gd name="T28" fmla="*/ 1014 w 1160"/>
                <a:gd name="T29" fmla="*/ 1144 h 2811"/>
                <a:gd name="T30" fmla="*/ 1067 w 1160"/>
                <a:gd name="T31" fmla="*/ 1239 h 2811"/>
                <a:gd name="T32" fmla="*/ 1027 w 1160"/>
                <a:gd name="T33" fmla="*/ 1389 h 2811"/>
                <a:gd name="T34" fmla="*/ 797 w 1160"/>
                <a:gd name="T35" fmla="*/ 1452 h 2811"/>
                <a:gd name="T36" fmla="*/ 745 w 1160"/>
                <a:gd name="T37" fmla="*/ 1494 h 2811"/>
                <a:gd name="T38" fmla="*/ 770 w 1160"/>
                <a:gd name="T39" fmla="*/ 1600 h 2811"/>
                <a:gd name="T40" fmla="*/ 668 w 1160"/>
                <a:gd name="T41" fmla="*/ 1641 h 2811"/>
                <a:gd name="T42" fmla="*/ 573 w 1160"/>
                <a:gd name="T43" fmla="*/ 1632 h 2811"/>
                <a:gd name="T44" fmla="*/ 659 w 1160"/>
                <a:gd name="T45" fmla="*/ 1741 h 2811"/>
                <a:gd name="T46" fmla="*/ 722 w 1160"/>
                <a:gd name="T47" fmla="*/ 1759 h 2811"/>
                <a:gd name="T48" fmla="*/ 626 w 1160"/>
                <a:gd name="T49" fmla="*/ 1837 h 2811"/>
                <a:gd name="T50" fmla="*/ 639 w 1160"/>
                <a:gd name="T51" fmla="*/ 1966 h 2811"/>
                <a:gd name="T52" fmla="*/ 536 w 1160"/>
                <a:gd name="T53" fmla="*/ 2010 h 2811"/>
                <a:gd name="T54" fmla="*/ 623 w 1160"/>
                <a:gd name="T55" fmla="*/ 2134 h 2811"/>
                <a:gd name="T56" fmla="*/ 695 w 1160"/>
                <a:gd name="T57" fmla="*/ 2225 h 2811"/>
                <a:gd name="T58" fmla="*/ 626 w 1160"/>
                <a:gd name="T59" fmla="*/ 2369 h 2811"/>
                <a:gd name="T60" fmla="*/ 567 w 1160"/>
                <a:gd name="T61" fmla="*/ 2441 h 2811"/>
                <a:gd name="T62" fmla="*/ 683 w 1160"/>
                <a:gd name="T63" fmla="*/ 2574 h 2811"/>
                <a:gd name="T64" fmla="*/ 590 w 1160"/>
                <a:gd name="T65" fmla="*/ 2557 h 2811"/>
                <a:gd name="T66" fmla="*/ 383 w 1160"/>
                <a:gd name="T67" fmla="*/ 2498 h 2811"/>
                <a:gd name="T68" fmla="*/ 317 w 1160"/>
                <a:gd name="T69" fmla="*/ 2442 h 2811"/>
                <a:gd name="T70" fmla="*/ 241 w 1160"/>
                <a:gd name="T71" fmla="*/ 2324 h 2811"/>
                <a:gd name="T72" fmla="*/ 278 w 1160"/>
                <a:gd name="T73" fmla="*/ 2234 h 2811"/>
                <a:gd name="T74" fmla="*/ 264 w 1160"/>
                <a:gd name="T75" fmla="*/ 2121 h 2811"/>
                <a:gd name="T76" fmla="*/ 226 w 1160"/>
                <a:gd name="T77" fmla="*/ 1961 h 2811"/>
                <a:gd name="T78" fmla="*/ 232 w 1160"/>
                <a:gd name="T79" fmla="*/ 1914 h 2811"/>
                <a:gd name="T80" fmla="*/ 206 w 1160"/>
                <a:gd name="T81" fmla="*/ 1862 h 2811"/>
                <a:gd name="T82" fmla="*/ 119 w 1160"/>
                <a:gd name="T83" fmla="*/ 1733 h 2811"/>
                <a:gd name="T84" fmla="*/ 99 w 1160"/>
                <a:gd name="T85" fmla="*/ 1613 h 2811"/>
                <a:gd name="T86" fmla="*/ 88 w 1160"/>
                <a:gd name="T87" fmla="*/ 1451 h 2811"/>
                <a:gd name="T88" fmla="*/ 78 w 1160"/>
                <a:gd name="T89" fmla="*/ 1338 h 2811"/>
                <a:gd name="T90" fmla="*/ 98 w 1160"/>
                <a:gd name="T91" fmla="*/ 1204 h 2811"/>
                <a:gd name="T92" fmla="*/ 102 w 1160"/>
                <a:gd name="T93" fmla="*/ 1051 h 2811"/>
                <a:gd name="T94" fmla="*/ 63 w 1160"/>
                <a:gd name="T95" fmla="*/ 957 h 2811"/>
                <a:gd name="T96" fmla="*/ 27 w 1160"/>
                <a:gd name="T97" fmla="*/ 723 h 2811"/>
                <a:gd name="T98" fmla="*/ 17 w 1160"/>
                <a:gd name="T99" fmla="*/ 564 h 2811"/>
                <a:gd name="T100" fmla="*/ 94 w 1160"/>
                <a:gd name="T101" fmla="*/ 431 h 2811"/>
                <a:gd name="T102" fmla="*/ 77 w 1160"/>
                <a:gd name="T103" fmla="*/ 370 h 2811"/>
                <a:gd name="T104" fmla="*/ 128 w 1160"/>
                <a:gd name="T105" fmla="*/ 186 h 2811"/>
                <a:gd name="T106" fmla="*/ 130 w 1160"/>
                <a:gd name="T107" fmla="*/ 77 h 2811"/>
                <a:gd name="T108" fmla="*/ 281 w 1160"/>
                <a:gd name="T109" fmla="*/ 20 h 2811"/>
                <a:gd name="T110" fmla="*/ 889 w 1160"/>
                <a:gd name="T111" fmla="*/ 2811 h 2811"/>
                <a:gd name="T112" fmla="*/ 806 w 1160"/>
                <a:gd name="T113" fmla="*/ 2780 h 2811"/>
                <a:gd name="T114" fmla="*/ 662 w 1160"/>
                <a:gd name="T115" fmla="*/ 2598 h 2811"/>
                <a:gd name="T116" fmla="*/ 759 w 1160"/>
                <a:gd name="T117" fmla="*/ 2697 h 2811"/>
                <a:gd name="T118" fmla="*/ 959 w 1160"/>
                <a:gd name="T119" fmla="*/ 2766 h 2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60" h="2811">
                  <a:moveTo>
                    <a:pt x="281" y="20"/>
                  </a:moveTo>
                  <a:lnTo>
                    <a:pt x="331" y="82"/>
                  </a:lnTo>
                  <a:lnTo>
                    <a:pt x="352" y="13"/>
                  </a:lnTo>
                  <a:lnTo>
                    <a:pt x="436" y="17"/>
                  </a:lnTo>
                  <a:lnTo>
                    <a:pt x="450" y="35"/>
                  </a:lnTo>
                  <a:lnTo>
                    <a:pt x="602" y="174"/>
                  </a:lnTo>
                  <a:lnTo>
                    <a:pt x="663" y="187"/>
                  </a:lnTo>
                  <a:lnTo>
                    <a:pt x="761" y="250"/>
                  </a:lnTo>
                  <a:lnTo>
                    <a:pt x="840" y="283"/>
                  </a:lnTo>
                  <a:lnTo>
                    <a:pt x="855" y="321"/>
                  </a:lnTo>
                  <a:lnTo>
                    <a:pt x="801" y="450"/>
                  </a:lnTo>
                  <a:lnTo>
                    <a:pt x="877" y="473"/>
                  </a:lnTo>
                  <a:lnTo>
                    <a:pt x="960" y="486"/>
                  </a:lnTo>
                  <a:lnTo>
                    <a:pt x="1016" y="472"/>
                  </a:lnTo>
                  <a:lnTo>
                    <a:pt x="1074" y="407"/>
                  </a:lnTo>
                  <a:lnTo>
                    <a:pt x="1076" y="332"/>
                  </a:lnTo>
                  <a:lnTo>
                    <a:pt x="1111" y="316"/>
                  </a:lnTo>
                  <a:lnTo>
                    <a:pt x="1153" y="365"/>
                  </a:lnTo>
                  <a:lnTo>
                    <a:pt x="1160" y="433"/>
                  </a:lnTo>
                  <a:lnTo>
                    <a:pt x="1105" y="480"/>
                  </a:lnTo>
                  <a:lnTo>
                    <a:pt x="1060" y="514"/>
                  </a:lnTo>
                  <a:lnTo>
                    <a:pt x="990" y="597"/>
                  </a:lnTo>
                  <a:lnTo>
                    <a:pt x="911" y="713"/>
                  </a:lnTo>
                  <a:lnTo>
                    <a:pt x="904" y="781"/>
                  </a:lnTo>
                  <a:lnTo>
                    <a:pt x="899" y="868"/>
                  </a:lnTo>
                  <a:lnTo>
                    <a:pt x="914" y="953"/>
                  </a:lnTo>
                  <a:lnTo>
                    <a:pt x="902" y="972"/>
                  </a:lnTo>
                  <a:lnTo>
                    <a:pt x="907" y="1027"/>
                  </a:lnTo>
                  <a:lnTo>
                    <a:pt x="910" y="1071"/>
                  </a:lnTo>
                  <a:lnTo>
                    <a:pt x="1014" y="1144"/>
                  </a:lnTo>
                  <a:lnTo>
                    <a:pt x="1015" y="1202"/>
                  </a:lnTo>
                  <a:lnTo>
                    <a:pt x="1067" y="1239"/>
                  </a:lnTo>
                  <a:lnTo>
                    <a:pt x="1071" y="1280"/>
                  </a:lnTo>
                  <a:lnTo>
                    <a:pt x="1027" y="1389"/>
                  </a:lnTo>
                  <a:lnTo>
                    <a:pt x="933" y="1434"/>
                  </a:lnTo>
                  <a:lnTo>
                    <a:pt x="797" y="1452"/>
                  </a:lnTo>
                  <a:lnTo>
                    <a:pt x="719" y="1443"/>
                  </a:lnTo>
                  <a:lnTo>
                    <a:pt x="745" y="1494"/>
                  </a:lnTo>
                  <a:lnTo>
                    <a:pt x="747" y="1557"/>
                  </a:lnTo>
                  <a:lnTo>
                    <a:pt x="770" y="1600"/>
                  </a:lnTo>
                  <a:lnTo>
                    <a:pt x="736" y="1629"/>
                  </a:lnTo>
                  <a:lnTo>
                    <a:pt x="668" y="1641"/>
                  </a:lnTo>
                  <a:lnTo>
                    <a:pt x="594" y="1610"/>
                  </a:lnTo>
                  <a:lnTo>
                    <a:pt x="573" y="1632"/>
                  </a:lnTo>
                  <a:lnTo>
                    <a:pt x="606" y="1716"/>
                  </a:lnTo>
                  <a:lnTo>
                    <a:pt x="659" y="1741"/>
                  </a:lnTo>
                  <a:lnTo>
                    <a:pt x="689" y="1715"/>
                  </a:lnTo>
                  <a:lnTo>
                    <a:pt x="722" y="1759"/>
                  </a:lnTo>
                  <a:lnTo>
                    <a:pt x="666" y="1785"/>
                  </a:lnTo>
                  <a:lnTo>
                    <a:pt x="626" y="1837"/>
                  </a:lnTo>
                  <a:lnTo>
                    <a:pt x="641" y="1922"/>
                  </a:lnTo>
                  <a:lnTo>
                    <a:pt x="639" y="1966"/>
                  </a:lnTo>
                  <a:lnTo>
                    <a:pt x="575" y="1967"/>
                  </a:lnTo>
                  <a:lnTo>
                    <a:pt x="536" y="2010"/>
                  </a:lnTo>
                  <a:lnTo>
                    <a:pt x="537" y="2072"/>
                  </a:lnTo>
                  <a:lnTo>
                    <a:pt x="623" y="2134"/>
                  </a:lnTo>
                  <a:lnTo>
                    <a:pt x="693" y="2150"/>
                  </a:lnTo>
                  <a:lnTo>
                    <a:pt x="695" y="2225"/>
                  </a:lnTo>
                  <a:lnTo>
                    <a:pt x="633" y="2272"/>
                  </a:lnTo>
                  <a:lnTo>
                    <a:pt x="626" y="2369"/>
                  </a:lnTo>
                  <a:lnTo>
                    <a:pt x="578" y="2402"/>
                  </a:lnTo>
                  <a:lnTo>
                    <a:pt x="567" y="2441"/>
                  </a:lnTo>
                  <a:lnTo>
                    <a:pt x="621" y="2527"/>
                  </a:lnTo>
                  <a:lnTo>
                    <a:pt x="683" y="2574"/>
                  </a:lnTo>
                  <a:lnTo>
                    <a:pt x="654" y="2570"/>
                  </a:lnTo>
                  <a:lnTo>
                    <a:pt x="590" y="2557"/>
                  </a:lnTo>
                  <a:lnTo>
                    <a:pt x="429" y="2546"/>
                  </a:lnTo>
                  <a:lnTo>
                    <a:pt x="383" y="2498"/>
                  </a:lnTo>
                  <a:lnTo>
                    <a:pt x="359" y="2436"/>
                  </a:lnTo>
                  <a:lnTo>
                    <a:pt x="317" y="2442"/>
                  </a:lnTo>
                  <a:lnTo>
                    <a:pt x="282" y="2412"/>
                  </a:lnTo>
                  <a:lnTo>
                    <a:pt x="241" y="2324"/>
                  </a:lnTo>
                  <a:lnTo>
                    <a:pt x="277" y="2287"/>
                  </a:lnTo>
                  <a:lnTo>
                    <a:pt x="278" y="2234"/>
                  </a:lnTo>
                  <a:lnTo>
                    <a:pt x="255" y="2192"/>
                  </a:lnTo>
                  <a:lnTo>
                    <a:pt x="264" y="2121"/>
                  </a:lnTo>
                  <a:lnTo>
                    <a:pt x="250" y="2010"/>
                  </a:lnTo>
                  <a:lnTo>
                    <a:pt x="226" y="1961"/>
                  </a:lnTo>
                  <a:lnTo>
                    <a:pt x="250" y="1945"/>
                  </a:lnTo>
                  <a:lnTo>
                    <a:pt x="232" y="1914"/>
                  </a:lnTo>
                  <a:lnTo>
                    <a:pt x="195" y="1897"/>
                  </a:lnTo>
                  <a:lnTo>
                    <a:pt x="206" y="1862"/>
                  </a:lnTo>
                  <a:lnTo>
                    <a:pt x="165" y="1830"/>
                  </a:lnTo>
                  <a:lnTo>
                    <a:pt x="119" y="1733"/>
                  </a:lnTo>
                  <a:lnTo>
                    <a:pt x="141" y="1716"/>
                  </a:lnTo>
                  <a:lnTo>
                    <a:pt x="99" y="1613"/>
                  </a:lnTo>
                  <a:lnTo>
                    <a:pt x="90" y="1526"/>
                  </a:lnTo>
                  <a:lnTo>
                    <a:pt x="88" y="1451"/>
                  </a:lnTo>
                  <a:lnTo>
                    <a:pt x="121" y="1420"/>
                  </a:lnTo>
                  <a:lnTo>
                    <a:pt x="78" y="1338"/>
                  </a:lnTo>
                  <a:lnTo>
                    <a:pt x="58" y="1260"/>
                  </a:lnTo>
                  <a:lnTo>
                    <a:pt x="98" y="1204"/>
                  </a:lnTo>
                  <a:lnTo>
                    <a:pt x="80" y="1134"/>
                  </a:lnTo>
                  <a:lnTo>
                    <a:pt x="102" y="1051"/>
                  </a:lnTo>
                  <a:lnTo>
                    <a:pt x="85" y="973"/>
                  </a:lnTo>
                  <a:lnTo>
                    <a:pt x="63" y="957"/>
                  </a:lnTo>
                  <a:lnTo>
                    <a:pt x="0" y="811"/>
                  </a:lnTo>
                  <a:lnTo>
                    <a:pt x="27" y="723"/>
                  </a:lnTo>
                  <a:lnTo>
                    <a:pt x="5" y="641"/>
                  </a:lnTo>
                  <a:lnTo>
                    <a:pt x="17" y="564"/>
                  </a:lnTo>
                  <a:lnTo>
                    <a:pt x="51" y="484"/>
                  </a:lnTo>
                  <a:lnTo>
                    <a:pt x="94" y="431"/>
                  </a:lnTo>
                  <a:lnTo>
                    <a:pt x="67" y="397"/>
                  </a:lnTo>
                  <a:lnTo>
                    <a:pt x="77" y="370"/>
                  </a:lnTo>
                  <a:lnTo>
                    <a:pt x="54" y="228"/>
                  </a:lnTo>
                  <a:lnTo>
                    <a:pt x="128" y="186"/>
                  </a:lnTo>
                  <a:lnTo>
                    <a:pt x="142" y="98"/>
                  </a:lnTo>
                  <a:lnTo>
                    <a:pt x="130" y="77"/>
                  </a:lnTo>
                  <a:lnTo>
                    <a:pt x="182" y="0"/>
                  </a:lnTo>
                  <a:lnTo>
                    <a:pt x="281" y="20"/>
                  </a:lnTo>
                  <a:moveTo>
                    <a:pt x="947" y="2807"/>
                  </a:moveTo>
                  <a:lnTo>
                    <a:pt x="889" y="2811"/>
                  </a:lnTo>
                  <a:lnTo>
                    <a:pt x="845" y="2782"/>
                  </a:lnTo>
                  <a:lnTo>
                    <a:pt x="806" y="2780"/>
                  </a:lnTo>
                  <a:lnTo>
                    <a:pt x="739" y="2780"/>
                  </a:lnTo>
                  <a:lnTo>
                    <a:pt x="662" y="2598"/>
                  </a:lnTo>
                  <a:lnTo>
                    <a:pt x="702" y="2636"/>
                  </a:lnTo>
                  <a:lnTo>
                    <a:pt x="759" y="2697"/>
                  </a:lnTo>
                  <a:lnTo>
                    <a:pt x="862" y="2746"/>
                  </a:lnTo>
                  <a:lnTo>
                    <a:pt x="959" y="2766"/>
                  </a:lnTo>
                  <a:lnTo>
                    <a:pt x="947" y="2807"/>
                  </a:lnTo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55" name="Freeform 12">
              <a:extLst>
                <a:ext uri="{FF2B5EF4-FFF2-40B4-BE49-F238E27FC236}">
                  <a16:creationId xmlns:a16="http://schemas.microsoft.com/office/drawing/2014/main" id="{77F6502F-7D32-477E-AFA1-AD35879F400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6530" y="1761702"/>
              <a:ext cx="75543" cy="66426"/>
            </a:xfrm>
            <a:custGeom>
              <a:avLst/>
              <a:gdLst>
                <a:gd name="T0" fmla="*/ 0 w 58"/>
                <a:gd name="T1" fmla="*/ 3 h 51"/>
                <a:gd name="T2" fmla="*/ 23 w 58"/>
                <a:gd name="T3" fmla="*/ 0 h 51"/>
                <a:gd name="T4" fmla="*/ 27 w 58"/>
                <a:gd name="T5" fmla="*/ 5 h 51"/>
                <a:gd name="T6" fmla="*/ 34 w 58"/>
                <a:gd name="T7" fmla="*/ 9 h 51"/>
                <a:gd name="T8" fmla="*/ 32 w 58"/>
                <a:gd name="T9" fmla="*/ 14 h 51"/>
                <a:gd name="T10" fmla="*/ 42 w 58"/>
                <a:gd name="T11" fmla="*/ 21 h 51"/>
                <a:gd name="T12" fmla="*/ 39 w 58"/>
                <a:gd name="T13" fmla="*/ 27 h 51"/>
                <a:gd name="T14" fmla="*/ 47 w 58"/>
                <a:gd name="T15" fmla="*/ 33 h 51"/>
                <a:gd name="T16" fmla="*/ 55 w 58"/>
                <a:gd name="T17" fmla="*/ 36 h 51"/>
                <a:gd name="T18" fmla="*/ 58 w 58"/>
                <a:gd name="T19" fmla="*/ 51 h 51"/>
                <a:gd name="T20" fmla="*/ 52 w 58"/>
                <a:gd name="T21" fmla="*/ 51 h 51"/>
                <a:gd name="T22" fmla="*/ 43 w 58"/>
                <a:gd name="T23" fmla="*/ 39 h 51"/>
                <a:gd name="T24" fmla="*/ 42 w 58"/>
                <a:gd name="T25" fmla="*/ 36 h 51"/>
                <a:gd name="T26" fmla="*/ 35 w 58"/>
                <a:gd name="T27" fmla="*/ 36 h 51"/>
                <a:gd name="T28" fmla="*/ 29 w 58"/>
                <a:gd name="T29" fmla="*/ 31 h 51"/>
                <a:gd name="T30" fmla="*/ 26 w 58"/>
                <a:gd name="T31" fmla="*/ 31 h 51"/>
                <a:gd name="T32" fmla="*/ 18 w 58"/>
                <a:gd name="T33" fmla="*/ 25 h 51"/>
                <a:gd name="T34" fmla="*/ 4 w 58"/>
                <a:gd name="T35" fmla="*/ 20 h 51"/>
                <a:gd name="T36" fmla="*/ 4 w 58"/>
                <a:gd name="T37" fmla="*/ 10 h 51"/>
                <a:gd name="T38" fmla="*/ 0 w 58"/>
                <a:gd name="T39" fmla="*/ 3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8" h="51">
                  <a:moveTo>
                    <a:pt x="0" y="3"/>
                  </a:moveTo>
                  <a:lnTo>
                    <a:pt x="23" y="0"/>
                  </a:lnTo>
                  <a:lnTo>
                    <a:pt x="27" y="5"/>
                  </a:lnTo>
                  <a:lnTo>
                    <a:pt x="34" y="9"/>
                  </a:lnTo>
                  <a:lnTo>
                    <a:pt x="32" y="14"/>
                  </a:lnTo>
                  <a:lnTo>
                    <a:pt x="42" y="21"/>
                  </a:lnTo>
                  <a:lnTo>
                    <a:pt x="39" y="27"/>
                  </a:lnTo>
                  <a:lnTo>
                    <a:pt x="47" y="33"/>
                  </a:lnTo>
                  <a:lnTo>
                    <a:pt x="55" y="36"/>
                  </a:lnTo>
                  <a:lnTo>
                    <a:pt x="58" y="51"/>
                  </a:lnTo>
                  <a:lnTo>
                    <a:pt x="52" y="51"/>
                  </a:lnTo>
                  <a:lnTo>
                    <a:pt x="43" y="39"/>
                  </a:lnTo>
                  <a:lnTo>
                    <a:pt x="42" y="36"/>
                  </a:lnTo>
                  <a:lnTo>
                    <a:pt x="35" y="36"/>
                  </a:lnTo>
                  <a:lnTo>
                    <a:pt x="29" y="31"/>
                  </a:lnTo>
                  <a:lnTo>
                    <a:pt x="26" y="31"/>
                  </a:lnTo>
                  <a:lnTo>
                    <a:pt x="18" y="25"/>
                  </a:lnTo>
                  <a:lnTo>
                    <a:pt x="4" y="20"/>
                  </a:lnTo>
                  <a:lnTo>
                    <a:pt x="4" y="1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56" name="Freeform 13">
              <a:extLst>
                <a:ext uri="{FF2B5EF4-FFF2-40B4-BE49-F238E27FC236}">
                  <a16:creationId xmlns:a16="http://schemas.microsoft.com/office/drawing/2014/main" id="{2E3F0042-2BDE-4AE8-B1F4-8A8E812851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41536" y="3164452"/>
              <a:ext cx="952098" cy="889581"/>
            </a:xfrm>
            <a:custGeom>
              <a:avLst/>
              <a:gdLst>
                <a:gd name="T0" fmla="*/ 2629 w 2996"/>
                <a:gd name="T1" fmla="*/ 334 h 2800"/>
                <a:gd name="T2" fmla="*/ 2651 w 2996"/>
                <a:gd name="T3" fmla="*/ 521 h 2800"/>
                <a:gd name="T4" fmla="*/ 2668 w 2996"/>
                <a:gd name="T5" fmla="*/ 706 h 2800"/>
                <a:gd name="T6" fmla="*/ 2806 w 2996"/>
                <a:gd name="T7" fmla="*/ 849 h 2800"/>
                <a:gd name="T8" fmla="*/ 2893 w 2996"/>
                <a:gd name="T9" fmla="*/ 1012 h 2800"/>
                <a:gd name="T10" fmla="*/ 2961 w 2996"/>
                <a:gd name="T11" fmla="*/ 1174 h 2800"/>
                <a:gd name="T12" fmla="*/ 2955 w 2996"/>
                <a:gd name="T13" fmla="*/ 1413 h 2800"/>
                <a:gd name="T14" fmla="*/ 2851 w 2996"/>
                <a:gd name="T15" fmla="*/ 1675 h 2800"/>
                <a:gd name="T16" fmla="*/ 2654 w 2996"/>
                <a:gd name="T17" fmla="*/ 1904 h 2800"/>
                <a:gd name="T18" fmla="*/ 2448 w 2996"/>
                <a:gd name="T19" fmla="*/ 2127 h 2800"/>
                <a:gd name="T20" fmla="*/ 2290 w 2996"/>
                <a:gd name="T21" fmla="*/ 2305 h 2800"/>
                <a:gd name="T22" fmla="*/ 2014 w 2996"/>
                <a:gd name="T23" fmla="*/ 2412 h 2800"/>
                <a:gd name="T24" fmla="*/ 1930 w 2996"/>
                <a:gd name="T25" fmla="*/ 2332 h 2800"/>
                <a:gd name="T26" fmla="*/ 1719 w 2996"/>
                <a:gd name="T27" fmla="*/ 2350 h 2800"/>
                <a:gd name="T28" fmla="*/ 1669 w 2996"/>
                <a:gd name="T29" fmla="*/ 2167 h 2800"/>
                <a:gd name="T30" fmla="*/ 1641 w 2996"/>
                <a:gd name="T31" fmla="*/ 2018 h 2800"/>
                <a:gd name="T32" fmla="*/ 1600 w 2996"/>
                <a:gd name="T33" fmla="*/ 1996 h 2800"/>
                <a:gd name="T34" fmla="*/ 1521 w 2996"/>
                <a:gd name="T35" fmla="*/ 1993 h 2800"/>
                <a:gd name="T36" fmla="*/ 1427 w 2996"/>
                <a:gd name="T37" fmla="*/ 1919 h 2800"/>
                <a:gd name="T38" fmla="*/ 1303 w 2996"/>
                <a:gd name="T39" fmla="*/ 1814 h 2800"/>
                <a:gd name="T40" fmla="*/ 922 w 2996"/>
                <a:gd name="T41" fmla="*/ 1840 h 2800"/>
                <a:gd name="T42" fmla="*/ 664 w 2996"/>
                <a:gd name="T43" fmla="*/ 1942 h 2800"/>
                <a:gd name="T44" fmla="*/ 458 w 2996"/>
                <a:gd name="T45" fmla="*/ 1970 h 2800"/>
                <a:gd name="T46" fmla="*/ 274 w 2996"/>
                <a:gd name="T47" fmla="*/ 2025 h 2800"/>
                <a:gd name="T48" fmla="*/ 87 w 2996"/>
                <a:gd name="T49" fmla="*/ 2072 h 2800"/>
                <a:gd name="T50" fmla="*/ 59 w 2996"/>
                <a:gd name="T51" fmla="*/ 1942 h 2800"/>
                <a:gd name="T52" fmla="*/ 124 w 2996"/>
                <a:gd name="T53" fmla="*/ 1783 h 2800"/>
                <a:gd name="T54" fmla="*/ 123 w 2996"/>
                <a:gd name="T55" fmla="*/ 1544 h 2800"/>
                <a:gd name="T56" fmla="*/ 91 w 2996"/>
                <a:gd name="T57" fmla="*/ 1352 h 2800"/>
                <a:gd name="T58" fmla="*/ 138 w 2996"/>
                <a:gd name="T59" fmla="*/ 1298 h 2800"/>
                <a:gd name="T60" fmla="*/ 141 w 2996"/>
                <a:gd name="T61" fmla="*/ 1193 h 2800"/>
                <a:gd name="T62" fmla="*/ 189 w 2996"/>
                <a:gd name="T63" fmla="*/ 1055 h 2800"/>
                <a:gd name="T64" fmla="*/ 270 w 2996"/>
                <a:gd name="T65" fmla="*/ 950 h 2800"/>
                <a:gd name="T66" fmla="*/ 476 w 2996"/>
                <a:gd name="T67" fmla="*/ 848 h 2800"/>
                <a:gd name="T68" fmla="*/ 621 w 2996"/>
                <a:gd name="T69" fmla="*/ 798 h 2800"/>
                <a:gd name="T70" fmla="*/ 812 w 2996"/>
                <a:gd name="T71" fmla="*/ 730 h 2800"/>
                <a:gd name="T72" fmla="*/ 910 w 2996"/>
                <a:gd name="T73" fmla="*/ 561 h 2800"/>
                <a:gd name="T74" fmla="*/ 1008 w 2996"/>
                <a:gd name="T75" fmla="*/ 505 h 2800"/>
                <a:gd name="T76" fmla="*/ 1134 w 2996"/>
                <a:gd name="T77" fmla="*/ 375 h 2800"/>
                <a:gd name="T78" fmla="*/ 1232 w 2996"/>
                <a:gd name="T79" fmla="*/ 313 h 2800"/>
                <a:gd name="T80" fmla="*/ 1358 w 2996"/>
                <a:gd name="T81" fmla="*/ 307 h 2800"/>
                <a:gd name="T82" fmla="*/ 1476 w 2996"/>
                <a:gd name="T83" fmla="*/ 320 h 2800"/>
                <a:gd name="T84" fmla="*/ 1588 w 2996"/>
                <a:gd name="T85" fmla="*/ 159 h 2800"/>
                <a:gd name="T86" fmla="*/ 1743 w 2996"/>
                <a:gd name="T87" fmla="*/ 80 h 2800"/>
                <a:gd name="T88" fmla="*/ 1815 w 2996"/>
                <a:gd name="T89" fmla="*/ 95 h 2800"/>
                <a:gd name="T90" fmla="*/ 1988 w 2996"/>
                <a:gd name="T91" fmla="*/ 110 h 2800"/>
                <a:gd name="T92" fmla="*/ 2038 w 2996"/>
                <a:gd name="T93" fmla="*/ 189 h 2800"/>
                <a:gd name="T94" fmla="*/ 1954 w 2996"/>
                <a:gd name="T95" fmla="*/ 303 h 2800"/>
                <a:gd name="T96" fmla="*/ 2027 w 2996"/>
                <a:gd name="T97" fmla="*/ 443 h 2800"/>
                <a:gd name="T98" fmla="*/ 2161 w 2996"/>
                <a:gd name="T99" fmla="*/ 545 h 2800"/>
                <a:gd name="T100" fmla="*/ 2310 w 2996"/>
                <a:gd name="T101" fmla="*/ 525 h 2800"/>
                <a:gd name="T102" fmla="*/ 2381 w 2996"/>
                <a:gd name="T103" fmla="*/ 332 h 2800"/>
                <a:gd name="T104" fmla="*/ 2425 w 2996"/>
                <a:gd name="T105" fmla="*/ 177 h 2800"/>
                <a:gd name="T106" fmla="*/ 2466 w 2996"/>
                <a:gd name="T107" fmla="*/ 32 h 2800"/>
                <a:gd name="T108" fmla="*/ 2530 w 2996"/>
                <a:gd name="T109" fmla="*/ 105 h 2800"/>
                <a:gd name="T110" fmla="*/ 2540 w 2996"/>
                <a:gd name="T111" fmla="*/ 264 h 2800"/>
                <a:gd name="T112" fmla="*/ 2023 w 2996"/>
                <a:gd name="T113" fmla="*/ 2562 h 2800"/>
                <a:gd name="T114" fmla="*/ 1911 w 2996"/>
                <a:gd name="T115" fmla="*/ 2764 h 2800"/>
                <a:gd name="T116" fmla="*/ 1765 w 2996"/>
                <a:gd name="T117" fmla="*/ 2793 h 2800"/>
                <a:gd name="T118" fmla="*/ 1824 w 2996"/>
                <a:gd name="T119" fmla="*/ 2553 h 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96" h="2800">
                  <a:moveTo>
                    <a:pt x="2540" y="264"/>
                  </a:moveTo>
                  <a:lnTo>
                    <a:pt x="2557" y="330"/>
                  </a:lnTo>
                  <a:lnTo>
                    <a:pt x="2610" y="298"/>
                  </a:lnTo>
                  <a:lnTo>
                    <a:pt x="2629" y="334"/>
                  </a:lnTo>
                  <a:lnTo>
                    <a:pt x="2659" y="368"/>
                  </a:lnTo>
                  <a:lnTo>
                    <a:pt x="2645" y="405"/>
                  </a:lnTo>
                  <a:lnTo>
                    <a:pt x="2647" y="478"/>
                  </a:lnTo>
                  <a:lnTo>
                    <a:pt x="2651" y="521"/>
                  </a:lnTo>
                  <a:lnTo>
                    <a:pt x="2667" y="531"/>
                  </a:lnTo>
                  <a:lnTo>
                    <a:pt x="2673" y="604"/>
                  </a:lnTo>
                  <a:lnTo>
                    <a:pt x="2656" y="648"/>
                  </a:lnTo>
                  <a:lnTo>
                    <a:pt x="2668" y="706"/>
                  </a:lnTo>
                  <a:lnTo>
                    <a:pt x="2738" y="750"/>
                  </a:lnTo>
                  <a:lnTo>
                    <a:pt x="2780" y="791"/>
                  </a:lnTo>
                  <a:lnTo>
                    <a:pt x="2821" y="828"/>
                  </a:lnTo>
                  <a:lnTo>
                    <a:pt x="2806" y="849"/>
                  </a:lnTo>
                  <a:lnTo>
                    <a:pt x="2835" y="902"/>
                  </a:lnTo>
                  <a:lnTo>
                    <a:pt x="2839" y="994"/>
                  </a:lnTo>
                  <a:lnTo>
                    <a:pt x="2873" y="975"/>
                  </a:lnTo>
                  <a:lnTo>
                    <a:pt x="2893" y="1012"/>
                  </a:lnTo>
                  <a:lnTo>
                    <a:pt x="2914" y="999"/>
                  </a:lnTo>
                  <a:lnTo>
                    <a:pt x="2901" y="1089"/>
                  </a:lnTo>
                  <a:lnTo>
                    <a:pt x="2937" y="1142"/>
                  </a:lnTo>
                  <a:lnTo>
                    <a:pt x="2961" y="1174"/>
                  </a:lnTo>
                  <a:lnTo>
                    <a:pt x="2996" y="1243"/>
                  </a:lnTo>
                  <a:lnTo>
                    <a:pt x="2994" y="1311"/>
                  </a:lnTo>
                  <a:lnTo>
                    <a:pt x="2979" y="1360"/>
                  </a:lnTo>
                  <a:lnTo>
                    <a:pt x="2955" y="1413"/>
                  </a:lnTo>
                  <a:lnTo>
                    <a:pt x="2963" y="1485"/>
                  </a:lnTo>
                  <a:lnTo>
                    <a:pt x="2930" y="1560"/>
                  </a:lnTo>
                  <a:lnTo>
                    <a:pt x="2902" y="1599"/>
                  </a:lnTo>
                  <a:lnTo>
                    <a:pt x="2851" y="1675"/>
                  </a:lnTo>
                  <a:lnTo>
                    <a:pt x="2832" y="1724"/>
                  </a:lnTo>
                  <a:lnTo>
                    <a:pt x="2792" y="1785"/>
                  </a:lnTo>
                  <a:lnTo>
                    <a:pt x="2726" y="1862"/>
                  </a:lnTo>
                  <a:lnTo>
                    <a:pt x="2654" y="1904"/>
                  </a:lnTo>
                  <a:lnTo>
                    <a:pt x="2597" y="1970"/>
                  </a:lnTo>
                  <a:lnTo>
                    <a:pt x="2553" y="2012"/>
                  </a:lnTo>
                  <a:lnTo>
                    <a:pt x="2496" y="2085"/>
                  </a:lnTo>
                  <a:lnTo>
                    <a:pt x="2448" y="2127"/>
                  </a:lnTo>
                  <a:lnTo>
                    <a:pt x="2397" y="2191"/>
                  </a:lnTo>
                  <a:lnTo>
                    <a:pt x="2357" y="2249"/>
                  </a:lnTo>
                  <a:lnTo>
                    <a:pt x="2347" y="2276"/>
                  </a:lnTo>
                  <a:lnTo>
                    <a:pt x="2290" y="2305"/>
                  </a:lnTo>
                  <a:lnTo>
                    <a:pt x="2210" y="2308"/>
                  </a:lnTo>
                  <a:lnTo>
                    <a:pt x="2127" y="2343"/>
                  </a:lnTo>
                  <a:lnTo>
                    <a:pt x="2077" y="2376"/>
                  </a:lnTo>
                  <a:lnTo>
                    <a:pt x="2014" y="2412"/>
                  </a:lnTo>
                  <a:lnTo>
                    <a:pt x="1977" y="2375"/>
                  </a:lnTo>
                  <a:lnTo>
                    <a:pt x="1943" y="2360"/>
                  </a:lnTo>
                  <a:lnTo>
                    <a:pt x="1977" y="2316"/>
                  </a:lnTo>
                  <a:lnTo>
                    <a:pt x="1930" y="2332"/>
                  </a:lnTo>
                  <a:lnTo>
                    <a:pt x="1836" y="2393"/>
                  </a:lnTo>
                  <a:lnTo>
                    <a:pt x="1788" y="2370"/>
                  </a:lnTo>
                  <a:lnTo>
                    <a:pt x="1756" y="2357"/>
                  </a:lnTo>
                  <a:lnTo>
                    <a:pt x="1719" y="2350"/>
                  </a:lnTo>
                  <a:lnTo>
                    <a:pt x="1664" y="2326"/>
                  </a:lnTo>
                  <a:lnTo>
                    <a:pt x="1646" y="2274"/>
                  </a:lnTo>
                  <a:lnTo>
                    <a:pt x="1665" y="2210"/>
                  </a:lnTo>
                  <a:lnTo>
                    <a:pt x="1669" y="2167"/>
                  </a:lnTo>
                  <a:lnTo>
                    <a:pt x="1651" y="2132"/>
                  </a:lnTo>
                  <a:lnTo>
                    <a:pt x="1587" y="2122"/>
                  </a:lnTo>
                  <a:lnTo>
                    <a:pt x="1630" y="2081"/>
                  </a:lnTo>
                  <a:lnTo>
                    <a:pt x="1641" y="2018"/>
                  </a:lnTo>
                  <a:lnTo>
                    <a:pt x="1580" y="2077"/>
                  </a:lnTo>
                  <a:lnTo>
                    <a:pt x="1510" y="2092"/>
                  </a:lnTo>
                  <a:lnTo>
                    <a:pt x="1568" y="2045"/>
                  </a:lnTo>
                  <a:lnTo>
                    <a:pt x="1600" y="1996"/>
                  </a:lnTo>
                  <a:lnTo>
                    <a:pt x="1646" y="1955"/>
                  </a:lnTo>
                  <a:lnTo>
                    <a:pt x="1667" y="1892"/>
                  </a:lnTo>
                  <a:lnTo>
                    <a:pt x="1578" y="1964"/>
                  </a:lnTo>
                  <a:lnTo>
                    <a:pt x="1521" y="1993"/>
                  </a:lnTo>
                  <a:lnTo>
                    <a:pt x="1464" y="2061"/>
                  </a:lnTo>
                  <a:lnTo>
                    <a:pt x="1424" y="2026"/>
                  </a:lnTo>
                  <a:lnTo>
                    <a:pt x="1446" y="1981"/>
                  </a:lnTo>
                  <a:lnTo>
                    <a:pt x="1427" y="1919"/>
                  </a:lnTo>
                  <a:lnTo>
                    <a:pt x="1402" y="1888"/>
                  </a:lnTo>
                  <a:lnTo>
                    <a:pt x="1424" y="1868"/>
                  </a:lnTo>
                  <a:lnTo>
                    <a:pt x="1352" y="1816"/>
                  </a:lnTo>
                  <a:lnTo>
                    <a:pt x="1303" y="1814"/>
                  </a:lnTo>
                  <a:lnTo>
                    <a:pt x="1250" y="1773"/>
                  </a:lnTo>
                  <a:lnTo>
                    <a:pt x="1118" y="1781"/>
                  </a:lnTo>
                  <a:lnTo>
                    <a:pt x="1014" y="1811"/>
                  </a:lnTo>
                  <a:lnTo>
                    <a:pt x="922" y="1840"/>
                  </a:lnTo>
                  <a:lnTo>
                    <a:pt x="856" y="1834"/>
                  </a:lnTo>
                  <a:lnTo>
                    <a:pt x="764" y="1877"/>
                  </a:lnTo>
                  <a:lnTo>
                    <a:pt x="694" y="1897"/>
                  </a:lnTo>
                  <a:lnTo>
                    <a:pt x="664" y="1942"/>
                  </a:lnTo>
                  <a:lnTo>
                    <a:pt x="624" y="1976"/>
                  </a:lnTo>
                  <a:lnTo>
                    <a:pt x="563" y="1978"/>
                  </a:lnTo>
                  <a:lnTo>
                    <a:pt x="515" y="1986"/>
                  </a:lnTo>
                  <a:lnTo>
                    <a:pt x="458" y="1970"/>
                  </a:lnTo>
                  <a:lnTo>
                    <a:pt x="404" y="1979"/>
                  </a:lnTo>
                  <a:lnTo>
                    <a:pt x="353" y="1983"/>
                  </a:lnTo>
                  <a:lnTo>
                    <a:pt x="294" y="2029"/>
                  </a:lnTo>
                  <a:lnTo>
                    <a:pt x="274" y="2025"/>
                  </a:lnTo>
                  <a:lnTo>
                    <a:pt x="230" y="2049"/>
                  </a:lnTo>
                  <a:lnTo>
                    <a:pt x="185" y="2076"/>
                  </a:lnTo>
                  <a:lnTo>
                    <a:pt x="135" y="2072"/>
                  </a:lnTo>
                  <a:lnTo>
                    <a:pt x="87" y="2072"/>
                  </a:lnTo>
                  <a:lnTo>
                    <a:pt x="32" y="2018"/>
                  </a:lnTo>
                  <a:lnTo>
                    <a:pt x="0" y="2002"/>
                  </a:lnTo>
                  <a:lnTo>
                    <a:pt x="19" y="1953"/>
                  </a:lnTo>
                  <a:lnTo>
                    <a:pt x="59" y="1942"/>
                  </a:lnTo>
                  <a:lnTo>
                    <a:pt x="78" y="1923"/>
                  </a:lnTo>
                  <a:lnTo>
                    <a:pt x="86" y="1892"/>
                  </a:lnTo>
                  <a:lnTo>
                    <a:pt x="115" y="1833"/>
                  </a:lnTo>
                  <a:lnTo>
                    <a:pt x="124" y="1783"/>
                  </a:lnTo>
                  <a:lnTo>
                    <a:pt x="114" y="1697"/>
                  </a:lnTo>
                  <a:lnTo>
                    <a:pt x="117" y="1648"/>
                  </a:lnTo>
                  <a:lnTo>
                    <a:pt x="135" y="1600"/>
                  </a:lnTo>
                  <a:lnTo>
                    <a:pt x="123" y="1544"/>
                  </a:lnTo>
                  <a:lnTo>
                    <a:pt x="128" y="1519"/>
                  </a:lnTo>
                  <a:lnTo>
                    <a:pt x="105" y="1486"/>
                  </a:lnTo>
                  <a:lnTo>
                    <a:pt x="115" y="1419"/>
                  </a:lnTo>
                  <a:lnTo>
                    <a:pt x="91" y="1352"/>
                  </a:lnTo>
                  <a:lnTo>
                    <a:pt x="90" y="1315"/>
                  </a:lnTo>
                  <a:lnTo>
                    <a:pt x="113" y="1352"/>
                  </a:lnTo>
                  <a:lnTo>
                    <a:pt x="108" y="1273"/>
                  </a:lnTo>
                  <a:lnTo>
                    <a:pt x="138" y="1298"/>
                  </a:lnTo>
                  <a:lnTo>
                    <a:pt x="151" y="1331"/>
                  </a:lnTo>
                  <a:lnTo>
                    <a:pt x="161" y="1287"/>
                  </a:lnTo>
                  <a:lnTo>
                    <a:pt x="142" y="1220"/>
                  </a:lnTo>
                  <a:lnTo>
                    <a:pt x="141" y="1193"/>
                  </a:lnTo>
                  <a:lnTo>
                    <a:pt x="130" y="1168"/>
                  </a:lnTo>
                  <a:lnTo>
                    <a:pt x="149" y="1119"/>
                  </a:lnTo>
                  <a:lnTo>
                    <a:pt x="169" y="1098"/>
                  </a:lnTo>
                  <a:lnTo>
                    <a:pt x="189" y="1055"/>
                  </a:lnTo>
                  <a:lnTo>
                    <a:pt x="191" y="1005"/>
                  </a:lnTo>
                  <a:lnTo>
                    <a:pt x="235" y="944"/>
                  </a:lnTo>
                  <a:lnTo>
                    <a:pt x="227" y="1009"/>
                  </a:lnTo>
                  <a:lnTo>
                    <a:pt x="270" y="950"/>
                  </a:lnTo>
                  <a:lnTo>
                    <a:pt x="336" y="922"/>
                  </a:lnTo>
                  <a:lnTo>
                    <a:pt x="379" y="886"/>
                  </a:lnTo>
                  <a:lnTo>
                    <a:pt x="442" y="854"/>
                  </a:lnTo>
                  <a:lnTo>
                    <a:pt x="476" y="848"/>
                  </a:lnTo>
                  <a:lnTo>
                    <a:pt x="495" y="858"/>
                  </a:lnTo>
                  <a:lnTo>
                    <a:pt x="559" y="826"/>
                  </a:lnTo>
                  <a:lnTo>
                    <a:pt x="606" y="817"/>
                  </a:lnTo>
                  <a:lnTo>
                    <a:pt x="621" y="798"/>
                  </a:lnTo>
                  <a:lnTo>
                    <a:pt x="642" y="791"/>
                  </a:lnTo>
                  <a:lnTo>
                    <a:pt x="682" y="793"/>
                  </a:lnTo>
                  <a:lnTo>
                    <a:pt x="765" y="768"/>
                  </a:lnTo>
                  <a:lnTo>
                    <a:pt x="812" y="730"/>
                  </a:lnTo>
                  <a:lnTo>
                    <a:pt x="840" y="684"/>
                  </a:lnTo>
                  <a:lnTo>
                    <a:pt x="891" y="641"/>
                  </a:lnTo>
                  <a:lnTo>
                    <a:pt x="900" y="607"/>
                  </a:lnTo>
                  <a:lnTo>
                    <a:pt x="910" y="561"/>
                  </a:lnTo>
                  <a:lnTo>
                    <a:pt x="974" y="489"/>
                  </a:lnTo>
                  <a:lnTo>
                    <a:pt x="993" y="562"/>
                  </a:lnTo>
                  <a:lnTo>
                    <a:pt x="1028" y="545"/>
                  </a:lnTo>
                  <a:lnTo>
                    <a:pt x="1008" y="505"/>
                  </a:lnTo>
                  <a:lnTo>
                    <a:pt x="1038" y="464"/>
                  </a:lnTo>
                  <a:lnTo>
                    <a:pt x="1068" y="482"/>
                  </a:lnTo>
                  <a:lnTo>
                    <a:pt x="1087" y="417"/>
                  </a:lnTo>
                  <a:lnTo>
                    <a:pt x="1134" y="375"/>
                  </a:lnTo>
                  <a:lnTo>
                    <a:pt x="1157" y="342"/>
                  </a:lnTo>
                  <a:lnTo>
                    <a:pt x="1196" y="327"/>
                  </a:lnTo>
                  <a:lnTo>
                    <a:pt x="1201" y="303"/>
                  </a:lnTo>
                  <a:lnTo>
                    <a:pt x="1232" y="313"/>
                  </a:lnTo>
                  <a:lnTo>
                    <a:pt x="1236" y="292"/>
                  </a:lnTo>
                  <a:lnTo>
                    <a:pt x="1271" y="280"/>
                  </a:lnTo>
                  <a:lnTo>
                    <a:pt x="1308" y="268"/>
                  </a:lnTo>
                  <a:lnTo>
                    <a:pt x="1358" y="307"/>
                  </a:lnTo>
                  <a:lnTo>
                    <a:pt x="1392" y="358"/>
                  </a:lnTo>
                  <a:lnTo>
                    <a:pt x="1439" y="358"/>
                  </a:lnTo>
                  <a:lnTo>
                    <a:pt x="1485" y="366"/>
                  </a:lnTo>
                  <a:lnTo>
                    <a:pt x="1476" y="320"/>
                  </a:lnTo>
                  <a:lnTo>
                    <a:pt x="1521" y="251"/>
                  </a:lnTo>
                  <a:lnTo>
                    <a:pt x="1558" y="229"/>
                  </a:lnTo>
                  <a:lnTo>
                    <a:pt x="1549" y="208"/>
                  </a:lnTo>
                  <a:lnTo>
                    <a:pt x="1588" y="159"/>
                  </a:lnTo>
                  <a:lnTo>
                    <a:pt x="1637" y="129"/>
                  </a:lnTo>
                  <a:lnTo>
                    <a:pt x="1674" y="139"/>
                  </a:lnTo>
                  <a:lnTo>
                    <a:pt x="1739" y="123"/>
                  </a:lnTo>
                  <a:lnTo>
                    <a:pt x="1743" y="80"/>
                  </a:lnTo>
                  <a:lnTo>
                    <a:pt x="1691" y="52"/>
                  </a:lnTo>
                  <a:lnTo>
                    <a:pt x="1733" y="39"/>
                  </a:lnTo>
                  <a:lnTo>
                    <a:pt x="1780" y="60"/>
                  </a:lnTo>
                  <a:lnTo>
                    <a:pt x="1815" y="95"/>
                  </a:lnTo>
                  <a:lnTo>
                    <a:pt x="1876" y="117"/>
                  </a:lnTo>
                  <a:lnTo>
                    <a:pt x="1898" y="108"/>
                  </a:lnTo>
                  <a:lnTo>
                    <a:pt x="1941" y="135"/>
                  </a:lnTo>
                  <a:lnTo>
                    <a:pt x="1988" y="110"/>
                  </a:lnTo>
                  <a:lnTo>
                    <a:pt x="2015" y="118"/>
                  </a:lnTo>
                  <a:lnTo>
                    <a:pt x="2035" y="101"/>
                  </a:lnTo>
                  <a:lnTo>
                    <a:pt x="2064" y="143"/>
                  </a:lnTo>
                  <a:lnTo>
                    <a:pt x="2038" y="189"/>
                  </a:lnTo>
                  <a:lnTo>
                    <a:pt x="2005" y="223"/>
                  </a:lnTo>
                  <a:lnTo>
                    <a:pt x="1978" y="226"/>
                  </a:lnTo>
                  <a:lnTo>
                    <a:pt x="1982" y="260"/>
                  </a:lnTo>
                  <a:lnTo>
                    <a:pt x="1954" y="303"/>
                  </a:lnTo>
                  <a:lnTo>
                    <a:pt x="1921" y="345"/>
                  </a:lnTo>
                  <a:lnTo>
                    <a:pt x="1923" y="369"/>
                  </a:lnTo>
                  <a:lnTo>
                    <a:pt x="1974" y="416"/>
                  </a:lnTo>
                  <a:lnTo>
                    <a:pt x="2027" y="443"/>
                  </a:lnTo>
                  <a:lnTo>
                    <a:pt x="2060" y="472"/>
                  </a:lnTo>
                  <a:lnTo>
                    <a:pt x="2105" y="523"/>
                  </a:lnTo>
                  <a:lnTo>
                    <a:pt x="2126" y="523"/>
                  </a:lnTo>
                  <a:lnTo>
                    <a:pt x="2161" y="545"/>
                  </a:lnTo>
                  <a:lnTo>
                    <a:pt x="2167" y="571"/>
                  </a:lnTo>
                  <a:lnTo>
                    <a:pt x="2232" y="600"/>
                  </a:lnTo>
                  <a:lnTo>
                    <a:pt x="2287" y="571"/>
                  </a:lnTo>
                  <a:lnTo>
                    <a:pt x="2310" y="525"/>
                  </a:lnTo>
                  <a:lnTo>
                    <a:pt x="2332" y="487"/>
                  </a:lnTo>
                  <a:lnTo>
                    <a:pt x="2350" y="440"/>
                  </a:lnTo>
                  <a:lnTo>
                    <a:pt x="2384" y="373"/>
                  </a:lnTo>
                  <a:lnTo>
                    <a:pt x="2381" y="332"/>
                  </a:lnTo>
                  <a:lnTo>
                    <a:pt x="2390" y="307"/>
                  </a:lnTo>
                  <a:lnTo>
                    <a:pt x="2389" y="258"/>
                  </a:lnTo>
                  <a:lnTo>
                    <a:pt x="2408" y="194"/>
                  </a:lnTo>
                  <a:lnTo>
                    <a:pt x="2425" y="177"/>
                  </a:lnTo>
                  <a:lnTo>
                    <a:pt x="2417" y="148"/>
                  </a:lnTo>
                  <a:lnTo>
                    <a:pt x="2441" y="103"/>
                  </a:lnTo>
                  <a:lnTo>
                    <a:pt x="2461" y="56"/>
                  </a:lnTo>
                  <a:lnTo>
                    <a:pt x="2466" y="32"/>
                  </a:lnTo>
                  <a:lnTo>
                    <a:pt x="2498" y="0"/>
                  </a:lnTo>
                  <a:lnTo>
                    <a:pt x="2514" y="42"/>
                  </a:lnTo>
                  <a:lnTo>
                    <a:pt x="2512" y="95"/>
                  </a:lnTo>
                  <a:lnTo>
                    <a:pt x="2530" y="105"/>
                  </a:lnTo>
                  <a:lnTo>
                    <a:pt x="2528" y="141"/>
                  </a:lnTo>
                  <a:lnTo>
                    <a:pt x="2549" y="184"/>
                  </a:lnTo>
                  <a:lnTo>
                    <a:pt x="2548" y="233"/>
                  </a:lnTo>
                  <a:lnTo>
                    <a:pt x="2540" y="264"/>
                  </a:lnTo>
                  <a:moveTo>
                    <a:pt x="1865" y="2560"/>
                  </a:moveTo>
                  <a:lnTo>
                    <a:pt x="1914" y="2590"/>
                  </a:lnTo>
                  <a:lnTo>
                    <a:pt x="1959" y="2578"/>
                  </a:lnTo>
                  <a:lnTo>
                    <a:pt x="2023" y="2562"/>
                  </a:lnTo>
                  <a:lnTo>
                    <a:pt x="2061" y="2567"/>
                  </a:lnTo>
                  <a:lnTo>
                    <a:pt x="2004" y="2667"/>
                  </a:lnTo>
                  <a:lnTo>
                    <a:pt x="1962" y="2696"/>
                  </a:lnTo>
                  <a:lnTo>
                    <a:pt x="1911" y="2764"/>
                  </a:lnTo>
                  <a:lnTo>
                    <a:pt x="1902" y="2741"/>
                  </a:lnTo>
                  <a:lnTo>
                    <a:pt x="1816" y="2800"/>
                  </a:lnTo>
                  <a:lnTo>
                    <a:pt x="1805" y="2795"/>
                  </a:lnTo>
                  <a:lnTo>
                    <a:pt x="1765" y="2793"/>
                  </a:lnTo>
                  <a:lnTo>
                    <a:pt x="1769" y="2721"/>
                  </a:lnTo>
                  <a:lnTo>
                    <a:pt x="1795" y="2665"/>
                  </a:lnTo>
                  <a:lnTo>
                    <a:pt x="1800" y="2592"/>
                  </a:lnTo>
                  <a:lnTo>
                    <a:pt x="1824" y="2553"/>
                  </a:lnTo>
                  <a:lnTo>
                    <a:pt x="1865" y="2560"/>
                  </a:lnTo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57" name="Freeform 14">
              <a:extLst>
                <a:ext uri="{FF2B5EF4-FFF2-40B4-BE49-F238E27FC236}">
                  <a16:creationId xmlns:a16="http://schemas.microsoft.com/office/drawing/2014/main" id="{EF54D7E5-29A9-46D9-B5BF-28E20133BC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2405" y="1553309"/>
              <a:ext cx="156295" cy="70333"/>
            </a:xfrm>
            <a:custGeom>
              <a:avLst/>
              <a:gdLst>
                <a:gd name="T0" fmla="*/ 120 w 120"/>
                <a:gd name="T1" fmla="*/ 19 h 54"/>
                <a:gd name="T2" fmla="*/ 119 w 120"/>
                <a:gd name="T3" fmla="*/ 27 h 54"/>
                <a:gd name="T4" fmla="*/ 110 w 120"/>
                <a:gd name="T5" fmla="*/ 27 h 54"/>
                <a:gd name="T6" fmla="*/ 114 w 120"/>
                <a:gd name="T7" fmla="*/ 32 h 54"/>
                <a:gd name="T8" fmla="*/ 109 w 120"/>
                <a:gd name="T9" fmla="*/ 45 h 54"/>
                <a:gd name="T10" fmla="*/ 107 w 120"/>
                <a:gd name="T11" fmla="*/ 48 h 54"/>
                <a:gd name="T12" fmla="*/ 92 w 120"/>
                <a:gd name="T13" fmla="*/ 49 h 54"/>
                <a:gd name="T14" fmla="*/ 85 w 120"/>
                <a:gd name="T15" fmla="*/ 54 h 54"/>
                <a:gd name="T16" fmla="*/ 71 w 120"/>
                <a:gd name="T17" fmla="*/ 52 h 54"/>
                <a:gd name="T18" fmla="*/ 47 w 120"/>
                <a:gd name="T19" fmla="*/ 47 h 54"/>
                <a:gd name="T20" fmla="*/ 43 w 120"/>
                <a:gd name="T21" fmla="*/ 40 h 54"/>
                <a:gd name="T22" fmla="*/ 27 w 120"/>
                <a:gd name="T23" fmla="*/ 43 h 54"/>
                <a:gd name="T24" fmla="*/ 25 w 120"/>
                <a:gd name="T25" fmla="*/ 47 h 54"/>
                <a:gd name="T26" fmla="*/ 15 w 120"/>
                <a:gd name="T27" fmla="*/ 44 h 54"/>
                <a:gd name="T28" fmla="*/ 7 w 120"/>
                <a:gd name="T29" fmla="*/ 44 h 54"/>
                <a:gd name="T30" fmla="*/ 0 w 120"/>
                <a:gd name="T31" fmla="*/ 40 h 54"/>
                <a:gd name="T32" fmla="*/ 2 w 120"/>
                <a:gd name="T33" fmla="*/ 35 h 54"/>
                <a:gd name="T34" fmla="*/ 1 w 120"/>
                <a:gd name="T35" fmla="*/ 31 h 54"/>
                <a:gd name="T36" fmla="*/ 6 w 120"/>
                <a:gd name="T37" fmla="*/ 30 h 54"/>
                <a:gd name="T38" fmla="*/ 15 w 120"/>
                <a:gd name="T39" fmla="*/ 36 h 54"/>
                <a:gd name="T40" fmla="*/ 16 w 120"/>
                <a:gd name="T41" fmla="*/ 30 h 54"/>
                <a:gd name="T42" fmla="*/ 31 w 120"/>
                <a:gd name="T43" fmla="*/ 31 h 54"/>
                <a:gd name="T44" fmla="*/ 42 w 120"/>
                <a:gd name="T45" fmla="*/ 28 h 54"/>
                <a:gd name="T46" fmla="*/ 50 w 120"/>
                <a:gd name="T47" fmla="*/ 28 h 54"/>
                <a:gd name="T48" fmla="*/ 55 w 120"/>
                <a:gd name="T49" fmla="*/ 32 h 54"/>
                <a:gd name="T50" fmla="*/ 57 w 120"/>
                <a:gd name="T51" fmla="*/ 29 h 54"/>
                <a:gd name="T52" fmla="*/ 53 w 120"/>
                <a:gd name="T53" fmla="*/ 16 h 54"/>
                <a:gd name="T54" fmla="*/ 59 w 120"/>
                <a:gd name="T55" fmla="*/ 13 h 54"/>
                <a:gd name="T56" fmla="*/ 64 w 120"/>
                <a:gd name="T57" fmla="*/ 4 h 54"/>
                <a:gd name="T58" fmla="*/ 77 w 120"/>
                <a:gd name="T59" fmla="*/ 10 h 54"/>
                <a:gd name="T60" fmla="*/ 85 w 120"/>
                <a:gd name="T61" fmla="*/ 2 h 54"/>
                <a:gd name="T62" fmla="*/ 90 w 120"/>
                <a:gd name="T63" fmla="*/ 0 h 54"/>
                <a:gd name="T64" fmla="*/ 103 w 120"/>
                <a:gd name="T65" fmla="*/ 7 h 54"/>
                <a:gd name="T66" fmla="*/ 111 w 120"/>
                <a:gd name="T67" fmla="*/ 6 h 54"/>
                <a:gd name="T68" fmla="*/ 119 w 120"/>
                <a:gd name="T69" fmla="*/ 9 h 54"/>
                <a:gd name="T70" fmla="*/ 118 w 120"/>
                <a:gd name="T71" fmla="*/ 12 h 54"/>
                <a:gd name="T72" fmla="*/ 120 w 120"/>
                <a:gd name="T73" fmla="*/ 19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0" h="54">
                  <a:moveTo>
                    <a:pt x="120" y="19"/>
                  </a:moveTo>
                  <a:lnTo>
                    <a:pt x="119" y="27"/>
                  </a:lnTo>
                  <a:lnTo>
                    <a:pt x="110" y="27"/>
                  </a:lnTo>
                  <a:lnTo>
                    <a:pt x="114" y="32"/>
                  </a:lnTo>
                  <a:lnTo>
                    <a:pt x="109" y="45"/>
                  </a:lnTo>
                  <a:lnTo>
                    <a:pt x="107" y="48"/>
                  </a:lnTo>
                  <a:lnTo>
                    <a:pt x="92" y="49"/>
                  </a:lnTo>
                  <a:lnTo>
                    <a:pt x="85" y="54"/>
                  </a:lnTo>
                  <a:lnTo>
                    <a:pt x="71" y="52"/>
                  </a:lnTo>
                  <a:lnTo>
                    <a:pt x="47" y="47"/>
                  </a:lnTo>
                  <a:lnTo>
                    <a:pt x="43" y="40"/>
                  </a:lnTo>
                  <a:lnTo>
                    <a:pt x="27" y="43"/>
                  </a:lnTo>
                  <a:lnTo>
                    <a:pt x="25" y="47"/>
                  </a:lnTo>
                  <a:lnTo>
                    <a:pt x="15" y="44"/>
                  </a:lnTo>
                  <a:lnTo>
                    <a:pt x="7" y="44"/>
                  </a:lnTo>
                  <a:lnTo>
                    <a:pt x="0" y="40"/>
                  </a:lnTo>
                  <a:lnTo>
                    <a:pt x="2" y="35"/>
                  </a:lnTo>
                  <a:lnTo>
                    <a:pt x="1" y="31"/>
                  </a:lnTo>
                  <a:lnTo>
                    <a:pt x="6" y="30"/>
                  </a:lnTo>
                  <a:lnTo>
                    <a:pt x="15" y="36"/>
                  </a:lnTo>
                  <a:lnTo>
                    <a:pt x="16" y="30"/>
                  </a:lnTo>
                  <a:lnTo>
                    <a:pt x="31" y="31"/>
                  </a:lnTo>
                  <a:lnTo>
                    <a:pt x="42" y="28"/>
                  </a:lnTo>
                  <a:lnTo>
                    <a:pt x="50" y="28"/>
                  </a:lnTo>
                  <a:lnTo>
                    <a:pt x="55" y="32"/>
                  </a:lnTo>
                  <a:lnTo>
                    <a:pt x="57" y="29"/>
                  </a:lnTo>
                  <a:lnTo>
                    <a:pt x="53" y="16"/>
                  </a:lnTo>
                  <a:lnTo>
                    <a:pt x="59" y="13"/>
                  </a:lnTo>
                  <a:lnTo>
                    <a:pt x="64" y="4"/>
                  </a:lnTo>
                  <a:lnTo>
                    <a:pt x="77" y="10"/>
                  </a:lnTo>
                  <a:lnTo>
                    <a:pt x="85" y="2"/>
                  </a:lnTo>
                  <a:lnTo>
                    <a:pt x="90" y="0"/>
                  </a:lnTo>
                  <a:lnTo>
                    <a:pt x="103" y="7"/>
                  </a:lnTo>
                  <a:lnTo>
                    <a:pt x="111" y="6"/>
                  </a:lnTo>
                  <a:lnTo>
                    <a:pt x="119" y="9"/>
                  </a:lnTo>
                  <a:lnTo>
                    <a:pt x="118" y="12"/>
                  </a:lnTo>
                  <a:lnTo>
                    <a:pt x="120" y="19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58" name="Freeform 15">
              <a:extLst>
                <a:ext uri="{FF2B5EF4-FFF2-40B4-BE49-F238E27FC236}">
                  <a16:creationId xmlns:a16="http://schemas.microsoft.com/office/drawing/2014/main" id="{0418F91B-E3D7-4641-B371-253219ADB1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0394" y="1802079"/>
              <a:ext cx="33864" cy="26049"/>
            </a:xfrm>
            <a:custGeom>
              <a:avLst/>
              <a:gdLst>
                <a:gd name="T0" fmla="*/ 14 w 108"/>
                <a:gd name="T1" fmla="*/ 1 h 85"/>
                <a:gd name="T2" fmla="*/ 38 w 108"/>
                <a:gd name="T3" fmla="*/ 23 h 85"/>
                <a:gd name="T4" fmla="*/ 69 w 108"/>
                <a:gd name="T5" fmla="*/ 23 h 85"/>
                <a:gd name="T6" fmla="*/ 71 w 108"/>
                <a:gd name="T7" fmla="*/ 36 h 85"/>
                <a:gd name="T8" fmla="*/ 108 w 108"/>
                <a:gd name="T9" fmla="*/ 85 h 85"/>
                <a:gd name="T10" fmla="*/ 58 w 108"/>
                <a:gd name="T11" fmla="*/ 74 h 85"/>
                <a:gd name="T12" fmla="*/ 16 w 108"/>
                <a:gd name="T13" fmla="*/ 35 h 85"/>
                <a:gd name="T14" fmla="*/ 0 w 108"/>
                <a:gd name="T15" fmla="*/ 3 h 85"/>
                <a:gd name="T16" fmla="*/ 14 w 108"/>
                <a:gd name="T17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85">
                  <a:moveTo>
                    <a:pt x="14" y="1"/>
                  </a:moveTo>
                  <a:lnTo>
                    <a:pt x="38" y="23"/>
                  </a:lnTo>
                  <a:lnTo>
                    <a:pt x="69" y="23"/>
                  </a:lnTo>
                  <a:lnTo>
                    <a:pt x="71" y="36"/>
                  </a:lnTo>
                  <a:lnTo>
                    <a:pt x="108" y="85"/>
                  </a:lnTo>
                  <a:lnTo>
                    <a:pt x="58" y="74"/>
                  </a:lnTo>
                  <a:lnTo>
                    <a:pt x="16" y="35"/>
                  </a:lnTo>
                  <a:lnTo>
                    <a:pt x="0" y="3"/>
                  </a:lnTo>
                  <a:lnTo>
                    <a:pt x="14" y="0"/>
                  </a:lnTo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59" name="Freeform 16">
              <a:extLst>
                <a:ext uri="{FF2B5EF4-FFF2-40B4-BE49-F238E27FC236}">
                  <a16:creationId xmlns:a16="http://schemas.microsoft.com/office/drawing/2014/main" id="{F6F3B11A-454F-4CC7-9356-5C433A1515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6486" y="1744771"/>
              <a:ext cx="123734" cy="96382"/>
            </a:xfrm>
            <a:custGeom>
              <a:avLst/>
              <a:gdLst>
                <a:gd name="T0" fmla="*/ 40 w 95"/>
                <a:gd name="T1" fmla="*/ 13 h 74"/>
                <a:gd name="T2" fmla="*/ 48 w 95"/>
                <a:gd name="T3" fmla="*/ 15 h 74"/>
                <a:gd name="T4" fmla="*/ 50 w 95"/>
                <a:gd name="T5" fmla="*/ 9 h 74"/>
                <a:gd name="T6" fmla="*/ 58 w 95"/>
                <a:gd name="T7" fmla="*/ 1 h 74"/>
                <a:gd name="T8" fmla="*/ 69 w 95"/>
                <a:gd name="T9" fmla="*/ 12 h 74"/>
                <a:gd name="T10" fmla="*/ 81 w 95"/>
                <a:gd name="T11" fmla="*/ 27 h 74"/>
                <a:gd name="T12" fmla="*/ 89 w 95"/>
                <a:gd name="T13" fmla="*/ 28 h 74"/>
                <a:gd name="T14" fmla="*/ 95 w 95"/>
                <a:gd name="T15" fmla="*/ 33 h 74"/>
                <a:gd name="T16" fmla="*/ 82 w 95"/>
                <a:gd name="T17" fmla="*/ 35 h 74"/>
                <a:gd name="T18" fmla="*/ 82 w 95"/>
                <a:gd name="T19" fmla="*/ 51 h 74"/>
                <a:gd name="T20" fmla="*/ 80 w 95"/>
                <a:gd name="T21" fmla="*/ 58 h 74"/>
                <a:gd name="T22" fmla="*/ 75 w 95"/>
                <a:gd name="T23" fmla="*/ 63 h 74"/>
                <a:gd name="T24" fmla="*/ 77 w 95"/>
                <a:gd name="T25" fmla="*/ 73 h 74"/>
                <a:gd name="T26" fmla="*/ 73 w 95"/>
                <a:gd name="T27" fmla="*/ 74 h 74"/>
                <a:gd name="T28" fmla="*/ 61 w 95"/>
                <a:gd name="T29" fmla="*/ 63 h 74"/>
                <a:gd name="T30" fmla="*/ 65 w 95"/>
                <a:gd name="T31" fmla="*/ 53 h 74"/>
                <a:gd name="T32" fmla="*/ 59 w 95"/>
                <a:gd name="T33" fmla="*/ 47 h 74"/>
                <a:gd name="T34" fmla="*/ 52 w 95"/>
                <a:gd name="T35" fmla="*/ 49 h 74"/>
                <a:gd name="T36" fmla="*/ 35 w 95"/>
                <a:gd name="T37" fmla="*/ 64 h 74"/>
                <a:gd name="T38" fmla="*/ 32 w 95"/>
                <a:gd name="T39" fmla="*/ 49 h 74"/>
                <a:gd name="T40" fmla="*/ 24 w 95"/>
                <a:gd name="T41" fmla="*/ 46 h 74"/>
                <a:gd name="T42" fmla="*/ 16 w 95"/>
                <a:gd name="T43" fmla="*/ 40 h 74"/>
                <a:gd name="T44" fmla="*/ 19 w 95"/>
                <a:gd name="T45" fmla="*/ 34 h 74"/>
                <a:gd name="T46" fmla="*/ 9 w 95"/>
                <a:gd name="T47" fmla="*/ 27 h 74"/>
                <a:gd name="T48" fmla="*/ 11 w 95"/>
                <a:gd name="T49" fmla="*/ 22 h 74"/>
                <a:gd name="T50" fmla="*/ 4 w 95"/>
                <a:gd name="T51" fmla="*/ 18 h 74"/>
                <a:gd name="T52" fmla="*/ 0 w 95"/>
                <a:gd name="T53" fmla="*/ 13 h 74"/>
                <a:gd name="T54" fmla="*/ 3 w 95"/>
                <a:gd name="T55" fmla="*/ 9 h 74"/>
                <a:gd name="T56" fmla="*/ 17 w 95"/>
                <a:gd name="T57" fmla="*/ 15 h 74"/>
                <a:gd name="T58" fmla="*/ 26 w 95"/>
                <a:gd name="T59" fmla="*/ 17 h 74"/>
                <a:gd name="T60" fmla="*/ 28 w 95"/>
                <a:gd name="T61" fmla="*/ 14 h 74"/>
                <a:gd name="T62" fmla="*/ 18 w 95"/>
                <a:gd name="T63" fmla="*/ 3 h 74"/>
                <a:gd name="T64" fmla="*/ 21 w 95"/>
                <a:gd name="T65" fmla="*/ 0 h 74"/>
                <a:gd name="T66" fmla="*/ 26 w 95"/>
                <a:gd name="T67" fmla="*/ 1 h 74"/>
                <a:gd name="T68" fmla="*/ 40 w 95"/>
                <a:gd name="T69" fmla="*/ 13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5" h="74">
                  <a:moveTo>
                    <a:pt x="40" y="13"/>
                  </a:moveTo>
                  <a:lnTo>
                    <a:pt x="48" y="15"/>
                  </a:lnTo>
                  <a:lnTo>
                    <a:pt x="50" y="9"/>
                  </a:lnTo>
                  <a:lnTo>
                    <a:pt x="58" y="1"/>
                  </a:lnTo>
                  <a:lnTo>
                    <a:pt x="69" y="12"/>
                  </a:lnTo>
                  <a:lnTo>
                    <a:pt x="81" y="27"/>
                  </a:lnTo>
                  <a:lnTo>
                    <a:pt x="89" y="28"/>
                  </a:lnTo>
                  <a:lnTo>
                    <a:pt x="95" y="33"/>
                  </a:lnTo>
                  <a:lnTo>
                    <a:pt x="82" y="35"/>
                  </a:lnTo>
                  <a:lnTo>
                    <a:pt x="82" y="51"/>
                  </a:lnTo>
                  <a:lnTo>
                    <a:pt x="80" y="58"/>
                  </a:lnTo>
                  <a:lnTo>
                    <a:pt x="75" y="63"/>
                  </a:lnTo>
                  <a:lnTo>
                    <a:pt x="77" y="73"/>
                  </a:lnTo>
                  <a:lnTo>
                    <a:pt x="73" y="74"/>
                  </a:lnTo>
                  <a:lnTo>
                    <a:pt x="61" y="63"/>
                  </a:lnTo>
                  <a:lnTo>
                    <a:pt x="65" y="53"/>
                  </a:lnTo>
                  <a:lnTo>
                    <a:pt x="59" y="47"/>
                  </a:lnTo>
                  <a:lnTo>
                    <a:pt x="52" y="49"/>
                  </a:lnTo>
                  <a:lnTo>
                    <a:pt x="35" y="64"/>
                  </a:lnTo>
                  <a:lnTo>
                    <a:pt x="32" y="49"/>
                  </a:lnTo>
                  <a:lnTo>
                    <a:pt x="24" y="46"/>
                  </a:lnTo>
                  <a:lnTo>
                    <a:pt x="16" y="40"/>
                  </a:lnTo>
                  <a:lnTo>
                    <a:pt x="19" y="34"/>
                  </a:lnTo>
                  <a:lnTo>
                    <a:pt x="9" y="27"/>
                  </a:lnTo>
                  <a:lnTo>
                    <a:pt x="11" y="22"/>
                  </a:lnTo>
                  <a:lnTo>
                    <a:pt x="4" y="18"/>
                  </a:lnTo>
                  <a:lnTo>
                    <a:pt x="0" y="13"/>
                  </a:lnTo>
                  <a:lnTo>
                    <a:pt x="3" y="9"/>
                  </a:lnTo>
                  <a:lnTo>
                    <a:pt x="17" y="15"/>
                  </a:lnTo>
                  <a:lnTo>
                    <a:pt x="26" y="17"/>
                  </a:lnTo>
                  <a:lnTo>
                    <a:pt x="28" y="14"/>
                  </a:lnTo>
                  <a:lnTo>
                    <a:pt x="18" y="3"/>
                  </a:lnTo>
                  <a:lnTo>
                    <a:pt x="21" y="0"/>
                  </a:lnTo>
                  <a:lnTo>
                    <a:pt x="26" y="1"/>
                  </a:lnTo>
                  <a:lnTo>
                    <a:pt x="40" y="13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60" name="Freeform 17">
              <a:extLst>
                <a:ext uri="{FF2B5EF4-FFF2-40B4-BE49-F238E27FC236}">
                  <a16:creationId xmlns:a16="http://schemas.microsoft.com/office/drawing/2014/main" id="{9290E29A-0D3E-47FE-8195-75F7D9F77A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6038" y="2939127"/>
              <a:ext cx="40377" cy="58611"/>
            </a:xfrm>
            <a:custGeom>
              <a:avLst/>
              <a:gdLst>
                <a:gd name="T0" fmla="*/ 5 w 31"/>
                <a:gd name="T1" fmla="*/ 45 h 45"/>
                <a:gd name="T2" fmla="*/ 4 w 31"/>
                <a:gd name="T3" fmla="*/ 20 h 45"/>
                <a:gd name="T4" fmla="*/ 0 w 31"/>
                <a:gd name="T5" fmla="*/ 10 h 45"/>
                <a:gd name="T6" fmla="*/ 11 w 31"/>
                <a:gd name="T7" fmla="*/ 12 h 45"/>
                <a:gd name="T8" fmla="*/ 16 w 31"/>
                <a:gd name="T9" fmla="*/ 0 h 45"/>
                <a:gd name="T10" fmla="*/ 26 w 31"/>
                <a:gd name="T11" fmla="*/ 2 h 45"/>
                <a:gd name="T12" fmla="*/ 27 w 31"/>
                <a:gd name="T13" fmla="*/ 10 h 45"/>
                <a:gd name="T14" fmla="*/ 31 w 31"/>
                <a:gd name="T15" fmla="*/ 14 h 45"/>
                <a:gd name="T16" fmla="*/ 31 w 31"/>
                <a:gd name="T17" fmla="*/ 21 h 45"/>
                <a:gd name="T18" fmla="*/ 27 w 31"/>
                <a:gd name="T19" fmla="*/ 25 h 45"/>
                <a:gd name="T20" fmla="*/ 19 w 31"/>
                <a:gd name="T21" fmla="*/ 36 h 45"/>
                <a:gd name="T22" fmla="*/ 12 w 31"/>
                <a:gd name="T23" fmla="*/ 44 h 45"/>
                <a:gd name="T24" fmla="*/ 5 w 31"/>
                <a:gd name="T25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" h="45">
                  <a:moveTo>
                    <a:pt x="5" y="45"/>
                  </a:moveTo>
                  <a:lnTo>
                    <a:pt x="4" y="20"/>
                  </a:lnTo>
                  <a:lnTo>
                    <a:pt x="0" y="10"/>
                  </a:lnTo>
                  <a:lnTo>
                    <a:pt x="11" y="12"/>
                  </a:lnTo>
                  <a:lnTo>
                    <a:pt x="16" y="0"/>
                  </a:lnTo>
                  <a:lnTo>
                    <a:pt x="26" y="2"/>
                  </a:lnTo>
                  <a:lnTo>
                    <a:pt x="27" y="10"/>
                  </a:lnTo>
                  <a:lnTo>
                    <a:pt x="31" y="14"/>
                  </a:lnTo>
                  <a:lnTo>
                    <a:pt x="31" y="21"/>
                  </a:lnTo>
                  <a:lnTo>
                    <a:pt x="27" y="25"/>
                  </a:lnTo>
                  <a:lnTo>
                    <a:pt x="19" y="36"/>
                  </a:lnTo>
                  <a:lnTo>
                    <a:pt x="12" y="44"/>
                  </a:lnTo>
                  <a:lnTo>
                    <a:pt x="5" y="4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61" name="Freeform 18">
              <a:extLst>
                <a:ext uri="{FF2B5EF4-FFF2-40B4-BE49-F238E27FC236}">
                  <a16:creationId xmlns:a16="http://schemas.microsoft.com/office/drawing/2014/main" id="{8B8AA93E-CC13-4F61-B07B-443B65E446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2623" y="1489489"/>
              <a:ext cx="75543" cy="52098"/>
            </a:xfrm>
            <a:custGeom>
              <a:avLst/>
              <a:gdLst>
                <a:gd name="T0" fmla="*/ 13 w 58"/>
                <a:gd name="T1" fmla="*/ 3 h 40"/>
                <a:gd name="T2" fmla="*/ 24 w 58"/>
                <a:gd name="T3" fmla="*/ 4 h 40"/>
                <a:gd name="T4" fmla="*/ 39 w 58"/>
                <a:gd name="T5" fmla="*/ 0 h 40"/>
                <a:gd name="T6" fmla="*/ 49 w 58"/>
                <a:gd name="T7" fmla="*/ 9 h 40"/>
                <a:gd name="T8" fmla="*/ 58 w 58"/>
                <a:gd name="T9" fmla="*/ 14 h 40"/>
                <a:gd name="T10" fmla="*/ 57 w 58"/>
                <a:gd name="T11" fmla="*/ 27 h 40"/>
                <a:gd name="T12" fmla="*/ 53 w 58"/>
                <a:gd name="T13" fmla="*/ 28 h 40"/>
                <a:gd name="T14" fmla="*/ 51 w 58"/>
                <a:gd name="T15" fmla="*/ 40 h 40"/>
                <a:gd name="T16" fmla="*/ 37 w 58"/>
                <a:gd name="T17" fmla="*/ 30 h 40"/>
                <a:gd name="T18" fmla="*/ 29 w 58"/>
                <a:gd name="T19" fmla="*/ 32 h 40"/>
                <a:gd name="T20" fmla="*/ 17 w 58"/>
                <a:gd name="T21" fmla="*/ 22 h 40"/>
                <a:gd name="T22" fmla="*/ 10 w 58"/>
                <a:gd name="T23" fmla="*/ 14 h 40"/>
                <a:gd name="T24" fmla="*/ 3 w 58"/>
                <a:gd name="T25" fmla="*/ 14 h 40"/>
                <a:gd name="T26" fmla="*/ 0 w 58"/>
                <a:gd name="T27" fmla="*/ 7 h 40"/>
                <a:gd name="T28" fmla="*/ 13 w 58"/>
                <a:gd name="T29" fmla="*/ 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8" h="40">
                  <a:moveTo>
                    <a:pt x="13" y="3"/>
                  </a:moveTo>
                  <a:lnTo>
                    <a:pt x="24" y="4"/>
                  </a:lnTo>
                  <a:lnTo>
                    <a:pt x="39" y="0"/>
                  </a:lnTo>
                  <a:lnTo>
                    <a:pt x="49" y="9"/>
                  </a:lnTo>
                  <a:lnTo>
                    <a:pt x="58" y="14"/>
                  </a:lnTo>
                  <a:lnTo>
                    <a:pt x="57" y="27"/>
                  </a:lnTo>
                  <a:lnTo>
                    <a:pt x="53" y="28"/>
                  </a:lnTo>
                  <a:lnTo>
                    <a:pt x="51" y="40"/>
                  </a:lnTo>
                  <a:lnTo>
                    <a:pt x="37" y="30"/>
                  </a:lnTo>
                  <a:lnTo>
                    <a:pt x="29" y="32"/>
                  </a:lnTo>
                  <a:lnTo>
                    <a:pt x="17" y="22"/>
                  </a:lnTo>
                  <a:lnTo>
                    <a:pt x="10" y="14"/>
                  </a:lnTo>
                  <a:lnTo>
                    <a:pt x="3" y="14"/>
                  </a:lnTo>
                  <a:lnTo>
                    <a:pt x="0" y="7"/>
                  </a:lnTo>
                  <a:lnTo>
                    <a:pt x="13" y="3"/>
                  </a:lnTo>
                  <a:close/>
                </a:path>
              </a:pathLst>
            </a:custGeom>
            <a:solidFill>
              <a:srgbClr val="FFD606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62" name="Freeform 19">
              <a:extLst>
                <a:ext uri="{FF2B5EF4-FFF2-40B4-BE49-F238E27FC236}">
                  <a16:creationId xmlns:a16="http://schemas.microsoft.com/office/drawing/2014/main" id="{575DB1F9-2B37-4DB5-B948-17BFD9F2538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8759" y="2544481"/>
              <a:ext cx="72938" cy="165413"/>
            </a:xfrm>
            <a:custGeom>
              <a:avLst/>
              <a:gdLst>
                <a:gd name="T0" fmla="*/ 36 w 56"/>
                <a:gd name="T1" fmla="*/ 124 h 127"/>
                <a:gd name="T2" fmla="*/ 20 w 56"/>
                <a:gd name="T3" fmla="*/ 127 h 127"/>
                <a:gd name="T4" fmla="*/ 16 w 56"/>
                <a:gd name="T5" fmla="*/ 113 h 127"/>
                <a:gd name="T6" fmla="*/ 17 w 56"/>
                <a:gd name="T7" fmla="*/ 65 h 127"/>
                <a:gd name="T8" fmla="*/ 13 w 56"/>
                <a:gd name="T9" fmla="*/ 61 h 127"/>
                <a:gd name="T10" fmla="*/ 12 w 56"/>
                <a:gd name="T11" fmla="*/ 50 h 127"/>
                <a:gd name="T12" fmla="*/ 6 w 56"/>
                <a:gd name="T13" fmla="*/ 43 h 127"/>
                <a:gd name="T14" fmla="*/ 0 w 56"/>
                <a:gd name="T15" fmla="*/ 37 h 127"/>
                <a:gd name="T16" fmla="*/ 3 w 56"/>
                <a:gd name="T17" fmla="*/ 26 h 127"/>
                <a:gd name="T18" fmla="*/ 9 w 56"/>
                <a:gd name="T19" fmla="*/ 23 h 127"/>
                <a:gd name="T20" fmla="*/ 13 w 56"/>
                <a:gd name="T21" fmla="*/ 14 h 127"/>
                <a:gd name="T22" fmla="*/ 22 w 56"/>
                <a:gd name="T23" fmla="*/ 13 h 127"/>
                <a:gd name="T24" fmla="*/ 26 w 56"/>
                <a:gd name="T25" fmla="*/ 6 h 127"/>
                <a:gd name="T26" fmla="*/ 32 w 56"/>
                <a:gd name="T27" fmla="*/ 0 h 127"/>
                <a:gd name="T28" fmla="*/ 38 w 56"/>
                <a:gd name="T29" fmla="*/ 0 h 127"/>
                <a:gd name="T30" fmla="*/ 52 w 56"/>
                <a:gd name="T31" fmla="*/ 12 h 127"/>
                <a:gd name="T32" fmla="*/ 52 w 56"/>
                <a:gd name="T33" fmla="*/ 19 h 127"/>
                <a:gd name="T34" fmla="*/ 56 w 56"/>
                <a:gd name="T35" fmla="*/ 31 h 127"/>
                <a:gd name="T36" fmla="*/ 52 w 56"/>
                <a:gd name="T37" fmla="*/ 40 h 127"/>
                <a:gd name="T38" fmla="*/ 54 w 56"/>
                <a:gd name="T39" fmla="*/ 45 h 127"/>
                <a:gd name="T40" fmla="*/ 45 w 56"/>
                <a:gd name="T41" fmla="*/ 58 h 127"/>
                <a:gd name="T42" fmla="*/ 40 w 56"/>
                <a:gd name="T43" fmla="*/ 64 h 127"/>
                <a:gd name="T44" fmla="*/ 36 w 56"/>
                <a:gd name="T45" fmla="*/ 78 h 127"/>
                <a:gd name="T46" fmla="*/ 37 w 56"/>
                <a:gd name="T47" fmla="*/ 91 h 127"/>
                <a:gd name="T48" fmla="*/ 36 w 56"/>
                <a:gd name="T49" fmla="*/ 124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6" h="127">
                  <a:moveTo>
                    <a:pt x="36" y="124"/>
                  </a:moveTo>
                  <a:lnTo>
                    <a:pt x="20" y="127"/>
                  </a:lnTo>
                  <a:lnTo>
                    <a:pt x="16" y="113"/>
                  </a:lnTo>
                  <a:lnTo>
                    <a:pt x="17" y="65"/>
                  </a:lnTo>
                  <a:lnTo>
                    <a:pt x="13" y="61"/>
                  </a:lnTo>
                  <a:lnTo>
                    <a:pt x="12" y="50"/>
                  </a:lnTo>
                  <a:lnTo>
                    <a:pt x="6" y="43"/>
                  </a:lnTo>
                  <a:lnTo>
                    <a:pt x="0" y="37"/>
                  </a:lnTo>
                  <a:lnTo>
                    <a:pt x="3" y="26"/>
                  </a:lnTo>
                  <a:lnTo>
                    <a:pt x="9" y="23"/>
                  </a:lnTo>
                  <a:lnTo>
                    <a:pt x="13" y="14"/>
                  </a:lnTo>
                  <a:lnTo>
                    <a:pt x="22" y="13"/>
                  </a:lnTo>
                  <a:lnTo>
                    <a:pt x="26" y="6"/>
                  </a:lnTo>
                  <a:lnTo>
                    <a:pt x="32" y="0"/>
                  </a:lnTo>
                  <a:lnTo>
                    <a:pt x="38" y="0"/>
                  </a:lnTo>
                  <a:lnTo>
                    <a:pt x="52" y="12"/>
                  </a:lnTo>
                  <a:lnTo>
                    <a:pt x="52" y="19"/>
                  </a:lnTo>
                  <a:lnTo>
                    <a:pt x="56" y="31"/>
                  </a:lnTo>
                  <a:lnTo>
                    <a:pt x="52" y="40"/>
                  </a:lnTo>
                  <a:lnTo>
                    <a:pt x="54" y="45"/>
                  </a:lnTo>
                  <a:lnTo>
                    <a:pt x="45" y="58"/>
                  </a:lnTo>
                  <a:lnTo>
                    <a:pt x="40" y="64"/>
                  </a:lnTo>
                  <a:lnTo>
                    <a:pt x="36" y="78"/>
                  </a:lnTo>
                  <a:lnTo>
                    <a:pt x="37" y="91"/>
                  </a:lnTo>
                  <a:lnTo>
                    <a:pt x="36" y="12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63" name="Freeform 20">
              <a:extLst>
                <a:ext uri="{FF2B5EF4-FFF2-40B4-BE49-F238E27FC236}">
                  <a16:creationId xmlns:a16="http://schemas.microsoft.com/office/drawing/2014/main" id="{DF51846F-5465-40F7-976E-57D4AC172BB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0278" y="2466334"/>
              <a:ext cx="182344" cy="149783"/>
            </a:xfrm>
            <a:custGeom>
              <a:avLst/>
              <a:gdLst>
                <a:gd name="T0" fmla="*/ 49 w 140"/>
                <a:gd name="T1" fmla="*/ 114 h 115"/>
                <a:gd name="T2" fmla="*/ 36 w 140"/>
                <a:gd name="T3" fmla="*/ 109 h 115"/>
                <a:gd name="T4" fmla="*/ 28 w 140"/>
                <a:gd name="T5" fmla="*/ 110 h 115"/>
                <a:gd name="T6" fmla="*/ 21 w 140"/>
                <a:gd name="T7" fmla="*/ 115 h 115"/>
                <a:gd name="T8" fmla="*/ 13 w 140"/>
                <a:gd name="T9" fmla="*/ 110 h 115"/>
                <a:gd name="T10" fmla="*/ 10 w 140"/>
                <a:gd name="T11" fmla="*/ 103 h 115"/>
                <a:gd name="T12" fmla="*/ 1 w 140"/>
                <a:gd name="T13" fmla="*/ 99 h 115"/>
                <a:gd name="T14" fmla="*/ 0 w 140"/>
                <a:gd name="T15" fmla="*/ 87 h 115"/>
                <a:gd name="T16" fmla="*/ 5 w 140"/>
                <a:gd name="T17" fmla="*/ 78 h 115"/>
                <a:gd name="T18" fmla="*/ 5 w 140"/>
                <a:gd name="T19" fmla="*/ 71 h 115"/>
                <a:gd name="T20" fmla="*/ 19 w 140"/>
                <a:gd name="T21" fmla="*/ 54 h 115"/>
                <a:gd name="T22" fmla="*/ 22 w 140"/>
                <a:gd name="T23" fmla="*/ 40 h 115"/>
                <a:gd name="T24" fmla="*/ 27 w 140"/>
                <a:gd name="T25" fmla="*/ 34 h 115"/>
                <a:gd name="T26" fmla="*/ 36 w 140"/>
                <a:gd name="T27" fmla="*/ 37 h 115"/>
                <a:gd name="T28" fmla="*/ 44 w 140"/>
                <a:gd name="T29" fmla="*/ 33 h 115"/>
                <a:gd name="T30" fmla="*/ 46 w 140"/>
                <a:gd name="T31" fmla="*/ 28 h 115"/>
                <a:gd name="T32" fmla="*/ 61 w 140"/>
                <a:gd name="T33" fmla="*/ 18 h 115"/>
                <a:gd name="T34" fmla="*/ 64 w 140"/>
                <a:gd name="T35" fmla="*/ 12 h 115"/>
                <a:gd name="T36" fmla="*/ 81 w 140"/>
                <a:gd name="T37" fmla="*/ 3 h 115"/>
                <a:gd name="T38" fmla="*/ 91 w 140"/>
                <a:gd name="T39" fmla="*/ 0 h 115"/>
                <a:gd name="T40" fmla="*/ 95 w 140"/>
                <a:gd name="T41" fmla="*/ 4 h 115"/>
                <a:gd name="T42" fmla="*/ 107 w 140"/>
                <a:gd name="T43" fmla="*/ 4 h 115"/>
                <a:gd name="T44" fmla="*/ 106 w 140"/>
                <a:gd name="T45" fmla="*/ 14 h 115"/>
                <a:gd name="T46" fmla="*/ 108 w 140"/>
                <a:gd name="T47" fmla="*/ 24 h 115"/>
                <a:gd name="T48" fmla="*/ 118 w 140"/>
                <a:gd name="T49" fmla="*/ 37 h 115"/>
                <a:gd name="T50" fmla="*/ 119 w 140"/>
                <a:gd name="T51" fmla="*/ 47 h 115"/>
                <a:gd name="T52" fmla="*/ 140 w 140"/>
                <a:gd name="T53" fmla="*/ 52 h 115"/>
                <a:gd name="T54" fmla="*/ 140 w 140"/>
                <a:gd name="T55" fmla="*/ 66 h 115"/>
                <a:gd name="T56" fmla="*/ 136 w 140"/>
                <a:gd name="T57" fmla="*/ 73 h 115"/>
                <a:gd name="T58" fmla="*/ 127 w 140"/>
                <a:gd name="T59" fmla="*/ 74 h 115"/>
                <a:gd name="T60" fmla="*/ 123 w 140"/>
                <a:gd name="T61" fmla="*/ 83 h 115"/>
                <a:gd name="T62" fmla="*/ 117 w 140"/>
                <a:gd name="T63" fmla="*/ 86 h 115"/>
                <a:gd name="T64" fmla="*/ 101 w 140"/>
                <a:gd name="T65" fmla="*/ 85 h 115"/>
                <a:gd name="T66" fmla="*/ 92 w 140"/>
                <a:gd name="T67" fmla="*/ 84 h 115"/>
                <a:gd name="T68" fmla="*/ 86 w 140"/>
                <a:gd name="T69" fmla="*/ 87 h 115"/>
                <a:gd name="T70" fmla="*/ 78 w 140"/>
                <a:gd name="T71" fmla="*/ 86 h 115"/>
                <a:gd name="T72" fmla="*/ 47 w 140"/>
                <a:gd name="T73" fmla="*/ 87 h 115"/>
                <a:gd name="T74" fmla="*/ 46 w 140"/>
                <a:gd name="T75" fmla="*/ 98 h 115"/>
                <a:gd name="T76" fmla="*/ 49 w 140"/>
                <a:gd name="T77" fmla="*/ 114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40" h="115">
                  <a:moveTo>
                    <a:pt x="49" y="114"/>
                  </a:moveTo>
                  <a:lnTo>
                    <a:pt x="36" y="109"/>
                  </a:lnTo>
                  <a:lnTo>
                    <a:pt x="28" y="110"/>
                  </a:lnTo>
                  <a:lnTo>
                    <a:pt x="21" y="115"/>
                  </a:lnTo>
                  <a:lnTo>
                    <a:pt x="13" y="110"/>
                  </a:lnTo>
                  <a:lnTo>
                    <a:pt x="10" y="103"/>
                  </a:lnTo>
                  <a:lnTo>
                    <a:pt x="1" y="99"/>
                  </a:lnTo>
                  <a:lnTo>
                    <a:pt x="0" y="87"/>
                  </a:lnTo>
                  <a:lnTo>
                    <a:pt x="5" y="78"/>
                  </a:lnTo>
                  <a:lnTo>
                    <a:pt x="5" y="71"/>
                  </a:lnTo>
                  <a:lnTo>
                    <a:pt x="19" y="54"/>
                  </a:lnTo>
                  <a:lnTo>
                    <a:pt x="22" y="40"/>
                  </a:lnTo>
                  <a:lnTo>
                    <a:pt x="27" y="34"/>
                  </a:lnTo>
                  <a:lnTo>
                    <a:pt x="36" y="37"/>
                  </a:lnTo>
                  <a:lnTo>
                    <a:pt x="44" y="33"/>
                  </a:lnTo>
                  <a:lnTo>
                    <a:pt x="46" y="28"/>
                  </a:lnTo>
                  <a:lnTo>
                    <a:pt x="61" y="18"/>
                  </a:lnTo>
                  <a:lnTo>
                    <a:pt x="64" y="12"/>
                  </a:lnTo>
                  <a:lnTo>
                    <a:pt x="81" y="3"/>
                  </a:lnTo>
                  <a:lnTo>
                    <a:pt x="91" y="0"/>
                  </a:lnTo>
                  <a:lnTo>
                    <a:pt x="95" y="4"/>
                  </a:lnTo>
                  <a:lnTo>
                    <a:pt x="107" y="4"/>
                  </a:lnTo>
                  <a:lnTo>
                    <a:pt x="106" y="14"/>
                  </a:lnTo>
                  <a:lnTo>
                    <a:pt x="108" y="24"/>
                  </a:lnTo>
                  <a:lnTo>
                    <a:pt x="118" y="37"/>
                  </a:lnTo>
                  <a:lnTo>
                    <a:pt x="119" y="47"/>
                  </a:lnTo>
                  <a:lnTo>
                    <a:pt x="140" y="52"/>
                  </a:lnTo>
                  <a:lnTo>
                    <a:pt x="140" y="66"/>
                  </a:lnTo>
                  <a:lnTo>
                    <a:pt x="136" y="73"/>
                  </a:lnTo>
                  <a:lnTo>
                    <a:pt x="127" y="74"/>
                  </a:lnTo>
                  <a:lnTo>
                    <a:pt x="123" y="83"/>
                  </a:lnTo>
                  <a:lnTo>
                    <a:pt x="117" y="86"/>
                  </a:lnTo>
                  <a:lnTo>
                    <a:pt x="101" y="85"/>
                  </a:lnTo>
                  <a:lnTo>
                    <a:pt x="92" y="84"/>
                  </a:lnTo>
                  <a:lnTo>
                    <a:pt x="86" y="87"/>
                  </a:lnTo>
                  <a:lnTo>
                    <a:pt x="78" y="86"/>
                  </a:lnTo>
                  <a:lnTo>
                    <a:pt x="47" y="87"/>
                  </a:lnTo>
                  <a:lnTo>
                    <a:pt x="46" y="98"/>
                  </a:lnTo>
                  <a:lnTo>
                    <a:pt x="49" y="11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64" name="Freeform 21">
              <a:extLst>
                <a:ext uri="{FF2B5EF4-FFF2-40B4-BE49-F238E27FC236}">
                  <a16:creationId xmlns:a16="http://schemas.microsoft.com/office/drawing/2014/main" id="{60085744-E4CD-4EA8-8AA7-DBE6856D9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7991" y="2160255"/>
              <a:ext cx="126339" cy="156295"/>
            </a:xfrm>
            <a:custGeom>
              <a:avLst/>
              <a:gdLst>
                <a:gd name="T0" fmla="*/ 94 w 97"/>
                <a:gd name="T1" fmla="*/ 92 h 120"/>
                <a:gd name="T2" fmla="*/ 97 w 97"/>
                <a:gd name="T3" fmla="*/ 106 h 120"/>
                <a:gd name="T4" fmla="*/ 90 w 97"/>
                <a:gd name="T5" fmla="*/ 103 h 120"/>
                <a:gd name="T6" fmla="*/ 94 w 97"/>
                <a:gd name="T7" fmla="*/ 120 h 120"/>
                <a:gd name="T8" fmla="*/ 87 w 97"/>
                <a:gd name="T9" fmla="*/ 109 h 120"/>
                <a:gd name="T10" fmla="*/ 84 w 97"/>
                <a:gd name="T11" fmla="*/ 99 h 120"/>
                <a:gd name="T12" fmla="*/ 79 w 97"/>
                <a:gd name="T13" fmla="*/ 89 h 120"/>
                <a:gd name="T14" fmla="*/ 69 w 97"/>
                <a:gd name="T15" fmla="*/ 76 h 120"/>
                <a:gd name="T16" fmla="*/ 53 w 97"/>
                <a:gd name="T17" fmla="*/ 76 h 120"/>
                <a:gd name="T18" fmla="*/ 56 w 97"/>
                <a:gd name="T19" fmla="*/ 84 h 120"/>
                <a:gd name="T20" fmla="*/ 52 w 97"/>
                <a:gd name="T21" fmla="*/ 96 h 120"/>
                <a:gd name="T22" fmla="*/ 44 w 97"/>
                <a:gd name="T23" fmla="*/ 92 h 120"/>
                <a:gd name="T24" fmla="*/ 42 w 97"/>
                <a:gd name="T25" fmla="*/ 95 h 120"/>
                <a:gd name="T26" fmla="*/ 36 w 97"/>
                <a:gd name="T27" fmla="*/ 93 h 120"/>
                <a:gd name="T28" fmla="*/ 29 w 97"/>
                <a:gd name="T29" fmla="*/ 91 h 120"/>
                <a:gd name="T30" fmla="*/ 23 w 97"/>
                <a:gd name="T31" fmla="*/ 74 h 120"/>
                <a:gd name="T32" fmla="*/ 14 w 97"/>
                <a:gd name="T33" fmla="*/ 58 h 120"/>
                <a:gd name="T34" fmla="*/ 15 w 97"/>
                <a:gd name="T35" fmla="*/ 46 h 120"/>
                <a:gd name="T36" fmla="*/ 3 w 97"/>
                <a:gd name="T37" fmla="*/ 40 h 120"/>
                <a:gd name="T38" fmla="*/ 6 w 97"/>
                <a:gd name="T39" fmla="*/ 33 h 120"/>
                <a:gd name="T40" fmla="*/ 16 w 97"/>
                <a:gd name="T41" fmla="*/ 25 h 120"/>
                <a:gd name="T42" fmla="*/ 0 w 97"/>
                <a:gd name="T43" fmla="*/ 14 h 120"/>
                <a:gd name="T44" fmla="*/ 4 w 97"/>
                <a:gd name="T45" fmla="*/ 0 h 120"/>
                <a:gd name="T46" fmla="*/ 20 w 97"/>
                <a:gd name="T47" fmla="*/ 9 h 120"/>
                <a:gd name="T48" fmla="*/ 28 w 97"/>
                <a:gd name="T49" fmla="*/ 10 h 120"/>
                <a:gd name="T50" fmla="*/ 33 w 97"/>
                <a:gd name="T51" fmla="*/ 24 h 120"/>
                <a:gd name="T52" fmla="*/ 50 w 97"/>
                <a:gd name="T53" fmla="*/ 27 h 120"/>
                <a:gd name="T54" fmla="*/ 67 w 97"/>
                <a:gd name="T55" fmla="*/ 27 h 120"/>
                <a:gd name="T56" fmla="*/ 78 w 97"/>
                <a:gd name="T57" fmla="*/ 31 h 120"/>
                <a:gd name="T58" fmla="*/ 73 w 97"/>
                <a:gd name="T59" fmla="*/ 48 h 120"/>
                <a:gd name="T60" fmla="*/ 65 w 97"/>
                <a:gd name="T61" fmla="*/ 49 h 120"/>
                <a:gd name="T62" fmla="*/ 62 w 97"/>
                <a:gd name="T63" fmla="*/ 61 h 120"/>
                <a:gd name="T64" fmla="*/ 74 w 97"/>
                <a:gd name="T65" fmla="*/ 72 h 120"/>
                <a:gd name="T66" fmla="*/ 74 w 97"/>
                <a:gd name="T67" fmla="*/ 59 h 120"/>
                <a:gd name="T68" fmla="*/ 79 w 97"/>
                <a:gd name="T69" fmla="*/ 59 h 120"/>
                <a:gd name="T70" fmla="*/ 94 w 97"/>
                <a:gd name="T71" fmla="*/ 9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7" h="120">
                  <a:moveTo>
                    <a:pt x="94" y="92"/>
                  </a:moveTo>
                  <a:lnTo>
                    <a:pt x="97" y="106"/>
                  </a:lnTo>
                  <a:lnTo>
                    <a:pt x="90" y="103"/>
                  </a:lnTo>
                  <a:lnTo>
                    <a:pt x="94" y="120"/>
                  </a:lnTo>
                  <a:lnTo>
                    <a:pt x="87" y="109"/>
                  </a:lnTo>
                  <a:lnTo>
                    <a:pt x="84" y="99"/>
                  </a:lnTo>
                  <a:lnTo>
                    <a:pt x="79" y="89"/>
                  </a:lnTo>
                  <a:lnTo>
                    <a:pt x="69" y="76"/>
                  </a:lnTo>
                  <a:lnTo>
                    <a:pt x="53" y="76"/>
                  </a:lnTo>
                  <a:lnTo>
                    <a:pt x="56" y="84"/>
                  </a:lnTo>
                  <a:lnTo>
                    <a:pt x="52" y="96"/>
                  </a:lnTo>
                  <a:lnTo>
                    <a:pt x="44" y="92"/>
                  </a:lnTo>
                  <a:lnTo>
                    <a:pt x="42" y="95"/>
                  </a:lnTo>
                  <a:lnTo>
                    <a:pt x="36" y="93"/>
                  </a:lnTo>
                  <a:lnTo>
                    <a:pt x="29" y="91"/>
                  </a:lnTo>
                  <a:lnTo>
                    <a:pt x="23" y="74"/>
                  </a:lnTo>
                  <a:lnTo>
                    <a:pt x="14" y="58"/>
                  </a:lnTo>
                  <a:lnTo>
                    <a:pt x="15" y="46"/>
                  </a:lnTo>
                  <a:lnTo>
                    <a:pt x="3" y="40"/>
                  </a:lnTo>
                  <a:lnTo>
                    <a:pt x="6" y="33"/>
                  </a:lnTo>
                  <a:lnTo>
                    <a:pt x="16" y="25"/>
                  </a:lnTo>
                  <a:lnTo>
                    <a:pt x="0" y="14"/>
                  </a:lnTo>
                  <a:lnTo>
                    <a:pt x="4" y="0"/>
                  </a:lnTo>
                  <a:lnTo>
                    <a:pt x="20" y="9"/>
                  </a:lnTo>
                  <a:lnTo>
                    <a:pt x="28" y="10"/>
                  </a:lnTo>
                  <a:lnTo>
                    <a:pt x="33" y="24"/>
                  </a:lnTo>
                  <a:lnTo>
                    <a:pt x="50" y="27"/>
                  </a:lnTo>
                  <a:lnTo>
                    <a:pt x="67" y="27"/>
                  </a:lnTo>
                  <a:lnTo>
                    <a:pt x="78" y="31"/>
                  </a:lnTo>
                  <a:lnTo>
                    <a:pt x="73" y="48"/>
                  </a:lnTo>
                  <a:lnTo>
                    <a:pt x="65" y="49"/>
                  </a:lnTo>
                  <a:lnTo>
                    <a:pt x="62" y="61"/>
                  </a:lnTo>
                  <a:lnTo>
                    <a:pt x="74" y="72"/>
                  </a:lnTo>
                  <a:lnTo>
                    <a:pt x="74" y="59"/>
                  </a:lnTo>
                  <a:lnTo>
                    <a:pt x="79" y="59"/>
                  </a:lnTo>
                  <a:lnTo>
                    <a:pt x="94" y="9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65" name="Freeform 22">
              <a:extLst>
                <a:ext uri="{FF2B5EF4-FFF2-40B4-BE49-F238E27FC236}">
                  <a16:creationId xmlns:a16="http://schemas.microsoft.com/office/drawing/2014/main" id="{BB372352-9776-402C-96A4-E8D41D98BA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5039" y="1680950"/>
              <a:ext cx="132851" cy="80753"/>
            </a:xfrm>
            <a:custGeom>
              <a:avLst/>
              <a:gdLst>
                <a:gd name="T0" fmla="*/ 3 w 102"/>
                <a:gd name="T1" fmla="*/ 0 h 62"/>
                <a:gd name="T2" fmla="*/ 9 w 102"/>
                <a:gd name="T3" fmla="*/ 9 h 62"/>
                <a:gd name="T4" fmla="*/ 15 w 102"/>
                <a:gd name="T5" fmla="*/ 7 h 62"/>
                <a:gd name="T6" fmla="*/ 28 w 102"/>
                <a:gd name="T7" fmla="*/ 10 h 62"/>
                <a:gd name="T8" fmla="*/ 53 w 102"/>
                <a:gd name="T9" fmla="*/ 12 h 62"/>
                <a:gd name="T10" fmla="*/ 60 w 102"/>
                <a:gd name="T11" fmla="*/ 6 h 62"/>
                <a:gd name="T12" fmla="*/ 80 w 102"/>
                <a:gd name="T13" fmla="*/ 2 h 62"/>
                <a:gd name="T14" fmla="*/ 92 w 102"/>
                <a:gd name="T15" fmla="*/ 9 h 62"/>
                <a:gd name="T16" fmla="*/ 102 w 102"/>
                <a:gd name="T17" fmla="*/ 11 h 62"/>
                <a:gd name="T18" fmla="*/ 95 w 102"/>
                <a:gd name="T19" fmla="*/ 20 h 62"/>
                <a:gd name="T20" fmla="*/ 91 w 102"/>
                <a:gd name="T21" fmla="*/ 34 h 62"/>
                <a:gd name="T22" fmla="*/ 98 w 102"/>
                <a:gd name="T23" fmla="*/ 46 h 62"/>
                <a:gd name="T24" fmla="*/ 83 w 102"/>
                <a:gd name="T25" fmla="*/ 43 h 62"/>
                <a:gd name="T26" fmla="*/ 66 w 102"/>
                <a:gd name="T27" fmla="*/ 50 h 62"/>
                <a:gd name="T28" fmla="*/ 67 w 102"/>
                <a:gd name="T29" fmla="*/ 60 h 62"/>
                <a:gd name="T30" fmla="*/ 52 w 102"/>
                <a:gd name="T31" fmla="*/ 62 h 62"/>
                <a:gd name="T32" fmla="*/ 40 w 102"/>
                <a:gd name="T33" fmla="*/ 55 h 62"/>
                <a:gd name="T34" fmla="*/ 27 w 102"/>
                <a:gd name="T35" fmla="*/ 60 h 62"/>
                <a:gd name="T36" fmla="*/ 14 w 102"/>
                <a:gd name="T37" fmla="*/ 60 h 62"/>
                <a:gd name="T38" fmla="*/ 12 w 102"/>
                <a:gd name="T39" fmla="*/ 46 h 62"/>
                <a:gd name="T40" fmla="*/ 3 w 102"/>
                <a:gd name="T41" fmla="*/ 40 h 62"/>
                <a:gd name="T42" fmla="*/ 5 w 102"/>
                <a:gd name="T43" fmla="*/ 37 h 62"/>
                <a:gd name="T44" fmla="*/ 3 w 102"/>
                <a:gd name="T45" fmla="*/ 34 h 62"/>
                <a:gd name="T46" fmla="*/ 5 w 102"/>
                <a:gd name="T47" fmla="*/ 28 h 62"/>
                <a:gd name="T48" fmla="*/ 11 w 102"/>
                <a:gd name="T49" fmla="*/ 21 h 62"/>
                <a:gd name="T50" fmla="*/ 2 w 102"/>
                <a:gd name="T51" fmla="*/ 13 h 62"/>
                <a:gd name="T52" fmla="*/ 0 w 102"/>
                <a:gd name="T53" fmla="*/ 5 h 62"/>
                <a:gd name="T54" fmla="*/ 3 w 102"/>
                <a:gd name="T55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2" h="62">
                  <a:moveTo>
                    <a:pt x="3" y="0"/>
                  </a:moveTo>
                  <a:lnTo>
                    <a:pt x="9" y="9"/>
                  </a:lnTo>
                  <a:lnTo>
                    <a:pt x="15" y="7"/>
                  </a:lnTo>
                  <a:lnTo>
                    <a:pt x="28" y="10"/>
                  </a:lnTo>
                  <a:lnTo>
                    <a:pt x="53" y="12"/>
                  </a:lnTo>
                  <a:lnTo>
                    <a:pt x="60" y="6"/>
                  </a:lnTo>
                  <a:lnTo>
                    <a:pt x="80" y="2"/>
                  </a:lnTo>
                  <a:lnTo>
                    <a:pt x="92" y="9"/>
                  </a:lnTo>
                  <a:lnTo>
                    <a:pt x="102" y="11"/>
                  </a:lnTo>
                  <a:lnTo>
                    <a:pt x="95" y="20"/>
                  </a:lnTo>
                  <a:lnTo>
                    <a:pt x="91" y="34"/>
                  </a:lnTo>
                  <a:lnTo>
                    <a:pt x="98" y="46"/>
                  </a:lnTo>
                  <a:lnTo>
                    <a:pt x="83" y="43"/>
                  </a:lnTo>
                  <a:lnTo>
                    <a:pt x="66" y="50"/>
                  </a:lnTo>
                  <a:lnTo>
                    <a:pt x="67" y="60"/>
                  </a:lnTo>
                  <a:lnTo>
                    <a:pt x="52" y="62"/>
                  </a:lnTo>
                  <a:lnTo>
                    <a:pt x="40" y="55"/>
                  </a:lnTo>
                  <a:lnTo>
                    <a:pt x="27" y="60"/>
                  </a:lnTo>
                  <a:lnTo>
                    <a:pt x="14" y="60"/>
                  </a:lnTo>
                  <a:lnTo>
                    <a:pt x="12" y="46"/>
                  </a:lnTo>
                  <a:lnTo>
                    <a:pt x="3" y="40"/>
                  </a:lnTo>
                  <a:lnTo>
                    <a:pt x="5" y="37"/>
                  </a:lnTo>
                  <a:lnTo>
                    <a:pt x="3" y="34"/>
                  </a:lnTo>
                  <a:lnTo>
                    <a:pt x="5" y="28"/>
                  </a:lnTo>
                  <a:lnTo>
                    <a:pt x="11" y="21"/>
                  </a:lnTo>
                  <a:lnTo>
                    <a:pt x="2" y="13"/>
                  </a:lnTo>
                  <a:lnTo>
                    <a:pt x="0" y="5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66" name="Freeform 23">
              <a:extLst>
                <a:ext uri="{FF2B5EF4-FFF2-40B4-BE49-F238E27FC236}">
                  <a16:creationId xmlns:a16="http://schemas.microsoft.com/office/drawing/2014/main" id="{E92C320E-C4BE-4027-A0AD-C73B02DE9F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5778" y="2194119"/>
              <a:ext cx="19537" cy="40377"/>
            </a:xfrm>
            <a:custGeom>
              <a:avLst/>
              <a:gdLst>
                <a:gd name="T0" fmla="*/ 13 w 15"/>
                <a:gd name="T1" fmla="*/ 30 h 31"/>
                <a:gd name="T2" fmla="*/ 8 w 15"/>
                <a:gd name="T3" fmla="*/ 31 h 31"/>
                <a:gd name="T4" fmla="*/ 5 w 15"/>
                <a:gd name="T5" fmla="*/ 19 h 31"/>
                <a:gd name="T6" fmla="*/ 0 w 15"/>
                <a:gd name="T7" fmla="*/ 13 h 31"/>
                <a:gd name="T8" fmla="*/ 6 w 15"/>
                <a:gd name="T9" fmla="*/ 0 h 31"/>
                <a:gd name="T10" fmla="*/ 11 w 15"/>
                <a:gd name="T11" fmla="*/ 0 h 31"/>
                <a:gd name="T12" fmla="*/ 15 w 15"/>
                <a:gd name="T13" fmla="*/ 18 h 31"/>
                <a:gd name="T14" fmla="*/ 13 w 15"/>
                <a:gd name="T15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31">
                  <a:moveTo>
                    <a:pt x="13" y="30"/>
                  </a:moveTo>
                  <a:lnTo>
                    <a:pt x="8" y="31"/>
                  </a:lnTo>
                  <a:lnTo>
                    <a:pt x="5" y="19"/>
                  </a:lnTo>
                  <a:lnTo>
                    <a:pt x="0" y="13"/>
                  </a:lnTo>
                  <a:lnTo>
                    <a:pt x="6" y="0"/>
                  </a:lnTo>
                  <a:lnTo>
                    <a:pt x="11" y="0"/>
                  </a:lnTo>
                  <a:lnTo>
                    <a:pt x="15" y="18"/>
                  </a:lnTo>
                  <a:lnTo>
                    <a:pt x="13" y="3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67" name="Freeform 24">
              <a:extLst>
                <a:ext uri="{FF2B5EF4-FFF2-40B4-BE49-F238E27FC236}">
                  <a16:creationId xmlns:a16="http://schemas.microsoft.com/office/drawing/2014/main" id="{1609CFD0-BD8B-4118-9FE9-68A1BD910B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1871" y="2148533"/>
              <a:ext cx="27352" cy="13025"/>
            </a:xfrm>
            <a:custGeom>
              <a:avLst/>
              <a:gdLst>
                <a:gd name="T0" fmla="*/ 20 w 21"/>
                <a:gd name="T1" fmla="*/ 6 h 10"/>
                <a:gd name="T2" fmla="*/ 0 w 21"/>
                <a:gd name="T3" fmla="*/ 10 h 10"/>
                <a:gd name="T4" fmla="*/ 0 w 21"/>
                <a:gd name="T5" fmla="*/ 2 h 10"/>
                <a:gd name="T6" fmla="*/ 9 w 21"/>
                <a:gd name="T7" fmla="*/ 0 h 10"/>
                <a:gd name="T8" fmla="*/ 21 w 21"/>
                <a:gd name="T9" fmla="*/ 1 h 10"/>
                <a:gd name="T10" fmla="*/ 20 w 21"/>
                <a:gd name="T11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10">
                  <a:moveTo>
                    <a:pt x="20" y="6"/>
                  </a:moveTo>
                  <a:lnTo>
                    <a:pt x="0" y="10"/>
                  </a:lnTo>
                  <a:lnTo>
                    <a:pt x="0" y="2"/>
                  </a:lnTo>
                  <a:lnTo>
                    <a:pt x="9" y="0"/>
                  </a:lnTo>
                  <a:lnTo>
                    <a:pt x="21" y="1"/>
                  </a:lnTo>
                  <a:lnTo>
                    <a:pt x="20" y="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68" name="Freeform 25">
              <a:extLst>
                <a:ext uri="{FF2B5EF4-FFF2-40B4-BE49-F238E27FC236}">
                  <a16:creationId xmlns:a16="http://schemas.microsoft.com/office/drawing/2014/main" id="{E00A62CB-1A55-4349-8ED8-27582426D44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0525" y="2144626"/>
              <a:ext cx="16932" cy="31259"/>
            </a:xfrm>
            <a:custGeom>
              <a:avLst/>
              <a:gdLst>
                <a:gd name="T0" fmla="*/ 13 w 13"/>
                <a:gd name="T1" fmla="*/ 9 h 24"/>
                <a:gd name="T2" fmla="*/ 7 w 13"/>
                <a:gd name="T3" fmla="*/ 24 h 24"/>
                <a:gd name="T4" fmla="*/ 5 w 13"/>
                <a:gd name="T5" fmla="*/ 21 h 24"/>
                <a:gd name="T6" fmla="*/ 7 w 13"/>
                <a:gd name="T7" fmla="*/ 10 h 24"/>
                <a:gd name="T8" fmla="*/ 0 w 13"/>
                <a:gd name="T9" fmla="*/ 2 h 24"/>
                <a:gd name="T10" fmla="*/ 1 w 13"/>
                <a:gd name="T11" fmla="*/ 0 h 24"/>
                <a:gd name="T12" fmla="*/ 13 w 13"/>
                <a:gd name="T13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24">
                  <a:moveTo>
                    <a:pt x="13" y="9"/>
                  </a:moveTo>
                  <a:lnTo>
                    <a:pt x="7" y="24"/>
                  </a:lnTo>
                  <a:lnTo>
                    <a:pt x="5" y="21"/>
                  </a:lnTo>
                  <a:lnTo>
                    <a:pt x="7" y="10"/>
                  </a:lnTo>
                  <a:lnTo>
                    <a:pt x="0" y="2"/>
                  </a:lnTo>
                  <a:lnTo>
                    <a:pt x="1" y="0"/>
                  </a:lnTo>
                  <a:lnTo>
                    <a:pt x="13" y="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69" name="Freeform 26">
              <a:extLst>
                <a:ext uri="{FF2B5EF4-FFF2-40B4-BE49-F238E27FC236}">
                  <a16:creationId xmlns:a16="http://schemas.microsoft.com/office/drawing/2014/main" id="{13CB256C-E717-4DA1-A9D8-DD7D5AD36C3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9164" y="1654901"/>
              <a:ext cx="84660" cy="69031"/>
            </a:xfrm>
            <a:custGeom>
              <a:avLst/>
              <a:gdLst>
                <a:gd name="T0" fmla="*/ 54 w 65"/>
                <a:gd name="T1" fmla="*/ 7 h 53"/>
                <a:gd name="T2" fmla="*/ 60 w 65"/>
                <a:gd name="T3" fmla="*/ 7 h 53"/>
                <a:gd name="T4" fmla="*/ 56 w 65"/>
                <a:gd name="T5" fmla="*/ 16 h 53"/>
                <a:gd name="T6" fmla="*/ 65 w 65"/>
                <a:gd name="T7" fmla="*/ 24 h 53"/>
                <a:gd name="T8" fmla="*/ 64 w 65"/>
                <a:gd name="T9" fmla="*/ 34 h 53"/>
                <a:gd name="T10" fmla="*/ 60 w 65"/>
                <a:gd name="T11" fmla="*/ 35 h 53"/>
                <a:gd name="T12" fmla="*/ 57 w 65"/>
                <a:gd name="T13" fmla="*/ 37 h 53"/>
                <a:gd name="T14" fmla="*/ 52 w 65"/>
                <a:gd name="T15" fmla="*/ 42 h 53"/>
                <a:gd name="T16" fmla="*/ 50 w 65"/>
                <a:gd name="T17" fmla="*/ 53 h 53"/>
                <a:gd name="T18" fmla="*/ 35 w 65"/>
                <a:gd name="T19" fmla="*/ 45 h 53"/>
                <a:gd name="T20" fmla="*/ 28 w 65"/>
                <a:gd name="T21" fmla="*/ 37 h 53"/>
                <a:gd name="T22" fmla="*/ 21 w 65"/>
                <a:gd name="T23" fmla="*/ 32 h 53"/>
                <a:gd name="T24" fmla="*/ 13 w 65"/>
                <a:gd name="T25" fmla="*/ 24 h 53"/>
                <a:gd name="T26" fmla="*/ 9 w 65"/>
                <a:gd name="T27" fmla="*/ 18 h 53"/>
                <a:gd name="T28" fmla="*/ 0 w 65"/>
                <a:gd name="T29" fmla="*/ 8 h 53"/>
                <a:gd name="T30" fmla="*/ 3 w 65"/>
                <a:gd name="T31" fmla="*/ 0 h 53"/>
                <a:gd name="T32" fmla="*/ 9 w 65"/>
                <a:gd name="T33" fmla="*/ 5 h 53"/>
                <a:gd name="T34" fmla="*/ 13 w 65"/>
                <a:gd name="T35" fmla="*/ 0 h 53"/>
                <a:gd name="T36" fmla="*/ 20 w 65"/>
                <a:gd name="T37" fmla="*/ 0 h 53"/>
                <a:gd name="T38" fmla="*/ 35 w 65"/>
                <a:gd name="T39" fmla="*/ 3 h 53"/>
                <a:gd name="T40" fmla="*/ 46 w 65"/>
                <a:gd name="T41" fmla="*/ 3 h 53"/>
                <a:gd name="T42" fmla="*/ 54 w 65"/>
                <a:gd name="T43" fmla="*/ 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5" h="53">
                  <a:moveTo>
                    <a:pt x="54" y="7"/>
                  </a:moveTo>
                  <a:lnTo>
                    <a:pt x="60" y="7"/>
                  </a:lnTo>
                  <a:lnTo>
                    <a:pt x="56" y="16"/>
                  </a:lnTo>
                  <a:lnTo>
                    <a:pt x="65" y="24"/>
                  </a:lnTo>
                  <a:lnTo>
                    <a:pt x="64" y="34"/>
                  </a:lnTo>
                  <a:lnTo>
                    <a:pt x="60" y="35"/>
                  </a:lnTo>
                  <a:lnTo>
                    <a:pt x="57" y="37"/>
                  </a:lnTo>
                  <a:lnTo>
                    <a:pt x="52" y="42"/>
                  </a:lnTo>
                  <a:lnTo>
                    <a:pt x="50" y="53"/>
                  </a:lnTo>
                  <a:lnTo>
                    <a:pt x="35" y="45"/>
                  </a:lnTo>
                  <a:lnTo>
                    <a:pt x="28" y="37"/>
                  </a:lnTo>
                  <a:lnTo>
                    <a:pt x="21" y="32"/>
                  </a:lnTo>
                  <a:lnTo>
                    <a:pt x="13" y="24"/>
                  </a:lnTo>
                  <a:lnTo>
                    <a:pt x="9" y="18"/>
                  </a:lnTo>
                  <a:lnTo>
                    <a:pt x="0" y="8"/>
                  </a:lnTo>
                  <a:lnTo>
                    <a:pt x="3" y="0"/>
                  </a:lnTo>
                  <a:lnTo>
                    <a:pt x="9" y="5"/>
                  </a:lnTo>
                  <a:lnTo>
                    <a:pt x="13" y="0"/>
                  </a:lnTo>
                  <a:lnTo>
                    <a:pt x="20" y="0"/>
                  </a:lnTo>
                  <a:lnTo>
                    <a:pt x="35" y="3"/>
                  </a:lnTo>
                  <a:lnTo>
                    <a:pt x="46" y="3"/>
                  </a:lnTo>
                  <a:lnTo>
                    <a:pt x="54" y="7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70" name="Freeform 27">
              <a:extLst>
                <a:ext uri="{FF2B5EF4-FFF2-40B4-BE49-F238E27FC236}">
                  <a16:creationId xmlns:a16="http://schemas.microsoft.com/office/drawing/2014/main" id="{F2C6C958-38D6-4519-8F1D-08B068AB85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4620" y="1368360"/>
              <a:ext cx="190159" cy="125036"/>
            </a:xfrm>
            <a:custGeom>
              <a:avLst/>
              <a:gdLst>
                <a:gd name="T0" fmla="*/ 1 w 146"/>
                <a:gd name="T1" fmla="*/ 44 h 96"/>
                <a:gd name="T2" fmla="*/ 15 w 146"/>
                <a:gd name="T3" fmla="*/ 44 h 96"/>
                <a:gd name="T4" fmla="*/ 31 w 146"/>
                <a:gd name="T5" fmla="*/ 37 h 96"/>
                <a:gd name="T6" fmla="*/ 33 w 146"/>
                <a:gd name="T7" fmla="*/ 26 h 96"/>
                <a:gd name="T8" fmla="*/ 45 w 146"/>
                <a:gd name="T9" fmla="*/ 20 h 96"/>
                <a:gd name="T10" fmla="*/ 42 w 146"/>
                <a:gd name="T11" fmla="*/ 11 h 96"/>
                <a:gd name="T12" fmla="*/ 50 w 146"/>
                <a:gd name="T13" fmla="*/ 7 h 96"/>
                <a:gd name="T14" fmla="*/ 65 w 146"/>
                <a:gd name="T15" fmla="*/ 0 h 96"/>
                <a:gd name="T16" fmla="*/ 82 w 146"/>
                <a:gd name="T17" fmla="*/ 5 h 96"/>
                <a:gd name="T18" fmla="*/ 85 w 146"/>
                <a:gd name="T19" fmla="*/ 10 h 96"/>
                <a:gd name="T20" fmla="*/ 93 w 146"/>
                <a:gd name="T21" fmla="*/ 7 h 96"/>
                <a:gd name="T22" fmla="*/ 109 w 146"/>
                <a:gd name="T23" fmla="*/ 12 h 96"/>
                <a:gd name="T24" fmla="*/ 112 w 146"/>
                <a:gd name="T25" fmla="*/ 21 h 96"/>
                <a:gd name="T26" fmla="*/ 110 w 146"/>
                <a:gd name="T27" fmla="*/ 27 h 96"/>
                <a:gd name="T28" fmla="*/ 122 w 146"/>
                <a:gd name="T29" fmla="*/ 40 h 96"/>
                <a:gd name="T30" fmla="*/ 129 w 146"/>
                <a:gd name="T31" fmla="*/ 43 h 96"/>
                <a:gd name="T32" fmla="*/ 129 w 146"/>
                <a:gd name="T33" fmla="*/ 47 h 96"/>
                <a:gd name="T34" fmla="*/ 140 w 146"/>
                <a:gd name="T35" fmla="*/ 50 h 96"/>
                <a:gd name="T36" fmla="*/ 146 w 146"/>
                <a:gd name="T37" fmla="*/ 56 h 96"/>
                <a:gd name="T38" fmla="*/ 140 w 146"/>
                <a:gd name="T39" fmla="*/ 60 h 96"/>
                <a:gd name="T40" fmla="*/ 128 w 146"/>
                <a:gd name="T41" fmla="*/ 59 h 96"/>
                <a:gd name="T42" fmla="*/ 125 w 146"/>
                <a:gd name="T43" fmla="*/ 61 h 96"/>
                <a:gd name="T44" fmla="*/ 130 w 146"/>
                <a:gd name="T45" fmla="*/ 68 h 96"/>
                <a:gd name="T46" fmla="*/ 136 w 146"/>
                <a:gd name="T47" fmla="*/ 81 h 96"/>
                <a:gd name="T48" fmla="*/ 123 w 146"/>
                <a:gd name="T49" fmla="*/ 82 h 96"/>
                <a:gd name="T50" fmla="*/ 119 w 146"/>
                <a:gd name="T51" fmla="*/ 86 h 96"/>
                <a:gd name="T52" fmla="*/ 119 w 146"/>
                <a:gd name="T53" fmla="*/ 96 h 96"/>
                <a:gd name="T54" fmla="*/ 113 w 146"/>
                <a:gd name="T55" fmla="*/ 95 h 96"/>
                <a:gd name="T56" fmla="*/ 99 w 146"/>
                <a:gd name="T57" fmla="*/ 95 h 96"/>
                <a:gd name="T58" fmla="*/ 94 w 146"/>
                <a:gd name="T59" fmla="*/ 91 h 96"/>
                <a:gd name="T60" fmla="*/ 88 w 146"/>
                <a:gd name="T61" fmla="*/ 94 h 96"/>
                <a:gd name="T62" fmla="*/ 82 w 146"/>
                <a:gd name="T63" fmla="*/ 91 h 96"/>
                <a:gd name="T64" fmla="*/ 70 w 146"/>
                <a:gd name="T65" fmla="*/ 91 h 96"/>
                <a:gd name="T66" fmla="*/ 51 w 146"/>
                <a:gd name="T67" fmla="*/ 86 h 96"/>
                <a:gd name="T68" fmla="*/ 35 w 146"/>
                <a:gd name="T69" fmla="*/ 84 h 96"/>
                <a:gd name="T70" fmla="*/ 23 w 146"/>
                <a:gd name="T71" fmla="*/ 85 h 96"/>
                <a:gd name="T72" fmla="*/ 15 w 146"/>
                <a:gd name="T73" fmla="*/ 90 h 96"/>
                <a:gd name="T74" fmla="*/ 8 w 146"/>
                <a:gd name="T75" fmla="*/ 91 h 96"/>
                <a:gd name="T76" fmla="*/ 6 w 146"/>
                <a:gd name="T77" fmla="*/ 82 h 96"/>
                <a:gd name="T78" fmla="*/ 0 w 146"/>
                <a:gd name="T79" fmla="*/ 73 h 96"/>
                <a:gd name="T80" fmla="*/ 9 w 146"/>
                <a:gd name="T81" fmla="*/ 69 h 96"/>
                <a:gd name="T82" fmla="*/ 8 w 146"/>
                <a:gd name="T83" fmla="*/ 61 h 96"/>
                <a:gd name="T84" fmla="*/ 3 w 146"/>
                <a:gd name="T85" fmla="*/ 53 h 96"/>
                <a:gd name="T86" fmla="*/ 1 w 146"/>
                <a:gd name="T87" fmla="*/ 4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46" h="96">
                  <a:moveTo>
                    <a:pt x="1" y="44"/>
                  </a:moveTo>
                  <a:lnTo>
                    <a:pt x="15" y="44"/>
                  </a:lnTo>
                  <a:lnTo>
                    <a:pt x="31" y="37"/>
                  </a:lnTo>
                  <a:lnTo>
                    <a:pt x="33" y="26"/>
                  </a:lnTo>
                  <a:lnTo>
                    <a:pt x="45" y="20"/>
                  </a:lnTo>
                  <a:lnTo>
                    <a:pt x="42" y="11"/>
                  </a:lnTo>
                  <a:lnTo>
                    <a:pt x="50" y="7"/>
                  </a:lnTo>
                  <a:lnTo>
                    <a:pt x="65" y="0"/>
                  </a:lnTo>
                  <a:lnTo>
                    <a:pt x="82" y="5"/>
                  </a:lnTo>
                  <a:lnTo>
                    <a:pt x="85" y="10"/>
                  </a:lnTo>
                  <a:lnTo>
                    <a:pt x="93" y="7"/>
                  </a:lnTo>
                  <a:lnTo>
                    <a:pt x="109" y="12"/>
                  </a:lnTo>
                  <a:lnTo>
                    <a:pt x="112" y="21"/>
                  </a:lnTo>
                  <a:lnTo>
                    <a:pt x="110" y="27"/>
                  </a:lnTo>
                  <a:lnTo>
                    <a:pt x="122" y="40"/>
                  </a:lnTo>
                  <a:lnTo>
                    <a:pt x="129" y="43"/>
                  </a:lnTo>
                  <a:lnTo>
                    <a:pt x="129" y="47"/>
                  </a:lnTo>
                  <a:lnTo>
                    <a:pt x="140" y="50"/>
                  </a:lnTo>
                  <a:lnTo>
                    <a:pt x="146" y="56"/>
                  </a:lnTo>
                  <a:lnTo>
                    <a:pt x="140" y="60"/>
                  </a:lnTo>
                  <a:lnTo>
                    <a:pt x="128" y="59"/>
                  </a:lnTo>
                  <a:lnTo>
                    <a:pt x="125" y="61"/>
                  </a:lnTo>
                  <a:lnTo>
                    <a:pt x="130" y="68"/>
                  </a:lnTo>
                  <a:lnTo>
                    <a:pt x="136" y="81"/>
                  </a:lnTo>
                  <a:lnTo>
                    <a:pt x="123" y="82"/>
                  </a:lnTo>
                  <a:lnTo>
                    <a:pt x="119" y="86"/>
                  </a:lnTo>
                  <a:lnTo>
                    <a:pt x="119" y="96"/>
                  </a:lnTo>
                  <a:lnTo>
                    <a:pt x="113" y="95"/>
                  </a:lnTo>
                  <a:lnTo>
                    <a:pt x="99" y="95"/>
                  </a:lnTo>
                  <a:lnTo>
                    <a:pt x="94" y="91"/>
                  </a:lnTo>
                  <a:lnTo>
                    <a:pt x="88" y="94"/>
                  </a:lnTo>
                  <a:lnTo>
                    <a:pt x="82" y="91"/>
                  </a:lnTo>
                  <a:lnTo>
                    <a:pt x="70" y="91"/>
                  </a:lnTo>
                  <a:lnTo>
                    <a:pt x="51" y="86"/>
                  </a:lnTo>
                  <a:lnTo>
                    <a:pt x="35" y="84"/>
                  </a:lnTo>
                  <a:lnTo>
                    <a:pt x="23" y="85"/>
                  </a:lnTo>
                  <a:lnTo>
                    <a:pt x="15" y="90"/>
                  </a:lnTo>
                  <a:lnTo>
                    <a:pt x="8" y="91"/>
                  </a:lnTo>
                  <a:lnTo>
                    <a:pt x="6" y="82"/>
                  </a:lnTo>
                  <a:lnTo>
                    <a:pt x="0" y="73"/>
                  </a:lnTo>
                  <a:lnTo>
                    <a:pt x="9" y="69"/>
                  </a:lnTo>
                  <a:lnTo>
                    <a:pt x="8" y="61"/>
                  </a:lnTo>
                  <a:lnTo>
                    <a:pt x="3" y="53"/>
                  </a:lnTo>
                  <a:lnTo>
                    <a:pt x="1" y="44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71" name="Freeform 28">
              <a:extLst>
                <a:ext uri="{FF2B5EF4-FFF2-40B4-BE49-F238E27FC236}">
                  <a16:creationId xmlns:a16="http://schemas.microsoft.com/office/drawing/2014/main" id="{577605B7-17A7-42C8-A73E-7EB2213309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9237" y="2375161"/>
              <a:ext cx="33864" cy="70333"/>
            </a:xfrm>
            <a:custGeom>
              <a:avLst/>
              <a:gdLst>
                <a:gd name="T0" fmla="*/ 6 w 26"/>
                <a:gd name="T1" fmla="*/ 14 h 54"/>
                <a:gd name="T2" fmla="*/ 6 w 26"/>
                <a:gd name="T3" fmla="*/ 11 h 54"/>
                <a:gd name="T4" fmla="*/ 9 w 26"/>
                <a:gd name="T5" fmla="*/ 11 h 54"/>
                <a:gd name="T6" fmla="*/ 12 w 26"/>
                <a:gd name="T7" fmla="*/ 13 h 54"/>
                <a:gd name="T8" fmla="*/ 20 w 26"/>
                <a:gd name="T9" fmla="*/ 0 h 54"/>
                <a:gd name="T10" fmla="*/ 23 w 26"/>
                <a:gd name="T11" fmla="*/ 0 h 54"/>
                <a:gd name="T12" fmla="*/ 23 w 26"/>
                <a:gd name="T13" fmla="*/ 3 h 54"/>
                <a:gd name="T14" fmla="*/ 26 w 26"/>
                <a:gd name="T15" fmla="*/ 3 h 54"/>
                <a:gd name="T16" fmla="*/ 25 w 26"/>
                <a:gd name="T17" fmla="*/ 9 h 54"/>
                <a:gd name="T18" fmla="*/ 21 w 26"/>
                <a:gd name="T19" fmla="*/ 18 h 54"/>
                <a:gd name="T20" fmla="*/ 22 w 26"/>
                <a:gd name="T21" fmla="*/ 21 h 54"/>
                <a:gd name="T22" fmla="*/ 19 w 26"/>
                <a:gd name="T23" fmla="*/ 29 h 54"/>
                <a:gd name="T24" fmla="*/ 20 w 26"/>
                <a:gd name="T25" fmla="*/ 31 h 54"/>
                <a:gd name="T26" fmla="*/ 17 w 26"/>
                <a:gd name="T27" fmla="*/ 41 h 54"/>
                <a:gd name="T28" fmla="*/ 13 w 26"/>
                <a:gd name="T29" fmla="*/ 46 h 54"/>
                <a:gd name="T30" fmla="*/ 10 w 26"/>
                <a:gd name="T31" fmla="*/ 47 h 54"/>
                <a:gd name="T32" fmla="*/ 5 w 26"/>
                <a:gd name="T33" fmla="*/ 54 h 54"/>
                <a:gd name="T34" fmla="*/ 0 w 26"/>
                <a:gd name="T35" fmla="*/ 54 h 54"/>
                <a:gd name="T36" fmla="*/ 4 w 26"/>
                <a:gd name="T37" fmla="*/ 31 h 54"/>
                <a:gd name="T38" fmla="*/ 6 w 26"/>
                <a:gd name="T39" fmla="*/ 1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6" h="54">
                  <a:moveTo>
                    <a:pt x="6" y="14"/>
                  </a:moveTo>
                  <a:lnTo>
                    <a:pt x="6" y="11"/>
                  </a:lnTo>
                  <a:lnTo>
                    <a:pt x="9" y="11"/>
                  </a:lnTo>
                  <a:lnTo>
                    <a:pt x="12" y="13"/>
                  </a:lnTo>
                  <a:lnTo>
                    <a:pt x="20" y="0"/>
                  </a:lnTo>
                  <a:lnTo>
                    <a:pt x="23" y="0"/>
                  </a:lnTo>
                  <a:lnTo>
                    <a:pt x="23" y="3"/>
                  </a:lnTo>
                  <a:lnTo>
                    <a:pt x="26" y="3"/>
                  </a:lnTo>
                  <a:lnTo>
                    <a:pt x="25" y="9"/>
                  </a:lnTo>
                  <a:lnTo>
                    <a:pt x="21" y="18"/>
                  </a:lnTo>
                  <a:lnTo>
                    <a:pt x="22" y="21"/>
                  </a:lnTo>
                  <a:lnTo>
                    <a:pt x="19" y="29"/>
                  </a:lnTo>
                  <a:lnTo>
                    <a:pt x="20" y="31"/>
                  </a:lnTo>
                  <a:lnTo>
                    <a:pt x="17" y="41"/>
                  </a:lnTo>
                  <a:lnTo>
                    <a:pt x="13" y="46"/>
                  </a:lnTo>
                  <a:lnTo>
                    <a:pt x="10" y="47"/>
                  </a:lnTo>
                  <a:lnTo>
                    <a:pt x="5" y="54"/>
                  </a:lnTo>
                  <a:lnTo>
                    <a:pt x="0" y="54"/>
                  </a:lnTo>
                  <a:lnTo>
                    <a:pt x="4" y="31"/>
                  </a:lnTo>
                  <a:lnTo>
                    <a:pt x="6" y="1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72" name="Freeform 29">
              <a:extLst>
                <a:ext uri="{FF2B5EF4-FFF2-40B4-BE49-F238E27FC236}">
                  <a16:creationId xmlns:a16="http://schemas.microsoft.com/office/drawing/2014/main" id="{34EFD331-81CF-484C-BB2A-8B96079E7F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098" y="3139706"/>
              <a:ext cx="299566" cy="355572"/>
            </a:xfrm>
            <a:custGeom>
              <a:avLst/>
              <a:gdLst>
                <a:gd name="T0" fmla="*/ 141 w 230"/>
                <a:gd name="T1" fmla="*/ 255 h 273"/>
                <a:gd name="T2" fmla="*/ 121 w 230"/>
                <a:gd name="T3" fmla="*/ 254 h 273"/>
                <a:gd name="T4" fmla="*/ 116 w 230"/>
                <a:gd name="T5" fmla="*/ 271 h 273"/>
                <a:gd name="T6" fmla="*/ 104 w 230"/>
                <a:gd name="T7" fmla="*/ 256 h 273"/>
                <a:gd name="T8" fmla="*/ 79 w 230"/>
                <a:gd name="T9" fmla="*/ 251 h 273"/>
                <a:gd name="T10" fmla="*/ 67 w 230"/>
                <a:gd name="T11" fmla="*/ 270 h 273"/>
                <a:gd name="T12" fmla="*/ 54 w 230"/>
                <a:gd name="T13" fmla="*/ 273 h 273"/>
                <a:gd name="T14" fmla="*/ 43 w 230"/>
                <a:gd name="T15" fmla="*/ 244 h 273"/>
                <a:gd name="T16" fmla="*/ 31 w 230"/>
                <a:gd name="T17" fmla="*/ 221 h 273"/>
                <a:gd name="T18" fmla="*/ 34 w 230"/>
                <a:gd name="T19" fmla="*/ 201 h 273"/>
                <a:gd name="T20" fmla="*/ 24 w 230"/>
                <a:gd name="T21" fmla="*/ 192 h 273"/>
                <a:gd name="T22" fmla="*/ 20 w 230"/>
                <a:gd name="T23" fmla="*/ 177 h 273"/>
                <a:gd name="T24" fmla="*/ 10 w 230"/>
                <a:gd name="T25" fmla="*/ 163 h 273"/>
                <a:gd name="T26" fmla="*/ 19 w 230"/>
                <a:gd name="T27" fmla="*/ 140 h 273"/>
                <a:gd name="T28" fmla="*/ 10 w 230"/>
                <a:gd name="T29" fmla="*/ 123 h 273"/>
                <a:gd name="T30" fmla="*/ 13 w 230"/>
                <a:gd name="T31" fmla="*/ 116 h 273"/>
                <a:gd name="T32" fmla="*/ 10 w 230"/>
                <a:gd name="T33" fmla="*/ 108 h 273"/>
                <a:gd name="T34" fmla="*/ 16 w 230"/>
                <a:gd name="T35" fmla="*/ 98 h 273"/>
                <a:gd name="T36" fmla="*/ 15 w 230"/>
                <a:gd name="T37" fmla="*/ 80 h 273"/>
                <a:gd name="T38" fmla="*/ 15 w 230"/>
                <a:gd name="T39" fmla="*/ 65 h 273"/>
                <a:gd name="T40" fmla="*/ 18 w 230"/>
                <a:gd name="T41" fmla="*/ 58 h 273"/>
                <a:gd name="T42" fmla="*/ 0 w 230"/>
                <a:gd name="T43" fmla="*/ 25 h 273"/>
                <a:gd name="T44" fmla="*/ 14 w 230"/>
                <a:gd name="T45" fmla="*/ 27 h 273"/>
                <a:gd name="T46" fmla="*/ 23 w 230"/>
                <a:gd name="T47" fmla="*/ 26 h 273"/>
                <a:gd name="T48" fmla="*/ 27 w 230"/>
                <a:gd name="T49" fmla="*/ 20 h 273"/>
                <a:gd name="T50" fmla="*/ 43 w 230"/>
                <a:gd name="T51" fmla="*/ 12 h 273"/>
                <a:gd name="T52" fmla="*/ 52 w 230"/>
                <a:gd name="T53" fmla="*/ 4 h 273"/>
                <a:gd name="T54" fmla="*/ 76 w 230"/>
                <a:gd name="T55" fmla="*/ 0 h 273"/>
                <a:gd name="T56" fmla="*/ 74 w 230"/>
                <a:gd name="T57" fmla="*/ 16 h 273"/>
                <a:gd name="T58" fmla="*/ 77 w 230"/>
                <a:gd name="T59" fmla="*/ 24 h 273"/>
                <a:gd name="T60" fmla="*/ 76 w 230"/>
                <a:gd name="T61" fmla="*/ 38 h 273"/>
                <a:gd name="T62" fmla="*/ 97 w 230"/>
                <a:gd name="T63" fmla="*/ 56 h 273"/>
                <a:gd name="T64" fmla="*/ 118 w 230"/>
                <a:gd name="T65" fmla="*/ 60 h 273"/>
                <a:gd name="T66" fmla="*/ 126 w 230"/>
                <a:gd name="T67" fmla="*/ 68 h 273"/>
                <a:gd name="T68" fmla="*/ 138 w 230"/>
                <a:gd name="T69" fmla="*/ 72 h 273"/>
                <a:gd name="T70" fmla="*/ 146 w 230"/>
                <a:gd name="T71" fmla="*/ 78 h 273"/>
                <a:gd name="T72" fmla="*/ 158 w 230"/>
                <a:gd name="T73" fmla="*/ 77 h 273"/>
                <a:gd name="T74" fmla="*/ 169 w 230"/>
                <a:gd name="T75" fmla="*/ 84 h 273"/>
                <a:gd name="T76" fmla="*/ 170 w 230"/>
                <a:gd name="T77" fmla="*/ 96 h 273"/>
                <a:gd name="T78" fmla="*/ 174 w 230"/>
                <a:gd name="T79" fmla="*/ 102 h 273"/>
                <a:gd name="T80" fmla="*/ 175 w 230"/>
                <a:gd name="T81" fmla="*/ 111 h 273"/>
                <a:gd name="T82" fmla="*/ 170 w 230"/>
                <a:gd name="T83" fmla="*/ 111 h 273"/>
                <a:gd name="T84" fmla="*/ 179 w 230"/>
                <a:gd name="T85" fmla="*/ 135 h 273"/>
                <a:gd name="T86" fmla="*/ 213 w 230"/>
                <a:gd name="T87" fmla="*/ 136 h 273"/>
                <a:gd name="T88" fmla="*/ 212 w 230"/>
                <a:gd name="T89" fmla="*/ 148 h 273"/>
                <a:gd name="T90" fmla="*/ 214 w 230"/>
                <a:gd name="T91" fmla="*/ 156 h 273"/>
                <a:gd name="T92" fmla="*/ 225 w 230"/>
                <a:gd name="T93" fmla="*/ 162 h 273"/>
                <a:gd name="T94" fmla="*/ 230 w 230"/>
                <a:gd name="T95" fmla="*/ 175 h 273"/>
                <a:gd name="T96" fmla="*/ 228 w 230"/>
                <a:gd name="T97" fmla="*/ 191 h 273"/>
                <a:gd name="T98" fmla="*/ 224 w 230"/>
                <a:gd name="T99" fmla="*/ 201 h 273"/>
                <a:gd name="T100" fmla="*/ 227 w 230"/>
                <a:gd name="T101" fmla="*/ 212 h 273"/>
                <a:gd name="T102" fmla="*/ 222 w 230"/>
                <a:gd name="T103" fmla="*/ 217 h 273"/>
                <a:gd name="T104" fmla="*/ 221 w 230"/>
                <a:gd name="T105" fmla="*/ 210 h 273"/>
                <a:gd name="T106" fmla="*/ 203 w 230"/>
                <a:gd name="T107" fmla="*/ 200 h 273"/>
                <a:gd name="T108" fmla="*/ 186 w 230"/>
                <a:gd name="T109" fmla="*/ 199 h 273"/>
                <a:gd name="T110" fmla="*/ 155 w 230"/>
                <a:gd name="T111" fmla="*/ 205 h 273"/>
                <a:gd name="T112" fmla="*/ 148 w 230"/>
                <a:gd name="T113" fmla="*/ 224 h 273"/>
                <a:gd name="T114" fmla="*/ 149 w 230"/>
                <a:gd name="T115" fmla="*/ 235 h 273"/>
                <a:gd name="T116" fmla="*/ 145 w 230"/>
                <a:gd name="T117" fmla="*/ 260 h 273"/>
                <a:gd name="T118" fmla="*/ 141 w 230"/>
                <a:gd name="T119" fmla="*/ 255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30" h="273">
                  <a:moveTo>
                    <a:pt x="141" y="255"/>
                  </a:moveTo>
                  <a:lnTo>
                    <a:pt x="121" y="254"/>
                  </a:lnTo>
                  <a:lnTo>
                    <a:pt x="116" y="271"/>
                  </a:lnTo>
                  <a:lnTo>
                    <a:pt x="104" y="256"/>
                  </a:lnTo>
                  <a:lnTo>
                    <a:pt x="79" y="251"/>
                  </a:lnTo>
                  <a:lnTo>
                    <a:pt x="67" y="270"/>
                  </a:lnTo>
                  <a:lnTo>
                    <a:pt x="54" y="273"/>
                  </a:lnTo>
                  <a:lnTo>
                    <a:pt x="43" y="244"/>
                  </a:lnTo>
                  <a:lnTo>
                    <a:pt x="31" y="221"/>
                  </a:lnTo>
                  <a:lnTo>
                    <a:pt x="34" y="201"/>
                  </a:lnTo>
                  <a:lnTo>
                    <a:pt x="24" y="192"/>
                  </a:lnTo>
                  <a:lnTo>
                    <a:pt x="20" y="177"/>
                  </a:lnTo>
                  <a:lnTo>
                    <a:pt x="10" y="163"/>
                  </a:lnTo>
                  <a:lnTo>
                    <a:pt x="19" y="140"/>
                  </a:lnTo>
                  <a:lnTo>
                    <a:pt x="10" y="123"/>
                  </a:lnTo>
                  <a:lnTo>
                    <a:pt x="13" y="116"/>
                  </a:lnTo>
                  <a:lnTo>
                    <a:pt x="10" y="108"/>
                  </a:lnTo>
                  <a:lnTo>
                    <a:pt x="16" y="98"/>
                  </a:lnTo>
                  <a:lnTo>
                    <a:pt x="15" y="80"/>
                  </a:lnTo>
                  <a:lnTo>
                    <a:pt x="15" y="65"/>
                  </a:lnTo>
                  <a:lnTo>
                    <a:pt x="18" y="58"/>
                  </a:lnTo>
                  <a:lnTo>
                    <a:pt x="0" y="25"/>
                  </a:lnTo>
                  <a:lnTo>
                    <a:pt x="14" y="27"/>
                  </a:lnTo>
                  <a:lnTo>
                    <a:pt x="23" y="26"/>
                  </a:lnTo>
                  <a:lnTo>
                    <a:pt x="27" y="20"/>
                  </a:lnTo>
                  <a:lnTo>
                    <a:pt x="43" y="12"/>
                  </a:lnTo>
                  <a:lnTo>
                    <a:pt x="52" y="4"/>
                  </a:lnTo>
                  <a:lnTo>
                    <a:pt x="76" y="0"/>
                  </a:lnTo>
                  <a:lnTo>
                    <a:pt x="74" y="16"/>
                  </a:lnTo>
                  <a:lnTo>
                    <a:pt x="77" y="24"/>
                  </a:lnTo>
                  <a:lnTo>
                    <a:pt x="76" y="38"/>
                  </a:lnTo>
                  <a:lnTo>
                    <a:pt x="97" y="56"/>
                  </a:lnTo>
                  <a:lnTo>
                    <a:pt x="118" y="60"/>
                  </a:lnTo>
                  <a:lnTo>
                    <a:pt x="126" y="68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8" y="77"/>
                  </a:lnTo>
                  <a:lnTo>
                    <a:pt x="169" y="84"/>
                  </a:lnTo>
                  <a:lnTo>
                    <a:pt x="170" y="96"/>
                  </a:lnTo>
                  <a:lnTo>
                    <a:pt x="174" y="102"/>
                  </a:lnTo>
                  <a:lnTo>
                    <a:pt x="175" y="111"/>
                  </a:lnTo>
                  <a:lnTo>
                    <a:pt x="170" y="111"/>
                  </a:lnTo>
                  <a:lnTo>
                    <a:pt x="179" y="135"/>
                  </a:lnTo>
                  <a:lnTo>
                    <a:pt x="213" y="136"/>
                  </a:lnTo>
                  <a:lnTo>
                    <a:pt x="212" y="148"/>
                  </a:lnTo>
                  <a:lnTo>
                    <a:pt x="214" y="156"/>
                  </a:lnTo>
                  <a:lnTo>
                    <a:pt x="225" y="162"/>
                  </a:lnTo>
                  <a:lnTo>
                    <a:pt x="230" y="175"/>
                  </a:lnTo>
                  <a:lnTo>
                    <a:pt x="228" y="191"/>
                  </a:lnTo>
                  <a:lnTo>
                    <a:pt x="224" y="201"/>
                  </a:lnTo>
                  <a:lnTo>
                    <a:pt x="227" y="212"/>
                  </a:lnTo>
                  <a:lnTo>
                    <a:pt x="222" y="217"/>
                  </a:lnTo>
                  <a:lnTo>
                    <a:pt x="221" y="210"/>
                  </a:lnTo>
                  <a:lnTo>
                    <a:pt x="203" y="200"/>
                  </a:lnTo>
                  <a:lnTo>
                    <a:pt x="186" y="199"/>
                  </a:lnTo>
                  <a:lnTo>
                    <a:pt x="155" y="205"/>
                  </a:lnTo>
                  <a:lnTo>
                    <a:pt x="148" y="224"/>
                  </a:lnTo>
                  <a:lnTo>
                    <a:pt x="149" y="235"/>
                  </a:lnTo>
                  <a:lnTo>
                    <a:pt x="145" y="260"/>
                  </a:lnTo>
                  <a:lnTo>
                    <a:pt x="141" y="25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73" name="Freeform 30">
              <a:extLst>
                <a:ext uri="{FF2B5EF4-FFF2-40B4-BE49-F238E27FC236}">
                  <a16:creationId xmlns:a16="http://schemas.microsoft.com/office/drawing/2014/main" id="{7F3C57F2-9A08-4448-92A8-738673209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4389" y="2733338"/>
              <a:ext cx="937771" cy="1056295"/>
            </a:xfrm>
            <a:custGeom>
              <a:avLst/>
              <a:gdLst>
                <a:gd name="T0" fmla="*/ 390 w 720"/>
                <a:gd name="T1" fmla="*/ 680 h 811"/>
                <a:gd name="T2" fmla="*/ 383 w 720"/>
                <a:gd name="T3" fmla="*/ 644 h 811"/>
                <a:gd name="T4" fmla="*/ 378 w 720"/>
                <a:gd name="T5" fmla="*/ 605 h 811"/>
                <a:gd name="T6" fmla="*/ 358 w 720"/>
                <a:gd name="T7" fmla="*/ 580 h 811"/>
                <a:gd name="T8" fmla="*/ 315 w 720"/>
                <a:gd name="T9" fmla="*/ 568 h 811"/>
                <a:gd name="T10" fmla="*/ 309 w 720"/>
                <a:gd name="T11" fmla="*/ 513 h 811"/>
                <a:gd name="T12" fmla="*/ 299 w 720"/>
                <a:gd name="T13" fmla="*/ 468 h 811"/>
                <a:gd name="T14" fmla="*/ 255 w 720"/>
                <a:gd name="T15" fmla="*/ 423 h 811"/>
                <a:gd name="T16" fmla="*/ 254 w 720"/>
                <a:gd name="T17" fmla="*/ 396 h 811"/>
                <a:gd name="T18" fmla="*/ 211 w 720"/>
                <a:gd name="T19" fmla="*/ 380 h 811"/>
                <a:gd name="T20" fmla="*/ 162 w 720"/>
                <a:gd name="T21" fmla="*/ 336 h 811"/>
                <a:gd name="T22" fmla="*/ 128 w 720"/>
                <a:gd name="T23" fmla="*/ 324 h 811"/>
                <a:gd name="T24" fmla="*/ 85 w 720"/>
                <a:gd name="T25" fmla="*/ 337 h 811"/>
                <a:gd name="T26" fmla="*/ 52 w 720"/>
                <a:gd name="T27" fmla="*/ 319 h 811"/>
                <a:gd name="T28" fmla="*/ 19 w 720"/>
                <a:gd name="T29" fmla="*/ 297 h 811"/>
                <a:gd name="T30" fmla="*/ 4 w 720"/>
                <a:gd name="T31" fmla="*/ 253 h 811"/>
                <a:gd name="T32" fmla="*/ 19 w 720"/>
                <a:gd name="T33" fmla="*/ 219 h 811"/>
                <a:gd name="T34" fmla="*/ 73 w 720"/>
                <a:gd name="T35" fmla="*/ 199 h 811"/>
                <a:gd name="T36" fmla="*/ 70 w 720"/>
                <a:gd name="T37" fmla="*/ 113 h 811"/>
                <a:gd name="T38" fmla="*/ 85 w 720"/>
                <a:gd name="T39" fmla="*/ 89 h 811"/>
                <a:gd name="T40" fmla="*/ 116 w 720"/>
                <a:gd name="T41" fmla="*/ 67 h 811"/>
                <a:gd name="T42" fmla="*/ 138 w 720"/>
                <a:gd name="T43" fmla="*/ 94 h 811"/>
                <a:gd name="T44" fmla="*/ 177 w 720"/>
                <a:gd name="T45" fmla="*/ 78 h 811"/>
                <a:gd name="T46" fmla="*/ 176 w 720"/>
                <a:gd name="T47" fmla="*/ 58 h 811"/>
                <a:gd name="T48" fmla="*/ 170 w 720"/>
                <a:gd name="T49" fmla="*/ 23 h 811"/>
                <a:gd name="T50" fmla="*/ 216 w 720"/>
                <a:gd name="T51" fmla="*/ 23 h 811"/>
                <a:gd name="T52" fmla="*/ 251 w 720"/>
                <a:gd name="T53" fmla="*/ 0 h 811"/>
                <a:gd name="T54" fmla="*/ 263 w 720"/>
                <a:gd name="T55" fmla="*/ 27 h 811"/>
                <a:gd name="T56" fmla="*/ 261 w 720"/>
                <a:gd name="T57" fmla="*/ 72 h 811"/>
                <a:gd name="T58" fmla="*/ 289 w 720"/>
                <a:gd name="T59" fmla="*/ 78 h 811"/>
                <a:gd name="T60" fmla="*/ 318 w 720"/>
                <a:gd name="T61" fmla="*/ 70 h 811"/>
                <a:gd name="T62" fmla="*/ 328 w 720"/>
                <a:gd name="T63" fmla="*/ 57 h 811"/>
                <a:gd name="T64" fmla="*/ 363 w 720"/>
                <a:gd name="T65" fmla="*/ 66 h 811"/>
                <a:gd name="T66" fmla="*/ 384 w 720"/>
                <a:gd name="T67" fmla="*/ 65 h 811"/>
                <a:gd name="T68" fmla="*/ 414 w 720"/>
                <a:gd name="T69" fmla="*/ 22 h 811"/>
                <a:gd name="T70" fmla="*/ 439 w 720"/>
                <a:gd name="T71" fmla="*/ 88 h 811"/>
                <a:gd name="T72" fmla="*/ 464 w 720"/>
                <a:gd name="T73" fmla="*/ 135 h 811"/>
                <a:gd name="T74" fmla="*/ 540 w 720"/>
                <a:gd name="T75" fmla="*/ 154 h 811"/>
                <a:gd name="T76" fmla="*/ 622 w 720"/>
                <a:gd name="T77" fmla="*/ 169 h 811"/>
                <a:gd name="T78" fmla="*/ 703 w 720"/>
                <a:gd name="T79" fmla="*/ 216 h 811"/>
                <a:gd name="T80" fmla="*/ 713 w 720"/>
                <a:gd name="T81" fmla="*/ 296 h 811"/>
                <a:gd name="T82" fmla="*/ 656 w 720"/>
                <a:gd name="T83" fmla="*/ 380 h 811"/>
                <a:gd name="T84" fmla="*/ 646 w 720"/>
                <a:gd name="T85" fmla="*/ 467 h 811"/>
                <a:gd name="T86" fmla="*/ 622 w 720"/>
                <a:gd name="T87" fmla="*/ 544 h 811"/>
                <a:gd name="T88" fmla="*/ 584 w 720"/>
                <a:gd name="T89" fmla="*/ 587 h 811"/>
                <a:gd name="T90" fmla="*/ 505 w 720"/>
                <a:gd name="T91" fmla="*/ 626 h 811"/>
                <a:gd name="T92" fmla="*/ 495 w 720"/>
                <a:gd name="T93" fmla="*/ 695 h 811"/>
                <a:gd name="T94" fmla="*/ 453 w 720"/>
                <a:gd name="T95" fmla="*/ 770 h 811"/>
                <a:gd name="T96" fmla="*/ 422 w 720"/>
                <a:gd name="T97" fmla="*/ 799 h 811"/>
                <a:gd name="T98" fmla="*/ 380 w 720"/>
                <a:gd name="T99" fmla="*/ 750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20" h="811">
                  <a:moveTo>
                    <a:pt x="342" y="737"/>
                  </a:moveTo>
                  <a:lnTo>
                    <a:pt x="362" y="709"/>
                  </a:lnTo>
                  <a:lnTo>
                    <a:pt x="379" y="689"/>
                  </a:lnTo>
                  <a:lnTo>
                    <a:pt x="390" y="680"/>
                  </a:lnTo>
                  <a:lnTo>
                    <a:pt x="403" y="669"/>
                  </a:lnTo>
                  <a:lnTo>
                    <a:pt x="401" y="652"/>
                  </a:lnTo>
                  <a:lnTo>
                    <a:pt x="391" y="640"/>
                  </a:lnTo>
                  <a:lnTo>
                    <a:pt x="383" y="644"/>
                  </a:lnTo>
                  <a:lnTo>
                    <a:pt x="385" y="632"/>
                  </a:lnTo>
                  <a:lnTo>
                    <a:pt x="386" y="620"/>
                  </a:lnTo>
                  <a:lnTo>
                    <a:pt x="385" y="608"/>
                  </a:lnTo>
                  <a:lnTo>
                    <a:pt x="378" y="605"/>
                  </a:lnTo>
                  <a:lnTo>
                    <a:pt x="371" y="608"/>
                  </a:lnTo>
                  <a:lnTo>
                    <a:pt x="365" y="607"/>
                  </a:lnTo>
                  <a:lnTo>
                    <a:pt x="362" y="599"/>
                  </a:lnTo>
                  <a:lnTo>
                    <a:pt x="358" y="580"/>
                  </a:lnTo>
                  <a:lnTo>
                    <a:pt x="354" y="574"/>
                  </a:lnTo>
                  <a:lnTo>
                    <a:pt x="341" y="568"/>
                  </a:lnTo>
                  <a:lnTo>
                    <a:pt x="334" y="572"/>
                  </a:lnTo>
                  <a:lnTo>
                    <a:pt x="315" y="568"/>
                  </a:lnTo>
                  <a:lnTo>
                    <a:pt x="313" y="540"/>
                  </a:lnTo>
                  <a:lnTo>
                    <a:pt x="307" y="529"/>
                  </a:lnTo>
                  <a:lnTo>
                    <a:pt x="312" y="524"/>
                  </a:lnTo>
                  <a:lnTo>
                    <a:pt x="309" y="513"/>
                  </a:lnTo>
                  <a:lnTo>
                    <a:pt x="313" y="503"/>
                  </a:lnTo>
                  <a:lnTo>
                    <a:pt x="315" y="487"/>
                  </a:lnTo>
                  <a:lnTo>
                    <a:pt x="310" y="474"/>
                  </a:lnTo>
                  <a:lnTo>
                    <a:pt x="299" y="468"/>
                  </a:lnTo>
                  <a:lnTo>
                    <a:pt x="297" y="460"/>
                  </a:lnTo>
                  <a:lnTo>
                    <a:pt x="298" y="448"/>
                  </a:lnTo>
                  <a:lnTo>
                    <a:pt x="264" y="447"/>
                  </a:lnTo>
                  <a:lnTo>
                    <a:pt x="255" y="423"/>
                  </a:lnTo>
                  <a:lnTo>
                    <a:pt x="260" y="423"/>
                  </a:lnTo>
                  <a:lnTo>
                    <a:pt x="259" y="414"/>
                  </a:lnTo>
                  <a:lnTo>
                    <a:pt x="255" y="408"/>
                  </a:lnTo>
                  <a:lnTo>
                    <a:pt x="254" y="396"/>
                  </a:lnTo>
                  <a:lnTo>
                    <a:pt x="243" y="389"/>
                  </a:lnTo>
                  <a:lnTo>
                    <a:pt x="231" y="390"/>
                  </a:lnTo>
                  <a:lnTo>
                    <a:pt x="223" y="384"/>
                  </a:lnTo>
                  <a:lnTo>
                    <a:pt x="211" y="380"/>
                  </a:lnTo>
                  <a:lnTo>
                    <a:pt x="203" y="372"/>
                  </a:lnTo>
                  <a:lnTo>
                    <a:pt x="182" y="368"/>
                  </a:lnTo>
                  <a:lnTo>
                    <a:pt x="161" y="350"/>
                  </a:lnTo>
                  <a:lnTo>
                    <a:pt x="162" y="336"/>
                  </a:lnTo>
                  <a:lnTo>
                    <a:pt x="159" y="328"/>
                  </a:lnTo>
                  <a:lnTo>
                    <a:pt x="161" y="312"/>
                  </a:lnTo>
                  <a:lnTo>
                    <a:pt x="137" y="316"/>
                  </a:lnTo>
                  <a:lnTo>
                    <a:pt x="128" y="324"/>
                  </a:lnTo>
                  <a:lnTo>
                    <a:pt x="112" y="332"/>
                  </a:lnTo>
                  <a:lnTo>
                    <a:pt x="108" y="338"/>
                  </a:lnTo>
                  <a:lnTo>
                    <a:pt x="99" y="339"/>
                  </a:lnTo>
                  <a:lnTo>
                    <a:pt x="85" y="337"/>
                  </a:lnTo>
                  <a:lnTo>
                    <a:pt x="75" y="341"/>
                  </a:lnTo>
                  <a:lnTo>
                    <a:pt x="67" y="338"/>
                  </a:lnTo>
                  <a:lnTo>
                    <a:pt x="66" y="307"/>
                  </a:lnTo>
                  <a:lnTo>
                    <a:pt x="52" y="319"/>
                  </a:lnTo>
                  <a:lnTo>
                    <a:pt x="36" y="318"/>
                  </a:lnTo>
                  <a:lnTo>
                    <a:pt x="28" y="307"/>
                  </a:lnTo>
                  <a:lnTo>
                    <a:pt x="16" y="306"/>
                  </a:lnTo>
                  <a:lnTo>
                    <a:pt x="19" y="297"/>
                  </a:lnTo>
                  <a:lnTo>
                    <a:pt x="9" y="284"/>
                  </a:lnTo>
                  <a:lnTo>
                    <a:pt x="0" y="266"/>
                  </a:lnTo>
                  <a:lnTo>
                    <a:pt x="5" y="262"/>
                  </a:lnTo>
                  <a:lnTo>
                    <a:pt x="4" y="253"/>
                  </a:lnTo>
                  <a:lnTo>
                    <a:pt x="15" y="247"/>
                  </a:lnTo>
                  <a:lnTo>
                    <a:pt x="13" y="236"/>
                  </a:lnTo>
                  <a:lnTo>
                    <a:pt x="18" y="229"/>
                  </a:lnTo>
                  <a:lnTo>
                    <a:pt x="19" y="219"/>
                  </a:lnTo>
                  <a:lnTo>
                    <a:pt x="39" y="205"/>
                  </a:lnTo>
                  <a:lnTo>
                    <a:pt x="54" y="201"/>
                  </a:lnTo>
                  <a:lnTo>
                    <a:pt x="56" y="198"/>
                  </a:lnTo>
                  <a:lnTo>
                    <a:pt x="73" y="199"/>
                  </a:lnTo>
                  <a:lnTo>
                    <a:pt x="80" y="142"/>
                  </a:lnTo>
                  <a:lnTo>
                    <a:pt x="81" y="133"/>
                  </a:lnTo>
                  <a:lnTo>
                    <a:pt x="78" y="121"/>
                  </a:lnTo>
                  <a:lnTo>
                    <a:pt x="70" y="113"/>
                  </a:lnTo>
                  <a:lnTo>
                    <a:pt x="70" y="98"/>
                  </a:lnTo>
                  <a:lnTo>
                    <a:pt x="80" y="95"/>
                  </a:lnTo>
                  <a:lnTo>
                    <a:pt x="84" y="97"/>
                  </a:lnTo>
                  <a:lnTo>
                    <a:pt x="85" y="89"/>
                  </a:lnTo>
                  <a:lnTo>
                    <a:pt x="74" y="87"/>
                  </a:lnTo>
                  <a:lnTo>
                    <a:pt x="74" y="74"/>
                  </a:lnTo>
                  <a:lnTo>
                    <a:pt x="109" y="74"/>
                  </a:lnTo>
                  <a:lnTo>
                    <a:pt x="116" y="67"/>
                  </a:lnTo>
                  <a:lnTo>
                    <a:pt x="121" y="74"/>
                  </a:lnTo>
                  <a:lnTo>
                    <a:pt x="124" y="86"/>
                  </a:lnTo>
                  <a:lnTo>
                    <a:pt x="128" y="83"/>
                  </a:lnTo>
                  <a:lnTo>
                    <a:pt x="138" y="94"/>
                  </a:lnTo>
                  <a:lnTo>
                    <a:pt x="152" y="93"/>
                  </a:lnTo>
                  <a:lnTo>
                    <a:pt x="156" y="87"/>
                  </a:lnTo>
                  <a:lnTo>
                    <a:pt x="169" y="82"/>
                  </a:lnTo>
                  <a:lnTo>
                    <a:pt x="177" y="78"/>
                  </a:lnTo>
                  <a:lnTo>
                    <a:pt x="179" y="70"/>
                  </a:lnTo>
                  <a:lnTo>
                    <a:pt x="192" y="64"/>
                  </a:lnTo>
                  <a:lnTo>
                    <a:pt x="191" y="59"/>
                  </a:lnTo>
                  <a:lnTo>
                    <a:pt x="176" y="58"/>
                  </a:lnTo>
                  <a:lnTo>
                    <a:pt x="173" y="44"/>
                  </a:lnTo>
                  <a:lnTo>
                    <a:pt x="174" y="30"/>
                  </a:lnTo>
                  <a:lnTo>
                    <a:pt x="166" y="25"/>
                  </a:lnTo>
                  <a:lnTo>
                    <a:pt x="170" y="23"/>
                  </a:lnTo>
                  <a:lnTo>
                    <a:pt x="183" y="26"/>
                  </a:lnTo>
                  <a:lnTo>
                    <a:pt x="198" y="31"/>
                  </a:lnTo>
                  <a:lnTo>
                    <a:pt x="203" y="26"/>
                  </a:lnTo>
                  <a:lnTo>
                    <a:pt x="216" y="23"/>
                  </a:lnTo>
                  <a:lnTo>
                    <a:pt x="237" y="15"/>
                  </a:lnTo>
                  <a:lnTo>
                    <a:pt x="244" y="7"/>
                  </a:lnTo>
                  <a:lnTo>
                    <a:pt x="242" y="1"/>
                  </a:lnTo>
                  <a:lnTo>
                    <a:pt x="251" y="0"/>
                  </a:lnTo>
                  <a:lnTo>
                    <a:pt x="255" y="5"/>
                  </a:lnTo>
                  <a:lnTo>
                    <a:pt x="253" y="14"/>
                  </a:lnTo>
                  <a:lnTo>
                    <a:pt x="259" y="18"/>
                  </a:lnTo>
                  <a:lnTo>
                    <a:pt x="263" y="27"/>
                  </a:lnTo>
                  <a:lnTo>
                    <a:pt x="258" y="34"/>
                  </a:lnTo>
                  <a:lnTo>
                    <a:pt x="255" y="52"/>
                  </a:lnTo>
                  <a:lnTo>
                    <a:pt x="259" y="63"/>
                  </a:lnTo>
                  <a:lnTo>
                    <a:pt x="261" y="72"/>
                  </a:lnTo>
                  <a:lnTo>
                    <a:pt x="272" y="82"/>
                  </a:lnTo>
                  <a:lnTo>
                    <a:pt x="281" y="83"/>
                  </a:lnTo>
                  <a:lnTo>
                    <a:pt x="283" y="79"/>
                  </a:lnTo>
                  <a:lnTo>
                    <a:pt x="289" y="78"/>
                  </a:lnTo>
                  <a:lnTo>
                    <a:pt x="297" y="74"/>
                  </a:lnTo>
                  <a:lnTo>
                    <a:pt x="303" y="69"/>
                  </a:lnTo>
                  <a:lnTo>
                    <a:pt x="313" y="71"/>
                  </a:lnTo>
                  <a:lnTo>
                    <a:pt x="318" y="70"/>
                  </a:lnTo>
                  <a:lnTo>
                    <a:pt x="328" y="72"/>
                  </a:lnTo>
                  <a:lnTo>
                    <a:pt x="329" y="67"/>
                  </a:lnTo>
                  <a:lnTo>
                    <a:pt x="326" y="63"/>
                  </a:lnTo>
                  <a:lnTo>
                    <a:pt x="328" y="57"/>
                  </a:lnTo>
                  <a:lnTo>
                    <a:pt x="336" y="59"/>
                  </a:lnTo>
                  <a:lnTo>
                    <a:pt x="344" y="57"/>
                  </a:lnTo>
                  <a:lnTo>
                    <a:pt x="355" y="61"/>
                  </a:lnTo>
                  <a:lnTo>
                    <a:pt x="363" y="66"/>
                  </a:lnTo>
                  <a:lnTo>
                    <a:pt x="368" y="60"/>
                  </a:lnTo>
                  <a:lnTo>
                    <a:pt x="373" y="61"/>
                  </a:lnTo>
                  <a:lnTo>
                    <a:pt x="375" y="67"/>
                  </a:lnTo>
                  <a:lnTo>
                    <a:pt x="384" y="65"/>
                  </a:lnTo>
                  <a:lnTo>
                    <a:pt x="391" y="57"/>
                  </a:lnTo>
                  <a:lnTo>
                    <a:pt x="397" y="42"/>
                  </a:lnTo>
                  <a:lnTo>
                    <a:pt x="408" y="23"/>
                  </a:lnTo>
                  <a:lnTo>
                    <a:pt x="414" y="22"/>
                  </a:lnTo>
                  <a:lnTo>
                    <a:pt x="419" y="34"/>
                  </a:lnTo>
                  <a:lnTo>
                    <a:pt x="429" y="70"/>
                  </a:lnTo>
                  <a:lnTo>
                    <a:pt x="438" y="73"/>
                  </a:lnTo>
                  <a:lnTo>
                    <a:pt x="439" y="88"/>
                  </a:lnTo>
                  <a:lnTo>
                    <a:pt x="425" y="105"/>
                  </a:lnTo>
                  <a:lnTo>
                    <a:pt x="430" y="111"/>
                  </a:lnTo>
                  <a:lnTo>
                    <a:pt x="463" y="114"/>
                  </a:lnTo>
                  <a:lnTo>
                    <a:pt x="464" y="135"/>
                  </a:lnTo>
                  <a:lnTo>
                    <a:pt x="478" y="121"/>
                  </a:lnTo>
                  <a:lnTo>
                    <a:pt x="501" y="129"/>
                  </a:lnTo>
                  <a:lnTo>
                    <a:pt x="531" y="142"/>
                  </a:lnTo>
                  <a:lnTo>
                    <a:pt x="540" y="154"/>
                  </a:lnTo>
                  <a:lnTo>
                    <a:pt x="537" y="165"/>
                  </a:lnTo>
                  <a:lnTo>
                    <a:pt x="559" y="159"/>
                  </a:lnTo>
                  <a:lnTo>
                    <a:pt x="595" y="170"/>
                  </a:lnTo>
                  <a:lnTo>
                    <a:pt x="622" y="169"/>
                  </a:lnTo>
                  <a:lnTo>
                    <a:pt x="649" y="186"/>
                  </a:lnTo>
                  <a:lnTo>
                    <a:pt x="673" y="210"/>
                  </a:lnTo>
                  <a:lnTo>
                    <a:pt x="687" y="216"/>
                  </a:lnTo>
                  <a:lnTo>
                    <a:pt x="703" y="216"/>
                  </a:lnTo>
                  <a:lnTo>
                    <a:pt x="710" y="223"/>
                  </a:lnTo>
                  <a:lnTo>
                    <a:pt x="716" y="249"/>
                  </a:lnTo>
                  <a:lnTo>
                    <a:pt x="720" y="262"/>
                  </a:lnTo>
                  <a:lnTo>
                    <a:pt x="713" y="296"/>
                  </a:lnTo>
                  <a:lnTo>
                    <a:pt x="704" y="310"/>
                  </a:lnTo>
                  <a:lnTo>
                    <a:pt x="679" y="339"/>
                  </a:lnTo>
                  <a:lnTo>
                    <a:pt x="668" y="362"/>
                  </a:lnTo>
                  <a:lnTo>
                    <a:pt x="656" y="380"/>
                  </a:lnTo>
                  <a:lnTo>
                    <a:pt x="651" y="381"/>
                  </a:lnTo>
                  <a:lnTo>
                    <a:pt x="647" y="396"/>
                  </a:lnTo>
                  <a:lnTo>
                    <a:pt x="649" y="435"/>
                  </a:lnTo>
                  <a:lnTo>
                    <a:pt x="646" y="467"/>
                  </a:lnTo>
                  <a:lnTo>
                    <a:pt x="645" y="481"/>
                  </a:lnTo>
                  <a:lnTo>
                    <a:pt x="640" y="489"/>
                  </a:lnTo>
                  <a:lnTo>
                    <a:pt x="638" y="516"/>
                  </a:lnTo>
                  <a:lnTo>
                    <a:pt x="622" y="544"/>
                  </a:lnTo>
                  <a:lnTo>
                    <a:pt x="620" y="565"/>
                  </a:lnTo>
                  <a:lnTo>
                    <a:pt x="606" y="574"/>
                  </a:lnTo>
                  <a:lnTo>
                    <a:pt x="603" y="587"/>
                  </a:lnTo>
                  <a:lnTo>
                    <a:pt x="584" y="587"/>
                  </a:lnTo>
                  <a:lnTo>
                    <a:pt x="556" y="595"/>
                  </a:lnTo>
                  <a:lnTo>
                    <a:pt x="544" y="604"/>
                  </a:lnTo>
                  <a:lnTo>
                    <a:pt x="525" y="610"/>
                  </a:lnTo>
                  <a:lnTo>
                    <a:pt x="505" y="626"/>
                  </a:lnTo>
                  <a:lnTo>
                    <a:pt x="492" y="647"/>
                  </a:lnTo>
                  <a:lnTo>
                    <a:pt x="491" y="662"/>
                  </a:lnTo>
                  <a:lnTo>
                    <a:pt x="496" y="674"/>
                  </a:lnTo>
                  <a:lnTo>
                    <a:pt x="495" y="695"/>
                  </a:lnTo>
                  <a:lnTo>
                    <a:pt x="492" y="705"/>
                  </a:lnTo>
                  <a:lnTo>
                    <a:pt x="481" y="717"/>
                  </a:lnTo>
                  <a:lnTo>
                    <a:pt x="466" y="753"/>
                  </a:lnTo>
                  <a:lnTo>
                    <a:pt x="453" y="770"/>
                  </a:lnTo>
                  <a:lnTo>
                    <a:pt x="443" y="779"/>
                  </a:lnTo>
                  <a:lnTo>
                    <a:pt x="438" y="799"/>
                  </a:lnTo>
                  <a:lnTo>
                    <a:pt x="429" y="811"/>
                  </a:lnTo>
                  <a:lnTo>
                    <a:pt x="422" y="799"/>
                  </a:lnTo>
                  <a:lnTo>
                    <a:pt x="428" y="789"/>
                  </a:lnTo>
                  <a:lnTo>
                    <a:pt x="416" y="775"/>
                  </a:lnTo>
                  <a:lnTo>
                    <a:pt x="400" y="764"/>
                  </a:lnTo>
                  <a:lnTo>
                    <a:pt x="380" y="750"/>
                  </a:lnTo>
                  <a:lnTo>
                    <a:pt x="374" y="751"/>
                  </a:lnTo>
                  <a:lnTo>
                    <a:pt x="353" y="735"/>
                  </a:lnTo>
                  <a:lnTo>
                    <a:pt x="342" y="737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74" name="Freeform 31">
              <a:extLst>
                <a:ext uri="{FF2B5EF4-FFF2-40B4-BE49-F238E27FC236}">
                  <a16:creationId xmlns:a16="http://schemas.microsoft.com/office/drawing/2014/main" id="{78B6763F-8785-446F-B399-CFD411342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1782" y="2728129"/>
              <a:ext cx="28654" cy="39074"/>
            </a:xfrm>
            <a:custGeom>
              <a:avLst/>
              <a:gdLst>
                <a:gd name="T0" fmla="*/ 0 w 22"/>
                <a:gd name="T1" fmla="*/ 19 h 30"/>
                <a:gd name="T2" fmla="*/ 7 w 22"/>
                <a:gd name="T3" fmla="*/ 12 h 30"/>
                <a:gd name="T4" fmla="*/ 22 w 22"/>
                <a:gd name="T5" fmla="*/ 0 h 30"/>
                <a:gd name="T6" fmla="*/ 22 w 22"/>
                <a:gd name="T7" fmla="*/ 11 h 30"/>
                <a:gd name="T8" fmla="*/ 21 w 22"/>
                <a:gd name="T9" fmla="*/ 24 h 30"/>
                <a:gd name="T10" fmla="*/ 12 w 22"/>
                <a:gd name="T11" fmla="*/ 23 h 30"/>
                <a:gd name="T12" fmla="*/ 9 w 22"/>
                <a:gd name="T13" fmla="*/ 30 h 30"/>
                <a:gd name="T14" fmla="*/ 0 w 22"/>
                <a:gd name="T15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0">
                  <a:moveTo>
                    <a:pt x="0" y="19"/>
                  </a:moveTo>
                  <a:lnTo>
                    <a:pt x="7" y="12"/>
                  </a:lnTo>
                  <a:lnTo>
                    <a:pt x="22" y="0"/>
                  </a:lnTo>
                  <a:lnTo>
                    <a:pt x="22" y="11"/>
                  </a:lnTo>
                  <a:lnTo>
                    <a:pt x="21" y="24"/>
                  </a:lnTo>
                  <a:lnTo>
                    <a:pt x="12" y="23"/>
                  </a:lnTo>
                  <a:lnTo>
                    <a:pt x="9" y="30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75" name="Freeform 32">
              <a:extLst>
                <a:ext uri="{FF2B5EF4-FFF2-40B4-BE49-F238E27FC236}">
                  <a16:creationId xmlns:a16="http://schemas.microsoft.com/office/drawing/2014/main" id="{FB4CB10E-3525-48B0-8568-57B949A41F6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4503" y="2110762"/>
              <a:ext cx="76846" cy="41679"/>
            </a:xfrm>
            <a:custGeom>
              <a:avLst/>
              <a:gdLst>
                <a:gd name="T0" fmla="*/ 49 w 59"/>
                <a:gd name="T1" fmla="*/ 11 h 32"/>
                <a:gd name="T2" fmla="*/ 57 w 59"/>
                <a:gd name="T3" fmla="*/ 17 h 32"/>
                <a:gd name="T4" fmla="*/ 59 w 59"/>
                <a:gd name="T5" fmla="*/ 30 h 32"/>
                <a:gd name="T6" fmla="*/ 45 w 59"/>
                <a:gd name="T7" fmla="*/ 31 h 32"/>
                <a:gd name="T8" fmla="*/ 29 w 59"/>
                <a:gd name="T9" fmla="*/ 29 h 32"/>
                <a:gd name="T10" fmla="*/ 19 w 59"/>
                <a:gd name="T11" fmla="*/ 32 h 32"/>
                <a:gd name="T12" fmla="*/ 1 w 59"/>
                <a:gd name="T13" fmla="*/ 24 h 32"/>
                <a:gd name="T14" fmla="*/ 0 w 59"/>
                <a:gd name="T15" fmla="*/ 20 h 32"/>
                <a:gd name="T16" fmla="*/ 8 w 59"/>
                <a:gd name="T17" fmla="*/ 5 h 32"/>
                <a:gd name="T18" fmla="*/ 17 w 59"/>
                <a:gd name="T19" fmla="*/ 0 h 32"/>
                <a:gd name="T20" fmla="*/ 30 w 59"/>
                <a:gd name="T21" fmla="*/ 4 h 32"/>
                <a:gd name="T22" fmla="*/ 40 w 59"/>
                <a:gd name="T23" fmla="*/ 5 h 32"/>
                <a:gd name="T24" fmla="*/ 49 w 59"/>
                <a:gd name="T25" fmla="*/ 1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9" h="32">
                  <a:moveTo>
                    <a:pt x="49" y="11"/>
                  </a:moveTo>
                  <a:lnTo>
                    <a:pt x="57" y="17"/>
                  </a:lnTo>
                  <a:lnTo>
                    <a:pt x="59" y="30"/>
                  </a:lnTo>
                  <a:lnTo>
                    <a:pt x="45" y="31"/>
                  </a:lnTo>
                  <a:lnTo>
                    <a:pt x="29" y="29"/>
                  </a:lnTo>
                  <a:lnTo>
                    <a:pt x="19" y="32"/>
                  </a:lnTo>
                  <a:lnTo>
                    <a:pt x="1" y="24"/>
                  </a:lnTo>
                  <a:lnTo>
                    <a:pt x="0" y="20"/>
                  </a:lnTo>
                  <a:lnTo>
                    <a:pt x="8" y="5"/>
                  </a:lnTo>
                  <a:lnTo>
                    <a:pt x="17" y="0"/>
                  </a:lnTo>
                  <a:lnTo>
                    <a:pt x="30" y="4"/>
                  </a:lnTo>
                  <a:lnTo>
                    <a:pt x="40" y="5"/>
                  </a:lnTo>
                  <a:lnTo>
                    <a:pt x="49" y="1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76" name="Freeform 33">
              <a:extLst>
                <a:ext uri="{FF2B5EF4-FFF2-40B4-BE49-F238E27FC236}">
                  <a16:creationId xmlns:a16="http://schemas.microsoft.com/office/drawing/2014/main" id="{125E1CE0-18C7-42A2-9E88-12F177908D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4200" y="3353309"/>
              <a:ext cx="225326" cy="248770"/>
            </a:xfrm>
            <a:custGeom>
              <a:avLst/>
              <a:gdLst>
                <a:gd name="T0" fmla="*/ 108 w 173"/>
                <a:gd name="T1" fmla="*/ 19 h 191"/>
                <a:gd name="T2" fmla="*/ 112 w 173"/>
                <a:gd name="T3" fmla="*/ 22 h 191"/>
                <a:gd name="T4" fmla="*/ 117 w 173"/>
                <a:gd name="T5" fmla="*/ 34 h 191"/>
                <a:gd name="T6" fmla="*/ 137 w 173"/>
                <a:gd name="T7" fmla="*/ 57 h 191"/>
                <a:gd name="T8" fmla="*/ 144 w 173"/>
                <a:gd name="T9" fmla="*/ 59 h 191"/>
                <a:gd name="T10" fmla="*/ 144 w 173"/>
                <a:gd name="T11" fmla="*/ 67 h 191"/>
                <a:gd name="T12" fmla="*/ 149 w 173"/>
                <a:gd name="T13" fmla="*/ 80 h 191"/>
                <a:gd name="T14" fmla="*/ 162 w 173"/>
                <a:gd name="T15" fmla="*/ 83 h 191"/>
                <a:gd name="T16" fmla="*/ 173 w 173"/>
                <a:gd name="T17" fmla="*/ 92 h 191"/>
                <a:gd name="T18" fmla="*/ 147 w 173"/>
                <a:gd name="T19" fmla="*/ 108 h 191"/>
                <a:gd name="T20" fmla="*/ 130 w 173"/>
                <a:gd name="T21" fmla="*/ 123 h 191"/>
                <a:gd name="T22" fmla="*/ 124 w 173"/>
                <a:gd name="T23" fmla="*/ 137 h 191"/>
                <a:gd name="T24" fmla="*/ 118 w 173"/>
                <a:gd name="T25" fmla="*/ 145 h 191"/>
                <a:gd name="T26" fmla="*/ 108 w 173"/>
                <a:gd name="T27" fmla="*/ 146 h 191"/>
                <a:gd name="T28" fmla="*/ 104 w 173"/>
                <a:gd name="T29" fmla="*/ 156 h 191"/>
                <a:gd name="T30" fmla="*/ 102 w 173"/>
                <a:gd name="T31" fmla="*/ 163 h 191"/>
                <a:gd name="T32" fmla="*/ 90 w 173"/>
                <a:gd name="T33" fmla="*/ 168 h 191"/>
                <a:gd name="T34" fmla="*/ 76 w 173"/>
                <a:gd name="T35" fmla="*/ 167 h 191"/>
                <a:gd name="T36" fmla="*/ 68 w 173"/>
                <a:gd name="T37" fmla="*/ 161 h 191"/>
                <a:gd name="T38" fmla="*/ 60 w 173"/>
                <a:gd name="T39" fmla="*/ 158 h 191"/>
                <a:gd name="T40" fmla="*/ 51 w 173"/>
                <a:gd name="T41" fmla="*/ 163 h 191"/>
                <a:gd name="T42" fmla="*/ 47 w 173"/>
                <a:gd name="T43" fmla="*/ 173 h 191"/>
                <a:gd name="T44" fmla="*/ 38 w 173"/>
                <a:gd name="T45" fmla="*/ 179 h 191"/>
                <a:gd name="T46" fmla="*/ 28 w 173"/>
                <a:gd name="T47" fmla="*/ 189 h 191"/>
                <a:gd name="T48" fmla="*/ 16 w 173"/>
                <a:gd name="T49" fmla="*/ 191 h 191"/>
                <a:gd name="T50" fmla="*/ 12 w 173"/>
                <a:gd name="T51" fmla="*/ 183 h 191"/>
                <a:gd name="T52" fmla="*/ 14 w 173"/>
                <a:gd name="T53" fmla="*/ 171 h 191"/>
                <a:gd name="T54" fmla="*/ 4 w 173"/>
                <a:gd name="T55" fmla="*/ 151 h 191"/>
                <a:gd name="T56" fmla="*/ 0 w 173"/>
                <a:gd name="T57" fmla="*/ 148 h 191"/>
                <a:gd name="T58" fmla="*/ 2 w 173"/>
                <a:gd name="T59" fmla="*/ 87 h 191"/>
                <a:gd name="T60" fmla="*/ 20 w 173"/>
                <a:gd name="T61" fmla="*/ 87 h 191"/>
                <a:gd name="T62" fmla="*/ 23 w 173"/>
                <a:gd name="T63" fmla="*/ 13 h 191"/>
                <a:gd name="T64" fmla="*/ 36 w 173"/>
                <a:gd name="T65" fmla="*/ 12 h 191"/>
                <a:gd name="T66" fmla="*/ 65 w 173"/>
                <a:gd name="T67" fmla="*/ 5 h 191"/>
                <a:gd name="T68" fmla="*/ 71 w 173"/>
                <a:gd name="T69" fmla="*/ 13 h 191"/>
                <a:gd name="T70" fmla="*/ 83 w 173"/>
                <a:gd name="T71" fmla="*/ 5 h 191"/>
                <a:gd name="T72" fmla="*/ 89 w 173"/>
                <a:gd name="T73" fmla="*/ 5 h 191"/>
                <a:gd name="T74" fmla="*/ 99 w 173"/>
                <a:gd name="T75" fmla="*/ 0 h 191"/>
                <a:gd name="T76" fmla="*/ 102 w 173"/>
                <a:gd name="T77" fmla="*/ 2 h 191"/>
                <a:gd name="T78" fmla="*/ 108 w 173"/>
                <a:gd name="T79" fmla="*/ 19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73" h="191">
                  <a:moveTo>
                    <a:pt x="108" y="19"/>
                  </a:moveTo>
                  <a:lnTo>
                    <a:pt x="112" y="22"/>
                  </a:lnTo>
                  <a:lnTo>
                    <a:pt x="117" y="34"/>
                  </a:lnTo>
                  <a:lnTo>
                    <a:pt x="137" y="57"/>
                  </a:lnTo>
                  <a:lnTo>
                    <a:pt x="144" y="59"/>
                  </a:lnTo>
                  <a:lnTo>
                    <a:pt x="144" y="67"/>
                  </a:lnTo>
                  <a:lnTo>
                    <a:pt x="149" y="80"/>
                  </a:lnTo>
                  <a:lnTo>
                    <a:pt x="162" y="83"/>
                  </a:lnTo>
                  <a:lnTo>
                    <a:pt x="173" y="92"/>
                  </a:lnTo>
                  <a:lnTo>
                    <a:pt x="147" y="108"/>
                  </a:lnTo>
                  <a:lnTo>
                    <a:pt x="130" y="123"/>
                  </a:lnTo>
                  <a:lnTo>
                    <a:pt x="124" y="137"/>
                  </a:lnTo>
                  <a:lnTo>
                    <a:pt x="118" y="145"/>
                  </a:lnTo>
                  <a:lnTo>
                    <a:pt x="108" y="146"/>
                  </a:lnTo>
                  <a:lnTo>
                    <a:pt x="104" y="156"/>
                  </a:lnTo>
                  <a:lnTo>
                    <a:pt x="102" y="163"/>
                  </a:lnTo>
                  <a:lnTo>
                    <a:pt x="90" y="168"/>
                  </a:lnTo>
                  <a:lnTo>
                    <a:pt x="76" y="167"/>
                  </a:lnTo>
                  <a:lnTo>
                    <a:pt x="68" y="161"/>
                  </a:lnTo>
                  <a:lnTo>
                    <a:pt x="60" y="158"/>
                  </a:lnTo>
                  <a:lnTo>
                    <a:pt x="51" y="163"/>
                  </a:lnTo>
                  <a:lnTo>
                    <a:pt x="47" y="173"/>
                  </a:lnTo>
                  <a:lnTo>
                    <a:pt x="38" y="179"/>
                  </a:lnTo>
                  <a:lnTo>
                    <a:pt x="28" y="189"/>
                  </a:lnTo>
                  <a:lnTo>
                    <a:pt x="16" y="191"/>
                  </a:lnTo>
                  <a:lnTo>
                    <a:pt x="12" y="183"/>
                  </a:lnTo>
                  <a:lnTo>
                    <a:pt x="14" y="171"/>
                  </a:lnTo>
                  <a:lnTo>
                    <a:pt x="4" y="151"/>
                  </a:lnTo>
                  <a:lnTo>
                    <a:pt x="0" y="148"/>
                  </a:lnTo>
                  <a:lnTo>
                    <a:pt x="2" y="87"/>
                  </a:lnTo>
                  <a:lnTo>
                    <a:pt x="20" y="87"/>
                  </a:lnTo>
                  <a:lnTo>
                    <a:pt x="23" y="13"/>
                  </a:lnTo>
                  <a:lnTo>
                    <a:pt x="36" y="12"/>
                  </a:lnTo>
                  <a:lnTo>
                    <a:pt x="65" y="5"/>
                  </a:lnTo>
                  <a:lnTo>
                    <a:pt x="71" y="13"/>
                  </a:lnTo>
                  <a:lnTo>
                    <a:pt x="83" y="5"/>
                  </a:lnTo>
                  <a:lnTo>
                    <a:pt x="89" y="5"/>
                  </a:lnTo>
                  <a:lnTo>
                    <a:pt x="99" y="0"/>
                  </a:lnTo>
                  <a:lnTo>
                    <a:pt x="102" y="2"/>
                  </a:lnTo>
                  <a:lnTo>
                    <a:pt x="108" y="1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77" name="Freeform 34">
              <a:extLst>
                <a:ext uri="{FF2B5EF4-FFF2-40B4-BE49-F238E27FC236}">
                  <a16:creationId xmlns:a16="http://schemas.microsoft.com/office/drawing/2014/main" id="{12E8C3D6-BAC0-4DB7-BEEA-A4E3C04D04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6978" y="2574438"/>
              <a:ext cx="308683" cy="239653"/>
            </a:xfrm>
            <a:custGeom>
              <a:avLst/>
              <a:gdLst>
                <a:gd name="T0" fmla="*/ 14 w 237"/>
                <a:gd name="T1" fmla="*/ 77 h 184"/>
                <a:gd name="T2" fmla="*/ 29 w 237"/>
                <a:gd name="T3" fmla="*/ 76 h 184"/>
                <a:gd name="T4" fmla="*/ 33 w 237"/>
                <a:gd name="T5" fmla="*/ 70 h 184"/>
                <a:gd name="T6" fmla="*/ 36 w 237"/>
                <a:gd name="T7" fmla="*/ 71 h 184"/>
                <a:gd name="T8" fmla="*/ 40 w 237"/>
                <a:gd name="T9" fmla="*/ 75 h 184"/>
                <a:gd name="T10" fmla="*/ 64 w 237"/>
                <a:gd name="T11" fmla="*/ 68 h 184"/>
                <a:gd name="T12" fmla="*/ 71 w 237"/>
                <a:gd name="T13" fmla="*/ 59 h 184"/>
                <a:gd name="T14" fmla="*/ 81 w 237"/>
                <a:gd name="T15" fmla="*/ 52 h 184"/>
                <a:gd name="T16" fmla="*/ 79 w 237"/>
                <a:gd name="T17" fmla="*/ 45 h 184"/>
                <a:gd name="T18" fmla="*/ 84 w 237"/>
                <a:gd name="T19" fmla="*/ 43 h 184"/>
                <a:gd name="T20" fmla="*/ 102 w 237"/>
                <a:gd name="T21" fmla="*/ 44 h 184"/>
                <a:gd name="T22" fmla="*/ 119 w 237"/>
                <a:gd name="T23" fmla="*/ 35 h 184"/>
                <a:gd name="T24" fmla="*/ 132 w 237"/>
                <a:gd name="T25" fmla="*/ 12 h 184"/>
                <a:gd name="T26" fmla="*/ 141 w 237"/>
                <a:gd name="T27" fmla="*/ 3 h 184"/>
                <a:gd name="T28" fmla="*/ 152 w 237"/>
                <a:gd name="T29" fmla="*/ 0 h 184"/>
                <a:gd name="T30" fmla="*/ 155 w 237"/>
                <a:gd name="T31" fmla="*/ 9 h 184"/>
                <a:gd name="T32" fmla="*/ 165 w 237"/>
                <a:gd name="T33" fmla="*/ 22 h 184"/>
                <a:gd name="T34" fmla="*/ 165 w 237"/>
                <a:gd name="T35" fmla="*/ 30 h 184"/>
                <a:gd name="T36" fmla="*/ 163 w 237"/>
                <a:gd name="T37" fmla="*/ 39 h 184"/>
                <a:gd name="T38" fmla="*/ 164 w 237"/>
                <a:gd name="T39" fmla="*/ 45 h 184"/>
                <a:gd name="T40" fmla="*/ 170 w 237"/>
                <a:gd name="T41" fmla="*/ 51 h 184"/>
                <a:gd name="T42" fmla="*/ 185 w 237"/>
                <a:gd name="T43" fmla="*/ 61 h 184"/>
                <a:gd name="T44" fmla="*/ 195 w 237"/>
                <a:gd name="T45" fmla="*/ 69 h 184"/>
                <a:gd name="T46" fmla="*/ 195 w 237"/>
                <a:gd name="T47" fmla="*/ 76 h 184"/>
                <a:gd name="T48" fmla="*/ 207 w 237"/>
                <a:gd name="T49" fmla="*/ 86 h 184"/>
                <a:gd name="T50" fmla="*/ 215 w 237"/>
                <a:gd name="T51" fmla="*/ 95 h 184"/>
                <a:gd name="T52" fmla="*/ 220 w 237"/>
                <a:gd name="T53" fmla="*/ 108 h 184"/>
                <a:gd name="T54" fmla="*/ 234 w 237"/>
                <a:gd name="T55" fmla="*/ 116 h 184"/>
                <a:gd name="T56" fmla="*/ 237 w 237"/>
                <a:gd name="T57" fmla="*/ 123 h 184"/>
                <a:gd name="T58" fmla="*/ 231 w 237"/>
                <a:gd name="T59" fmla="*/ 125 h 184"/>
                <a:gd name="T60" fmla="*/ 219 w 237"/>
                <a:gd name="T61" fmla="*/ 124 h 184"/>
                <a:gd name="T62" fmla="*/ 205 w 237"/>
                <a:gd name="T63" fmla="*/ 122 h 184"/>
                <a:gd name="T64" fmla="*/ 198 w 237"/>
                <a:gd name="T65" fmla="*/ 124 h 184"/>
                <a:gd name="T66" fmla="*/ 196 w 237"/>
                <a:gd name="T67" fmla="*/ 129 h 184"/>
                <a:gd name="T68" fmla="*/ 190 w 237"/>
                <a:gd name="T69" fmla="*/ 130 h 184"/>
                <a:gd name="T70" fmla="*/ 182 w 237"/>
                <a:gd name="T71" fmla="*/ 125 h 184"/>
                <a:gd name="T72" fmla="*/ 162 w 237"/>
                <a:gd name="T73" fmla="*/ 136 h 184"/>
                <a:gd name="T74" fmla="*/ 154 w 237"/>
                <a:gd name="T75" fmla="*/ 133 h 184"/>
                <a:gd name="T76" fmla="*/ 151 w 237"/>
                <a:gd name="T77" fmla="*/ 135 h 184"/>
                <a:gd name="T78" fmla="*/ 146 w 237"/>
                <a:gd name="T79" fmla="*/ 148 h 184"/>
                <a:gd name="T80" fmla="*/ 132 w 237"/>
                <a:gd name="T81" fmla="*/ 144 h 184"/>
                <a:gd name="T82" fmla="*/ 119 w 237"/>
                <a:gd name="T83" fmla="*/ 142 h 184"/>
                <a:gd name="T84" fmla="*/ 107 w 237"/>
                <a:gd name="T85" fmla="*/ 134 h 184"/>
                <a:gd name="T86" fmla="*/ 92 w 237"/>
                <a:gd name="T87" fmla="*/ 127 h 184"/>
                <a:gd name="T88" fmla="*/ 82 w 237"/>
                <a:gd name="T89" fmla="*/ 133 h 184"/>
                <a:gd name="T90" fmla="*/ 75 w 237"/>
                <a:gd name="T91" fmla="*/ 144 h 184"/>
                <a:gd name="T92" fmla="*/ 73 w 237"/>
                <a:gd name="T93" fmla="*/ 159 h 184"/>
                <a:gd name="T94" fmla="*/ 61 w 237"/>
                <a:gd name="T95" fmla="*/ 157 h 184"/>
                <a:gd name="T96" fmla="*/ 49 w 237"/>
                <a:gd name="T97" fmla="*/ 154 h 184"/>
                <a:gd name="T98" fmla="*/ 38 w 237"/>
                <a:gd name="T99" fmla="*/ 165 h 184"/>
                <a:gd name="T100" fmla="*/ 29 w 237"/>
                <a:gd name="T101" fmla="*/ 184 h 184"/>
                <a:gd name="T102" fmla="*/ 27 w 237"/>
                <a:gd name="T103" fmla="*/ 178 h 184"/>
                <a:gd name="T104" fmla="*/ 26 w 237"/>
                <a:gd name="T105" fmla="*/ 169 h 184"/>
                <a:gd name="T106" fmla="*/ 17 w 237"/>
                <a:gd name="T107" fmla="*/ 162 h 184"/>
                <a:gd name="T108" fmla="*/ 10 w 237"/>
                <a:gd name="T109" fmla="*/ 152 h 184"/>
                <a:gd name="T110" fmla="*/ 9 w 237"/>
                <a:gd name="T111" fmla="*/ 144 h 184"/>
                <a:gd name="T112" fmla="*/ 0 w 237"/>
                <a:gd name="T113" fmla="*/ 133 h 184"/>
                <a:gd name="T114" fmla="*/ 2 w 237"/>
                <a:gd name="T115" fmla="*/ 127 h 184"/>
                <a:gd name="T116" fmla="*/ 0 w 237"/>
                <a:gd name="T117" fmla="*/ 118 h 184"/>
                <a:gd name="T118" fmla="*/ 1 w 237"/>
                <a:gd name="T119" fmla="*/ 102 h 184"/>
                <a:gd name="T120" fmla="*/ 5 w 237"/>
                <a:gd name="T121" fmla="*/ 98 h 184"/>
                <a:gd name="T122" fmla="*/ 14 w 237"/>
                <a:gd name="T123" fmla="*/ 77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7" h="184">
                  <a:moveTo>
                    <a:pt x="14" y="77"/>
                  </a:moveTo>
                  <a:lnTo>
                    <a:pt x="29" y="76"/>
                  </a:lnTo>
                  <a:lnTo>
                    <a:pt x="33" y="70"/>
                  </a:lnTo>
                  <a:lnTo>
                    <a:pt x="36" y="71"/>
                  </a:lnTo>
                  <a:lnTo>
                    <a:pt x="40" y="75"/>
                  </a:lnTo>
                  <a:lnTo>
                    <a:pt x="64" y="68"/>
                  </a:lnTo>
                  <a:lnTo>
                    <a:pt x="71" y="59"/>
                  </a:lnTo>
                  <a:lnTo>
                    <a:pt x="81" y="52"/>
                  </a:lnTo>
                  <a:lnTo>
                    <a:pt x="79" y="45"/>
                  </a:lnTo>
                  <a:lnTo>
                    <a:pt x="84" y="43"/>
                  </a:lnTo>
                  <a:lnTo>
                    <a:pt x="102" y="44"/>
                  </a:lnTo>
                  <a:lnTo>
                    <a:pt x="119" y="35"/>
                  </a:lnTo>
                  <a:lnTo>
                    <a:pt x="132" y="12"/>
                  </a:lnTo>
                  <a:lnTo>
                    <a:pt x="141" y="3"/>
                  </a:lnTo>
                  <a:lnTo>
                    <a:pt x="152" y="0"/>
                  </a:lnTo>
                  <a:lnTo>
                    <a:pt x="155" y="9"/>
                  </a:lnTo>
                  <a:lnTo>
                    <a:pt x="165" y="22"/>
                  </a:lnTo>
                  <a:lnTo>
                    <a:pt x="165" y="30"/>
                  </a:lnTo>
                  <a:lnTo>
                    <a:pt x="163" y="39"/>
                  </a:lnTo>
                  <a:lnTo>
                    <a:pt x="164" y="45"/>
                  </a:lnTo>
                  <a:lnTo>
                    <a:pt x="170" y="51"/>
                  </a:lnTo>
                  <a:lnTo>
                    <a:pt x="185" y="61"/>
                  </a:lnTo>
                  <a:lnTo>
                    <a:pt x="195" y="69"/>
                  </a:lnTo>
                  <a:lnTo>
                    <a:pt x="195" y="76"/>
                  </a:lnTo>
                  <a:lnTo>
                    <a:pt x="207" y="86"/>
                  </a:lnTo>
                  <a:lnTo>
                    <a:pt x="215" y="95"/>
                  </a:lnTo>
                  <a:lnTo>
                    <a:pt x="220" y="108"/>
                  </a:lnTo>
                  <a:lnTo>
                    <a:pt x="234" y="116"/>
                  </a:lnTo>
                  <a:lnTo>
                    <a:pt x="237" y="123"/>
                  </a:lnTo>
                  <a:lnTo>
                    <a:pt x="231" y="125"/>
                  </a:lnTo>
                  <a:lnTo>
                    <a:pt x="219" y="124"/>
                  </a:lnTo>
                  <a:lnTo>
                    <a:pt x="205" y="122"/>
                  </a:lnTo>
                  <a:lnTo>
                    <a:pt x="198" y="124"/>
                  </a:lnTo>
                  <a:lnTo>
                    <a:pt x="196" y="129"/>
                  </a:lnTo>
                  <a:lnTo>
                    <a:pt x="190" y="130"/>
                  </a:lnTo>
                  <a:lnTo>
                    <a:pt x="182" y="125"/>
                  </a:lnTo>
                  <a:lnTo>
                    <a:pt x="162" y="136"/>
                  </a:lnTo>
                  <a:lnTo>
                    <a:pt x="154" y="133"/>
                  </a:lnTo>
                  <a:lnTo>
                    <a:pt x="151" y="135"/>
                  </a:lnTo>
                  <a:lnTo>
                    <a:pt x="146" y="148"/>
                  </a:lnTo>
                  <a:lnTo>
                    <a:pt x="132" y="144"/>
                  </a:lnTo>
                  <a:lnTo>
                    <a:pt x="119" y="142"/>
                  </a:lnTo>
                  <a:lnTo>
                    <a:pt x="107" y="134"/>
                  </a:lnTo>
                  <a:lnTo>
                    <a:pt x="92" y="127"/>
                  </a:lnTo>
                  <a:lnTo>
                    <a:pt x="82" y="133"/>
                  </a:lnTo>
                  <a:lnTo>
                    <a:pt x="75" y="144"/>
                  </a:lnTo>
                  <a:lnTo>
                    <a:pt x="73" y="159"/>
                  </a:lnTo>
                  <a:lnTo>
                    <a:pt x="61" y="157"/>
                  </a:lnTo>
                  <a:lnTo>
                    <a:pt x="49" y="154"/>
                  </a:lnTo>
                  <a:lnTo>
                    <a:pt x="38" y="165"/>
                  </a:lnTo>
                  <a:lnTo>
                    <a:pt x="29" y="184"/>
                  </a:lnTo>
                  <a:lnTo>
                    <a:pt x="27" y="178"/>
                  </a:lnTo>
                  <a:lnTo>
                    <a:pt x="26" y="169"/>
                  </a:lnTo>
                  <a:lnTo>
                    <a:pt x="17" y="162"/>
                  </a:lnTo>
                  <a:lnTo>
                    <a:pt x="10" y="152"/>
                  </a:lnTo>
                  <a:lnTo>
                    <a:pt x="9" y="144"/>
                  </a:lnTo>
                  <a:lnTo>
                    <a:pt x="0" y="133"/>
                  </a:lnTo>
                  <a:lnTo>
                    <a:pt x="2" y="127"/>
                  </a:lnTo>
                  <a:lnTo>
                    <a:pt x="0" y="118"/>
                  </a:lnTo>
                  <a:lnTo>
                    <a:pt x="1" y="102"/>
                  </a:lnTo>
                  <a:lnTo>
                    <a:pt x="5" y="98"/>
                  </a:lnTo>
                  <a:lnTo>
                    <a:pt x="14" y="7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78" name="Freeform 35">
              <a:extLst>
                <a:ext uri="{FF2B5EF4-FFF2-40B4-BE49-F238E27FC236}">
                  <a16:creationId xmlns:a16="http://schemas.microsoft.com/office/drawing/2014/main" id="{5A103110-ADB9-4859-8925-3E551086B1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2942" y="1606710"/>
              <a:ext cx="48191" cy="28654"/>
            </a:xfrm>
            <a:custGeom>
              <a:avLst/>
              <a:gdLst>
                <a:gd name="T0" fmla="*/ 11 w 37"/>
                <a:gd name="T1" fmla="*/ 10 h 22"/>
                <a:gd name="T2" fmla="*/ 22 w 37"/>
                <a:gd name="T3" fmla="*/ 13 h 22"/>
                <a:gd name="T4" fmla="*/ 37 w 37"/>
                <a:gd name="T5" fmla="*/ 12 h 22"/>
                <a:gd name="T6" fmla="*/ 26 w 37"/>
                <a:gd name="T7" fmla="*/ 21 h 22"/>
                <a:gd name="T8" fmla="*/ 20 w 37"/>
                <a:gd name="T9" fmla="*/ 22 h 22"/>
                <a:gd name="T10" fmla="*/ 2 w 37"/>
                <a:gd name="T11" fmla="*/ 13 h 22"/>
                <a:gd name="T12" fmla="*/ 0 w 37"/>
                <a:gd name="T13" fmla="*/ 6 h 22"/>
                <a:gd name="T14" fmla="*/ 8 w 37"/>
                <a:gd name="T15" fmla="*/ 0 h 22"/>
                <a:gd name="T16" fmla="*/ 11 w 37"/>
                <a:gd name="T17" fmla="*/ 1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22">
                  <a:moveTo>
                    <a:pt x="11" y="10"/>
                  </a:moveTo>
                  <a:lnTo>
                    <a:pt x="22" y="13"/>
                  </a:lnTo>
                  <a:lnTo>
                    <a:pt x="37" y="12"/>
                  </a:lnTo>
                  <a:lnTo>
                    <a:pt x="26" y="21"/>
                  </a:lnTo>
                  <a:lnTo>
                    <a:pt x="20" y="22"/>
                  </a:lnTo>
                  <a:lnTo>
                    <a:pt x="2" y="13"/>
                  </a:lnTo>
                  <a:lnTo>
                    <a:pt x="0" y="6"/>
                  </a:lnTo>
                  <a:lnTo>
                    <a:pt x="8" y="0"/>
                  </a:lnTo>
                  <a:lnTo>
                    <a:pt x="11" y="10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79" name="Freeform 36">
              <a:extLst>
                <a:ext uri="{FF2B5EF4-FFF2-40B4-BE49-F238E27FC236}">
                  <a16:creationId xmlns:a16="http://schemas.microsoft.com/office/drawing/2014/main" id="{8D4E90CC-9564-4193-A7DE-552A24466C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3130" y="774438"/>
              <a:ext cx="1811722" cy="975543"/>
            </a:xfrm>
            <a:custGeom>
              <a:avLst/>
              <a:gdLst>
                <a:gd name="T0" fmla="*/ 5030 w 5699"/>
                <a:gd name="T1" fmla="*/ 189 h 3068"/>
                <a:gd name="T2" fmla="*/ 4486 w 5699"/>
                <a:gd name="T3" fmla="*/ 395 h 3068"/>
                <a:gd name="T4" fmla="*/ 4419 w 5699"/>
                <a:gd name="T5" fmla="*/ 225 h 3068"/>
                <a:gd name="T6" fmla="*/ 4392 w 5699"/>
                <a:gd name="T7" fmla="*/ 58 h 3068"/>
                <a:gd name="T8" fmla="*/ 5423 w 5699"/>
                <a:gd name="T9" fmla="*/ 7 h 3068"/>
                <a:gd name="T10" fmla="*/ 4022 w 5699"/>
                <a:gd name="T11" fmla="*/ 136 h 3068"/>
                <a:gd name="T12" fmla="*/ 3430 w 5699"/>
                <a:gd name="T13" fmla="*/ 261 h 3068"/>
                <a:gd name="T14" fmla="*/ 3861 w 5699"/>
                <a:gd name="T15" fmla="*/ 239 h 3068"/>
                <a:gd name="T16" fmla="*/ 3040 w 5699"/>
                <a:gd name="T17" fmla="*/ 281 h 3068"/>
                <a:gd name="T18" fmla="*/ 2702 w 5699"/>
                <a:gd name="T19" fmla="*/ 373 h 3068"/>
                <a:gd name="T20" fmla="*/ 3998 w 5699"/>
                <a:gd name="T21" fmla="*/ 378 h 3068"/>
                <a:gd name="T22" fmla="*/ 4259 w 5699"/>
                <a:gd name="T23" fmla="*/ 497 h 3068"/>
                <a:gd name="T24" fmla="*/ 3108 w 5699"/>
                <a:gd name="T25" fmla="*/ 415 h 3068"/>
                <a:gd name="T26" fmla="*/ 2781 w 5699"/>
                <a:gd name="T27" fmla="*/ 376 h 3068"/>
                <a:gd name="T28" fmla="*/ 3397 w 5699"/>
                <a:gd name="T29" fmla="*/ 466 h 3068"/>
                <a:gd name="T30" fmla="*/ 3741 w 5699"/>
                <a:gd name="T31" fmla="*/ 428 h 3068"/>
                <a:gd name="T32" fmla="*/ 2485 w 5699"/>
                <a:gd name="T33" fmla="*/ 522 h 3068"/>
                <a:gd name="T34" fmla="*/ 3658 w 5699"/>
                <a:gd name="T35" fmla="*/ 525 h 3068"/>
                <a:gd name="T36" fmla="*/ 3220 w 5699"/>
                <a:gd name="T37" fmla="*/ 713 h 3068"/>
                <a:gd name="T38" fmla="*/ 4363 w 5699"/>
                <a:gd name="T39" fmla="*/ 644 h 3068"/>
                <a:gd name="T40" fmla="*/ 4935 w 5699"/>
                <a:gd name="T41" fmla="*/ 1030 h 3068"/>
                <a:gd name="T42" fmla="*/ 4609 w 5699"/>
                <a:gd name="T43" fmla="*/ 1331 h 3068"/>
                <a:gd name="T44" fmla="*/ 3970 w 5699"/>
                <a:gd name="T45" fmla="*/ 1206 h 3068"/>
                <a:gd name="T46" fmla="*/ 4260 w 5699"/>
                <a:gd name="T47" fmla="*/ 820 h 3068"/>
                <a:gd name="T48" fmla="*/ 4081 w 5699"/>
                <a:gd name="T49" fmla="*/ 547 h 3068"/>
                <a:gd name="T50" fmla="*/ 3095 w 5699"/>
                <a:gd name="T51" fmla="*/ 573 h 3068"/>
                <a:gd name="T52" fmla="*/ 2829 w 5699"/>
                <a:gd name="T53" fmla="*/ 664 h 3068"/>
                <a:gd name="T54" fmla="*/ 2787 w 5699"/>
                <a:gd name="T55" fmla="*/ 885 h 3068"/>
                <a:gd name="T56" fmla="*/ 2450 w 5699"/>
                <a:gd name="T57" fmla="*/ 782 h 3068"/>
                <a:gd name="T58" fmla="*/ 3509 w 5699"/>
                <a:gd name="T59" fmla="*/ 917 h 3068"/>
                <a:gd name="T60" fmla="*/ 3972 w 5699"/>
                <a:gd name="T61" fmla="*/ 981 h 3068"/>
                <a:gd name="T62" fmla="*/ 2985 w 5699"/>
                <a:gd name="T63" fmla="*/ 1402 h 3068"/>
                <a:gd name="T64" fmla="*/ 3247 w 5699"/>
                <a:gd name="T65" fmla="*/ 1941 h 3068"/>
                <a:gd name="T66" fmla="*/ 3750 w 5699"/>
                <a:gd name="T67" fmla="*/ 1783 h 3068"/>
                <a:gd name="T68" fmla="*/ 4337 w 5699"/>
                <a:gd name="T69" fmla="*/ 1477 h 3068"/>
                <a:gd name="T70" fmla="*/ 4740 w 5699"/>
                <a:gd name="T71" fmla="*/ 1945 h 3068"/>
                <a:gd name="T72" fmla="*/ 4219 w 5699"/>
                <a:gd name="T73" fmla="*/ 2347 h 3068"/>
                <a:gd name="T74" fmla="*/ 4164 w 5699"/>
                <a:gd name="T75" fmla="*/ 2685 h 3068"/>
                <a:gd name="T76" fmla="*/ 4034 w 5699"/>
                <a:gd name="T77" fmla="*/ 2767 h 3068"/>
                <a:gd name="T78" fmla="*/ 3533 w 5699"/>
                <a:gd name="T79" fmla="*/ 2788 h 3068"/>
                <a:gd name="T80" fmla="*/ 2912 w 5699"/>
                <a:gd name="T81" fmla="*/ 3023 h 3068"/>
                <a:gd name="T82" fmla="*/ 2877 w 5699"/>
                <a:gd name="T83" fmla="*/ 2695 h 3068"/>
                <a:gd name="T84" fmla="*/ 2569 w 5699"/>
                <a:gd name="T85" fmla="*/ 2536 h 3068"/>
                <a:gd name="T86" fmla="*/ 1634 w 5699"/>
                <a:gd name="T87" fmla="*/ 2455 h 3068"/>
                <a:gd name="T88" fmla="*/ 264 w 5699"/>
                <a:gd name="T89" fmla="*/ 2180 h 3068"/>
                <a:gd name="T90" fmla="*/ 224 w 5699"/>
                <a:gd name="T91" fmla="*/ 1603 h 3068"/>
                <a:gd name="T92" fmla="*/ 1272 w 5699"/>
                <a:gd name="T93" fmla="*/ 843 h 3068"/>
                <a:gd name="T94" fmla="*/ 1966 w 5699"/>
                <a:gd name="T95" fmla="*/ 852 h 3068"/>
                <a:gd name="T96" fmla="*/ 2624 w 5699"/>
                <a:gd name="T97" fmla="*/ 901 h 3068"/>
                <a:gd name="T98" fmla="*/ 3256 w 5699"/>
                <a:gd name="T99" fmla="*/ 947 h 3068"/>
                <a:gd name="T100" fmla="*/ 3159 w 5699"/>
                <a:gd name="T101" fmla="*/ 875 h 3068"/>
                <a:gd name="T102" fmla="*/ 4305 w 5699"/>
                <a:gd name="T103" fmla="*/ 930 h 3068"/>
                <a:gd name="T104" fmla="*/ 3839 w 5699"/>
                <a:gd name="T105" fmla="*/ 1271 h 3068"/>
                <a:gd name="T106" fmla="*/ 3588 w 5699"/>
                <a:gd name="T107" fmla="*/ 1392 h 3068"/>
                <a:gd name="T108" fmla="*/ 3812 w 5699"/>
                <a:gd name="T109" fmla="*/ 1392 h 3068"/>
                <a:gd name="T110" fmla="*/ 4766 w 5699"/>
                <a:gd name="T111" fmla="*/ 2387 h 3068"/>
                <a:gd name="T112" fmla="*/ 4866 w 5699"/>
                <a:gd name="T113" fmla="*/ 2637 h 3068"/>
                <a:gd name="T114" fmla="*/ 4753 w 5699"/>
                <a:gd name="T115" fmla="*/ 2312 h 3068"/>
                <a:gd name="T116" fmla="*/ 117 w 5699"/>
                <a:gd name="T117" fmla="*/ 2327 h 3068"/>
                <a:gd name="T118" fmla="*/ 4287 w 5699"/>
                <a:gd name="T119" fmla="*/ 2375 h 30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699" h="3068">
                  <a:moveTo>
                    <a:pt x="5423" y="7"/>
                  </a:moveTo>
                  <a:lnTo>
                    <a:pt x="5539" y="10"/>
                  </a:lnTo>
                  <a:lnTo>
                    <a:pt x="5629" y="17"/>
                  </a:lnTo>
                  <a:lnTo>
                    <a:pt x="5699" y="30"/>
                  </a:lnTo>
                  <a:lnTo>
                    <a:pt x="5686" y="44"/>
                  </a:lnTo>
                  <a:lnTo>
                    <a:pt x="5555" y="66"/>
                  </a:lnTo>
                  <a:lnTo>
                    <a:pt x="5436" y="76"/>
                  </a:lnTo>
                  <a:lnTo>
                    <a:pt x="5383" y="88"/>
                  </a:lnTo>
                  <a:lnTo>
                    <a:pt x="5484" y="87"/>
                  </a:lnTo>
                  <a:lnTo>
                    <a:pt x="5346" y="120"/>
                  </a:lnTo>
                  <a:lnTo>
                    <a:pt x="5257" y="135"/>
                  </a:lnTo>
                  <a:lnTo>
                    <a:pt x="5136" y="180"/>
                  </a:lnTo>
                  <a:lnTo>
                    <a:pt x="5030" y="189"/>
                  </a:lnTo>
                  <a:lnTo>
                    <a:pt x="4989" y="201"/>
                  </a:lnTo>
                  <a:lnTo>
                    <a:pt x="4840" y="207"/>
                  </a:lnTo>
                  <a:lnTo>
                    <a:pt x="4898" y="214"/>
                  </a:lnTo>
                  <a:lnTo>
                    <a:pt x="4856" y="224"/>
                  </a:lnTo>
                  <a:lnTo>
                    <a:pt x="4869" y="253"/>
                  </a:lnTo>
                  <a:lnTo>
                    <a:pt x="4804" y="273"/>
                  </a:lnTo>
                  <a:lnTo>
                    <a:pt x="4714" y="290"/>
                  </a:lnTo>
                  <a:lnTo>
                    <a:pt x="4669" y="313"/>
                  </a:lnTo>
                  <a:lnTo>
                    <a:pt x="4584" y="331"/>
                  </a:lnTo>
                  <a:lnTo>
                    <a:pt x="4578" y="345"/>
                  </a:lnTo>
                  <a:lnTo>
                    <a:pt x="4664" y="343"/>
                  </a:lnTo>
                  <a:lnTo>
                    <a:pt x="4652" y="357"/>
                  </a:lnTo>
                  <a:lnTo>
                    <a:pt x="4486" y="395"/>
                  </a:lnTo>
                  <a:lnTo>
                    <a:pt x="4373" y="377"/>
                  </a:lnTo>
                  <a:lnTo>
                    <a:pt x="4218" y="387"/>
                  </a:lnTo>
                  <a:lnTo>
                    <a:pt x="4152" y="380"/>
                  </a:lnTo>
                  <a:lnTo>
                    <a:pt x="4062" y="376"/>
                  </a:lnTo>
                  <a:lnTo>
                    <a:pt x="4086" y="347"/>
                  </a:lnTo>
                  <a:lnTo>
                    <a:pt x="4191" y="333"/>
                  </a:lnTo>
                  <a:lnTo>
                    <a:pt x="4212" y="290"/>
                  </a:lnTo>
                  <a:lnTo>
                    <a:pt x="4246" y="285"/>
                  </a:lnTo>
                  <a:lnTo>
                    <a:pt x="4349" y="311"/>
                  </a:lnTo>
                  <a:lnTo>
                    <a:pt x="4322" y="273"/>
                  </a:lnTo>
                  <a:lnTo>
                    <a:pt x="4256" y="262"/>
                  </a:lnTo>
                  <a:lnTo>
                    <a:pt x="4319" y="239"/>
                  </a:lnTo>
                  <a:lnTo>
                    <a:pt x="4419" y="225"/>
                  </a:lnTo>
                  <a:lnTo>
                    <a:pt x="4453" y="206"/>
                  </a:lnTo>
                  <a:lnTo>
                    <a:pt x="4411" y="184"/>
                  </a:lnTo>
                  <a:lnTo>
                    <a:pt x="4423" y="155"/>
                  </a:lnTo>
                  <a:lnTo>
                    <a:pt x="4548" y="157"/>
                  </a:lnTo>
                  <a:lnTo>
                    <a:pt x="4578" y="163"/>
                  </a:lnTo>
                  <a:lnTo>
                    <a:pt x="4673" y="143"/>
                  </a:lnTo>
                  <a:lnTo>
                    <a:pt x="4575" y="137"/>
                  </a:lnTo>
                  <a:lnTo>
                    <a:pt x="4408" y="140"/>
                  </a:lnTo>
                  <a:lnTo>
                    <a:pt x="4347" y="122"/>
                  </a:lnTo>
                  <a:lnTo>
                    <a:pt x="4335" y="100"/>
                  </a:lnTo>
                  <a:lnTo>
                    <a:pt x="4300" y="85"/>
                  </a:lnTo>
                  <a:lnTo>
                    <a:pt x="4312" y="67"/>
                  </a:lnTo>
                  <a:lnTo>
                    <a:pt x="4392" y="58"/>
                  </a:lnTo>
                  <a:lnTo>
                    <a:pt x="4447" y="56"/>
                  </a:lnTo>
                  <a:lnTo>
                    <a:pt x="4547" y="48"/>
                  </a:lnTo>
                  <a:lnTo>
                    <a:pt x="4636" y="29"/>
                  </a:lnTo>
                  <a:lnTo>
                    <a:pt x="4688" y="32"/>
                  </a:lnTo>
                  <a:lnTo>
                    <a:pt x="4721" y="46"/>
                  </a:lnTo>
                  <a:lnTo>
                    <a:pt x="4787" y="19"/>
                  </a:lnTo>
                  <a:lnTo>
                    <a:pt x="4855" y="11"/>
                  </a:lnTo>
                  <a:lnTo>
                    <a:pt x="4941" y="5"/>
                  </a:lnTo>
                  <a:lnTo>
                    <a:pt x="5080" y="3"/>
                  </a:lnTo>
                  <a:lnTo>
                    <a:pt x="5098" y="9"/>
                  </a:lnTo>
                  <a:lnTo>
                    <a:pt x="5236" y="0"/>
                  </a:lnTo>
                  <a:lnTo>
                    <a:pt x="5329" y="3"/>
                  </a:lnTo>
                  <a:lnTo>
                    <a:pt x="5423" y="7"/>
                  </a:lnTo>
                  <a:moveTo>
                    <a:pt x="4382" y="188"/>
                  </a:moveTo>
                  <a:lnTo>
                    <a:pt x="4419" y="206"/>
                  </a:lnTo>
                  <a:lnTo>
                    <a:pt x="4335" y="223"/>
                  </a:lnTo>
                  <a:lnTo>
                    <a:pt x="4199" y="267"/>
                  </a:lnTo>
                  <a:lnTo>
                    <a:pt x="4110" y="271"/>
                  </a:lnTo>
                  <a:lnTo>
                    <a:pt x="4018" y="263"/>
                  </a:lnTo>
                  <a:lnTo>
                    <a:pt x="3994" y="240"/>
                  </a:lnTo>
                  <a:lnTo>
                    <a:pt x="4019" y="219"/>
                  </a:lnTo>
                  <a:lnTo>
                    <a:pt x="4074" y="204"/>
                  </a:lnTo>
                  <a:lnTo>
                    <a:pt x="3987" y="204"/>
                  </a:lnTo>
                  <a:lnTo>
                    <a:pt x="3958" y="185"/>
                  </a:lnTo>
                  <a:lnTo>
                    <a:pt x="3959" y="160"/>
                  </a:lnTo>
                  <a:lnTo>
                    <a:pt x="4022" y="136"/>
                  </a:lnTo>
                  <a:lnTo>
                    <a:pt x="4075" y="119"/>
                  </a:lnTo>
                  <a:lnTo>
                    <a:pt x="4127" y="116"/>
                  </a:lnTo>
                  <a:lnTo>
                    <a:pt x="4123" y="103"/>
                  </a:lnTo>
                  <a:lnTo>
                    <a:pt x="4233" y="101"/>
                  </a:lnTo>
                  <a:lnTo>
                    <a:pt x="4257" y="129"/>
                  </a:lnTo>
                  <a:lnTo>
                    <a:pt x="4321" y="141"/>
                  </a:lnTo>
                  <a:lnTo>
                    <a:pt x="4386" y="151"/>
                  </a:lnTo>
                  <a:lnTo>
                    <a:pt x="4382" y="188"/>
                  </a:lnTo>
                  <a:moveTo>
                    <a:pt x="3671" y="265"/>
                  </a:moveTo>
                  <a:lnTo>
                    <a:pt x="3660" y="289"/>
                  </a:lnTo>
                  <a:lnTo>
                    <a:pt x="3589" y="283"/>
                  </a:lnTo>
                  <a:lnTo>
                    <a:pt x="3534" y="263"/>
                  </a:lnTo>
                  <a:lnTo>
                    <a:pt x="3430" y="261"/>
                  </a:lnTo>
                  <a:lnTo>
                    <a:pt x="3498" y="244"/>
                  </a:lnTo>
                  <a:lnTo>
                    <a:pt x="3458" y="230"/>
                  </a:lnTo>
                  <a:lnTo>
                    <a:pt x="3484" y="208"/>
                  </a:lnTo>
                  <a:lnTo>
                    <a:pt x="3567" y="216"/>
                  </a:lnTo>
                  <a:lnTo>
                    <a:pt x="3669" y="237"/>
                  </a:lnTo>
                  <a:lnTo>
                    <a:pt x="3671" y="265"/>
                  </a:lnTo>
                  <a:moveTo>
                    <a:pt x="3857" y="280"/>
                  </a:moveTo>
                  <a:lnTo>
                    <a:pt x="3771" y="293"/>
                  </a:lnTo>
                  <a:lnTo>
                    <a:pt x="3748" y="279"/>
                  </a:lnTo>
                  <a:lnTo>
                    <a:pt x="3753" y="257"/>
                  </a:lnTo>
                  <a:lnTo>
                    <a:pt x="3779" y="233"/>
                  </a:lnTo>
                  <a:lnTo>
                    <a:pt x="3838" y="235"/>
                  </a:lnTo>
                  <a:lnTo>
                    <a:pt x="3861" y="239"/>
                  </a:lnTo>
                  <a:lnTo>
                    <a:pt x="3894" y="259"/>
                  </a:lnTo>
                  <a:lnTo>
                    <a:pt x="3857" y="280"/>
                  </a:lnTo>
                  <a:moveTo>
                    <a:pt x="3231" y="248"/>
                  </a:moveTo>
                  <a:lnTo>
                    <a:pt x="3157" y="260"/>
                  </a:lnTo>
                  <a:lnTo>
                    <a:pt x="3078" y="260"/>
                  </a:lnTo>
                  <a:lnTo>
                    <a:pt x="3090" y="251"/>
                  </a:lnTo>
                  <a:lnTo>
                    <a:pt x="3163" y="234"/>
                  </a:lnTo>
                  <a:lnTo>
                    <a:pt x="3185" y="237"/>
                  </a:lnTo>
                  <a:lnTo>
                    <a:pt x="3231" y="248"/>
                  </a:lnTo>
                  <a:moveTo>
                    <a:pt x="3135" y="302"/>
                  </a:moveTo>
                  <a:lnTo>
                    <a:pt x="3021" y="319"/>
                  </a:lnTo>
                  <a:lnTo>
                    <a:pt x="2975" y="300"/>
                  </a:lnTo>
                  <a:lnTo>
                    <a:pt x="3040" y="281"/>
                  </a:lnTo>
                  <a:lnTo>
                    <a:pt x="3119" y="275"/>
                  </a:lnTo>
                  <a:lnTo>
                    <a:pt x="3175" y="284"/>
                  </a:lnTo>
                  <a:lnTo>
                    <a:pt x="3135" y="302"/>
                  </a:lnTo>
                  <a:moveTo>
                    <a:pt x="3917" y="312"/>
                  </a:moveTo>
                  <a:lnTo>
                    <a:pt x="3893" y="314"/>
                  </a:lnTo>
                  <a:lnTo>
                    <a:pt x="3806" y="310"/>
                  </a:lnTo>
                  <a:lnTo>
                    <a:pt x="3812" y="294"/>
                  </a:lnTo>
                  <a:lnTo>
                    <a:pt x="3909" y="294"/>
                  </a:lnTo>
                  <a:lnTo>
                    <a:pt x="3930" y="305"/>
                  </a:lnTo>
                  <a:lnTo>
                    <a:pt x="3917" y="312"/>
                  </a:lnTo>
                  <a:moveTo>
                    <a:pt x="2839" y="305"/>
                  </a:moveTo>
                  <a:lnTo>
                    <a:pt x="2768" y="351"/>
                  </a:lnTo>
                  <a:lnTo>
                    <a:pt x="2702" y="373"/>
                  </a:lnTo>
                  <a:lnTo>
                    <a:pt x="2651" y="376"/>
                  </a:lnTo>
                  <a:lnTo>
                    <a:pt x="2523" y="402"/>
                  </a:lnTo>
                  <a:lnTo>
                    <a:pt x="2430" y="412"/>
                  </a:lnTo>
                  <a:lnTo>
                    <a:pt x="2382" y="398"/>
                  </a:lnTo>
                  <a:lnTo>
                    <a:pt x="2382" y="398"/>
                  </a:lnTo>
                  <a:lnTo>
                    <a:pt x="2530" y="352"/>
                  </a:lnTo>
                  <a:lnTo>
                    <a:pt x="2686" y="313"/>
                  </a:lnTo>
                  <a:lnTo>
                    <a:pt x="2760" y="314"/>
                  </a:lnTo>
                  <a:lnTo>
                    <a:pt x="2839" y="305"/>
                  </a:lnTo>
                  <a:moveTo>
                    <a:pt x="3847" y="338"/>
                  </a:moveTo>
                  <a:lnTo>
                    <a:pt x="3880" y="358"/>
                  </a:lnTo>
                  <a:lnTo>
                    <a:pt x="3977" y="357"/>
                  </a:lnTo>
                  <a:lnTo>
                    <a:pt x="3998" y="378"/>
                  </a:lnTo>
                  <a:lnTo>
                    <a:pt x="3963" y="401"/>
                  </a:lnTo>
                  <a:lnTo>
                    <a:pt x="4005" y="415"/>
                  </a:lnTo>
                  <a:lnTo>
                    <a:pt x="4022" y="430"/>
                  </a:lnTo>
                  <a:lnTo>
                    <a:pt x="4087" y="433"/>
                  </a:lnTo>
                  <a:lnTo>
                    <a:pt x="4155" y="438"/>
                  </a:lnTo>
                  <a:lnTo>
                    <a:pt x="4247" y="425"/>
                  </a:lnTo>
                  <a:lnTo>
                    <a:pt x="4354" y="419"/>
                  </a:lnTo>
                  <a:lnTo>
                    <a:pt x="4431" y="424"/>
                  </a:lnTo>
                  <a:lnTo>
                    <a:pt x="4463" y="448"/>
                  </a:lnTo>
                  <a:lnTo>
                    <a:pt x="4451" y="474"/>
                  </a:lnTo>
                  <a:lnTo>
                    <a:pt x="4405" y="491"/>
                  </a:lnTo>
                  <a:lnTo>
                    <a:pt x="4317" y="505"/>
                  </a:lnTo>
                  <a:lnTo>
                    <a:pt x="4259" y="497"/>
                  </a:lnTo>
                  <a:lnTo>
                    <a:pt x="4104" y="507"/>
                  </a:lnTo>
                  <a:lnTo>
                    <a:pt x="3998" y="509"/>
                  </a:lnTo>
                  <a:lnTo>
                    <a:pt x="3924" y="501"/>
                  </a:lnTo>
                  <a:lnTo>
                    <a:pt x="3810" y="480"/>
                  </a:lnTo>
                  <a:lnTo>
                    <a:pt x="3828" y="444"/>
                  </a:lnTo>
                  <a:lnTo>
                    <a:pt x="3855" y="413"/>
                  </a:lnTo>
                  <a:lnTo>
                    <a:pt x="3834" y="386"/>
                  </a:lnTo>
                  <a:lnTo>
                    <a:pt x="3740" y="378"/>
                  </a:lnTo>
                  <a:lnTo>
                    <a:pt x="3704" y="359"/>
                  </a:lnTo>
                  <a:lnTo>
                    <a:pt x="3751" y="334"/>
                  </a:lnTo>
                  <a:lnTo>
                    <a:pt x="3847" y="338"/>
                  </a:lnTo>
                  <a:moveTo>
                    <a:pt x="3116" y="393"/>
                  </a:moveTo>
                  <a:lnTo>
                    <a:pt x="3108" y="415"/>
                  </a:lnTo>
                  <a:lnTo>
                    <a:pt x="3165" y="405"/>
                  </a:lnTo>
                  <a:lnTo>
                    <a:pt x="3214" y="408"/>
                  </a:lnTo>
                  <a:lnTo>
                    <a:pt x="3186" y="439"/>
                  </a:lnTo>
                  <a:lnTo>
                    <a:pt x="3120" y="469"/>
                  </a:lnTo>
                  <a:lnTo>
                    <a:pt x="2937" y="479"/>
                  </a:lnTo>
                  <a:lnTo>
                    <a:pt x="2775" y="507"/>
                  </a:lnTo>
                  <a:lnTo>
                    <a:pt x="2696" y="508"/>
                  </a:lnTo>
                  <a:lnTo>
                    <a:pt x="2716" y="487"/>
                  </a:lnTo>
                  <a:lnTo>
                    <a:pt x="2856" y="459"/>
                  </a:lnTo>
                  <a:lnTo>
                    <a:pt x="2618" y="466"/>
                  </a:lnTo>
                  <a:lnTo>
                    <a:pt x="2563" y="455"/>
                  </a:lnTo>
                  <a:lnTo>
                    <a:pt x="2712" y="393"/>
                  </a:lnTo>
                  <a:lnTo>
                    <a:pt x="2781" y="376"/>
                  </a:lnTo>
                  <a:lnTo>
                    <a:pt x="2894" y="397"/>
                  </a:lnTo>
                  <a:lnTo>
                    <a:pt x="2935" y="434"/>
                  </a:lnTo>
                  <a:lnTo>
                    <a:pt x="3017" y="439"/>
                  </a:lnTo>
                  <a:lnTo>
                    <a:pt x="3020" y="379"/>
                  </a:lnTo>
                  <a:lnTo>
                    <a:pt x="3094" y="356"/>
                  </a:lnTo>
                  <a:lnTo>
                    <a:pt x="3136" y="364"/>
                  </a:lnTo>
                  <a:lnTo>
                    <a:pt x="3116" y="393"/>
                  </a:lnTo>
                  <a:moveTo>
                    <a:pt x="3634" y="361"/>
                  </a:moveTo>
                  <a:lnTo>
                    <a:pt x="3639" y="390"/>
                  </a:lnTo>
                  <a:lnTo>
                    <a:pt x="3605" y="422"/>
                  </a:lnTo>
                  <a:lnTo>
                    <a:pt x="3531" y="469"/>
                  </a:lnTo>
                  <a:lnTo>
                    <a:pt x="3440" y="476"/>
                  </a:lnTo>
                  <a:lnTo>
                    <a:pt x="3397" y="466"/>
                  </a:lnTo>
                  <a:lnTo>
                    <a:pt x="3440" y="428"/>
                  </a:lnTo>
                  <a:lnTo>
                    <a:pt x="3353" y="433"/>
                  </a:lnTo>
                  <a:lnTo>
                    <a:pt x="3406" y="385"/>
                  </a:lnTo>
                  <a:lnTo>
                    <a:pt x="3457" y="387"/>
                  </a:lnTo>
                  <a:lnTo>
                    <a:pt x="3555" y="366"/>
                  </a:lnTo>
                  <a:lnTo>
                    <a:pt x="3621" y="369"/>
                  </a:lnTo>
                  <a:lnTo>
                    <a:pt x="3634" y="361"/>
                  </a:lnTo>
                  <a:moveTo>
                    <a:pt x="3759" y="471"/>
                  </a:moveTo>
                  <a:lnTo>
                    <a:pt x="3706" y="496"/>
                  </a:lnTo>
                  <a:lnTo>
                    <a:pt x="3637" y="491"/>
                  </a:lnTo>
                  <a:lnTo>
                    <a:pt x="3593" y="474"/>
                  </a:lnTo>
                  <a:lnTo>
                    <a:pt x="3651" y="445"/>
                  </a:lnTo>
                  <a:lnTo>
                    <a:pt x="3741" y="428"/>
                  </a:lnTo>
                  <a:lnTo>
                    <a:pt x="3762" y="450"/>
                  </a:lnTo>
                  <a:lnTo>
                    <a:pt x="3759" y="471"/>
                  </a:lnTo>
                  <a:moveTo>
                    <a:pt x="2102" y="711"/>
                  </a:moveTo>
                  <a:lnTo>
                    <a:pt x="1922" y="744"/>
                  </a:lnTo>
                  <a:lnTo>
                    <a:pt x="1931" y="714"/>
                  </a:lnTo>
                  <a:lnTo>
                    <a:pt x="1854" y="677"/>
                  </a:lnTo>
                  <a:lnTo>
                    <a:pt x="1914" y="648"/>
                  </a:lnTo>
                  <a:lnTo>
                    <a:pt x="2013" y="599"/>
                  </a:lnTo>
                  <a:lnTo>
                    <a:pt x="2115" y="555"/>
                  </a:lnTo>
                  <a:lnTo>
                    <a:pt x="2118" y="515"/>
                  </a:lnTo>
                  <a:lnTo>
                    <a:pt x="2304" y="505"/>
                  </a:lnTo>
                  <a:lnTo>
                    <a:pt x="2359" y="518"/>
                  </a:lnTo>
                  <a:lnTo>
                    <a:pt x="2485" y="522"/>
                  </a:lnTo>
                  <a:lnTo>
                    <a:pt x="2511" y="541"/>
                  </a:lnTo>
                  <a:lnTo>
                    <a:pt x="2532" y="569"/>
                  </a:lnTo>
                  <a:lnTo>
                    <a:pt x="2446" y="586"/>
                  </a:lnTo>
                  <a:lnTo>
                    <a:pt x="2261" y="633"/>
                  </a:lnTo>
                  <a:lnTo>
                    <a:pt x="2138" y="681"/>
                  </a:lnTo>
                  <a:lnTo>
                    <a:pt x="2102" y="711"/>
                  </a:lnTo>
                  <a:moveTo>
                    <a:pt x="3636" y="616"/>
                  </a:moveTo>
                  <a:lnTo>
                    <a:pt x="3531" y="667"/>
                  </a:lnTo>
                  <a:lnTo>
                    <a:pt x="3474" y="664"/>
                  </a:lnTo>
                  <a:lnTo>
                    <a:pt x="3499" y="605"/>
                  </a:lnTo>
                  <a:lnTo>
                    <a:pt x="3534" y="571"/>
                  </a:lnTo>
                  <a:lnTo>
                    <a:pt x="3589" y="543"/>
                  </a:lnTo>
                  <a:lnTo>
                    <a:pt x="3658" y="525"/>
                  </a:lnTo>
                  <a:lnTo>
                    <a:pt x="3762" y="528"/>
                  </a:lnTo>
                  <a:lnTo>
                    <a:pt x="3844" y="544"/>
                  </a:lnTo>
                  <a:lnTo>
                    <a:pt x="3710" y="603"/>
                  </a:lnTo>
                  <a:lnTo>
                    <a:pt x="3636" y="616"/>
                  </a:lnTo>
                  <a:moveTo>
                    <a:pt x="3338" y="545"/>
                  </a:moveTo>
                  <a:lnTo>
                    <a:pt x="3385" y="558"/>
                  </a:lnTo>
                  <a:lnTo>
                    <a:pt x="3485" y="550"/>
                  </a:lnTo>
                  <a:lnTo>
                    <a:pt x="3479" y="569"/>
                  </a:lnTo>
                  <a:lnTo>
                    <a:pt x="3398" y="601"/>
                  </a:lnTo>
                  <a:lnTo>
                    <a:pt x="3448" y="630"/>
                  </a:lnTo>
                  <a:lnTo>
                    <a:pt x="3378" y="692"/>
                  </a:lnTo>
                  <a:lnTo>
                    <a:pt x="3265" y="718"/>
                  </a:lnTo>
                  <a:lnTo>
                    <a:pt x="3220" y="713"/>
                  </a:lnTo>
                  <a:lnTo>
                    <a:pt x="3210" y="686"/>
                  </a:lnTo>
                  <a:lnTo>
                    <a:pt x="3133" y="634"/>
                  </a:lnTo>
                  <a:lnTo>
                    <a:pt x="3157" y="612"/>
                  </a:lnTo>
                  <a:lnTo>
                    <a:pt x="3254" y="620"/>
                  </a:lnTo>
                  <a:lnTo>
                    <a:pt x="3243" y="577"/>
                  </a:lnTo>
                  <a:lnTo>
                    <a:pt x="3338" y="545"/>
                  </a:lnTo>
                  <a:moveTo>
                    <a:pt x="4004" y="590"/>
                  </a:moveTo>
                  <a:lnTo>
                    <a:pt x="4008" y="632"/>
                  </a:lnTo>
                  <a:lnTo>
                    <a:pt x="4104" y="578"/>
                  </a:lnTo>
                  <a:lnTo>
                    <a:pt x="4258" y="551"/>
                  </a:lnTo>
                  <a:lnTo>
                    <a:pt x="4288" y="620"/>
                  </a:lnTo>
                  <a:lnTo>
                    <a:pt x="4244" y="664"/>
                  </a:lnTo>
                  <a:lnTo>
                    <a:pt x="4363" y="644"/>
                  </a:lnTo>
                  <a:lnTo>
                    <a:pt x="4434" y="618"/>
                  </a:lnTo>
                  <a:lnTo>
                    <a:pt x="4523" y="652"/>
                  </a:lnTo>
                  <a:lnTo>
                    <a:pt x="4571" y="684"/>
                  </a:lnTo>
                  <a:lnTo>
                    <a:pt x="4556" y="714"/>
                  </a:lnTo>
                  <a:lnTo>
                    <a:pt x="4665" y="699"/>
                  </a:lnTo>
                  <a:lnTo>
                    <a:pt x="4689" y="743"/>
                  </a:lnTo>
                  <a:lnTo>
                    <a:pt x="4799" y="771"/>
                  </a:lnTo>
                  <a:lnTo>
                    <a:pt x="4828" y="799"/>
                  </a:lnTo>
                  <a:lnTo>
                    <a:pt x="4836" y="866"/>
                  </a:lnTo>
                  <a:lnTo>
                    <a:pt x="4715" y="899"/>
                  </a:lnTo>
                  <a:lnTo>
                    <a:pt x="4815" y="946"/>
                  </a:lnTo>
                  <a:lnTo>
                    <a:pt x="4893" y="962"/>
                  </a:lnTo>
                  <a:lnTo>
                    <a:pt x="4935" y="1030"/>
                  </a:lnTo>
                  <a:lnTo>
                    <a:pt x="5020" y="1035"/>
                  </a:lnTo>
                  <a:lnTo>
                    <a:pt x="4975" y="1087"/>
                  </a:lnTo>
                  <a:lnTo>
                    <a:pt x="4828" y="1174"/>
                  </a:lnTo>
                  <a:lnTo>
                    <a:pt x="4776" y="1142"/>
                  </a:lnTo>
                  <a:lnTo>
                    <a:pt x="4727" y="1070"/>
                  </a:lnTo>
                  <a:lnTo>
                    <a:pt x="4649" y="1079"/>
                  </a:lnTo>
                  <a:lnTo>
                    <a:pt x="4617" y="1122"/>
                  </a:lnTo>
                  <a:lnTo>
                    <a:pt x="4652" y="1166"/>
                  </a:lnTo>
                  <a:lnTo>
                    <a:pt x="4710" y="1201"/>
                  </a:lnTo>
                  <a:lnTo>
                    <a:pt x="4723" y="1221"/>
                  </a:lnTo>
                  <a:lnTo>
                    <a:pt x="4721" y="1296"/>
                  </a:lnTo>
                  <a:lnTo>
                    <a:pt x="4672" y="1352"/>
                  </a:lnTo>
                  <a:lnTo>
                    <a:pt x="4609" y="1331"/>
                  </a:lnTo>
                  <a:lnTo>
                    <a:pt x="4496" y="1269"/>
                  </a:lnTo>
                  <a:lnTo>
                    <a:pt x="4542" y="1335"/>
                  </a:lnTo>
                  <a:lnTo>
                    <a:pt x="4579" y="1382"/>
                  </a:lnTo>
                  <a:lnTo>
                    <a:pt x="4575" y="1409"/>
                  </a:lnTo>
                  <a:lnTo>
                    <a:pt x="4431" y="1378"/>
                  </a:lnTo>
                  <a:lnTo>
                    <a:pt x="4330" y="1333"/>
                  </a:lnTo>
                  <a:lnTo>
                    <a:pt x="4281" y="1296"/>
                  </a:lnTo>
                  <a:lnTo>
                    <a:pt x="4313" y="1274"/>
                  </a:lnTo>
                  <a:lnTo>
                    <a:pt x="4250" y="1235"/>
                  </a:lnTo>
                  <a:lnTo>
                    <a:pt x="4189" y="1198"/>
                  </a:lnTo>
                  <a:lnTo>
                    <a:pt x="4176" y="1220"/>
                  </a:lnTo>
                  <a:lnTo>
                    <a:pt x="4002" y="1232"/>
                  </a:lnTo>
                  <a:lnTo>
                    <a:pt x="3970" y="1206"/>
                  </a:lnTo>
                  <a:lnTo>
                    <a:pt x="4044" y="1151"/>
                  </a:lnTo>
                  <a:lnTo>
                    <a:pt x="4152" y="1149"/>
                  </a:lnTo>
                  <a:lnTo>
                    <a:pt x="4275" y="1140"/>
                  </a:lnTo>
                  <a:lnTo>
                    <a:pt x="4273" y="1113"/>
                  </a:lnTo>
                  <a:lnTo>
                    <a:pt x="4317" y="1076"/>
                  </a:lnTo>
                  <a:lnTo>
                    <a:pt x="4435" y="1004"/>
                  </a:lnTo>
                  <a:lnTo>
                    <a:pt x="4441" y="971"/>
                  </a:lnTo>
                  <a:lnTo>
                    <a:pt x="4436" y="946"/>
                  </a:lnTo>
                  <a:lnTo>
                    <a:pt x="4376" y="911"/>
                  </a:lnTo>
                  <a:lnTo>
                    <a:pt x="4282" y="887"/>
                  </a:lnTo>
                  <a:lnTo>
                    <a:pt x="4330" y="868"/>
                  </a:lnTo>
                  <a:lnTo>
                    <a:pt x="4305" y="824"/>
                  </a:lnTo>
                  <a:lnTo>
                    <a:pt x="4260" y="820"/>
                  </a:lnTo>
                  <a:lnTo>
                    <a:pt x="4235" y="796"/>
                  </a:lnTo>
                  <a:lnTo>
                    <a:pt x="4191" y="817"/>
                  </a:lnTo>
                  <a:lnTo>
                    <a:pt x="4086" y="826"/>
                  </a:lnTo>
                  <a:lnTo>
                    <a:pt x="3902" y="810"/>
                  </a:lnTo>
                  <a:lnTo>
                    <a:pt x="3805" y="789"/>
                  </a:lnTo>
                  <a:lnTo>
                    <a:pt x="3727" y="779"/>
                  </a:lnTo>
                  <a:lnTo>
                    <a:pt x="3704" y="754"/>
                  </a:lnTo>
                  <a:lnTo>
                    <a:pt x="3787" y="722"/>
                  </a:lnTo>
                  <a:lnTo>
                    <a:pt x="3712" y="722"/>
                  </a:lnTo>
                  <a:lnTo>
                    <a:pt x="3758" y="652"/>
                  </a:lnTo>
                  <a:lnTo>
                    <a:pt x="3854" y="592"/>
                  </a:lnTo>
                  <a:lnTo>
                    <a:pt x="3932" y="565"/>
                  </a:lnTo>
                  <a:lnTo>
                    <a:pt x="4081" y="547"/>
                  </a:lnTo>
                  <a:lnTo>
                    <a:pt x="4004" y="590"/>
                  </a:lnTo>
                  <a:moveTo>
                    <a:pt x="4530" y="594"/>
                  </a:moveTo>
                  <a:lnTo>
                    <a:pt x="4520" y="612"/>
                  </a:lnTo>
                  <a:lnTo>
                    <a:pt x="4467" y="610"/>
                  </a:lnTo>
                  <a:lnTo>
                    <a:pt x="4412" y="609"/>
                  </a:lnTo>
                  <a:lnTo>
                    <a:pt x="4347" y="618"/>
                  </a:lnTo>
                  <a:lnTo>
                    <a:pt x="4336" y="614"/>
                  </a:lnTo>
                  <a:lnTo>
                    <a:pt x="4308" y="578"/>
                  </a:lnTo>
                  <a:lnTo>
                    <a:pt x="4331" y="554"/>
                  </a:lnTo>
                  <a:lnTo>
                    <a:pt x="4359" y="550"/>
                  </a:lnTo>
                  <a:lnTo>
                    <a:pt x="4471" y="557"/>
                  </a:lnTo>
                  <a:lnTo>
                    <a:pt x="4530" y="594"/>
                  </a:lnTo>
                  <a:moveTo>
                    <a:pt x="3095" y="573"/>
                  </a:moveTo>
                  <a:lnTo>
                    <a:pt x="3001" y="617"/>
                  </a:lnTo>
                  <a:lnTo>
                    <a:pt x="2972" y="570"/>
                  </a:lnTo>
                  <a:lnTo>
                    <a:pt x="3000" y="561"/>
                  </a:lnTo>
                  <a:lnTo>
                    <a:pt x="3072" y="558"/>
                  </a:lnTo>
                  <a:lnTo>
                    <a:pt x="3095" y="573"/>
                  </a:lnTo>
                  <a:moveTo>
                    <a:pt x="2573" y="593"/>
                  </a:moveTo>
                  <a:lnTo>
                    <a:pt x="2509" y="624"/>
                  </a:lnTo>
                  <a:lnTo>
                    <a:pt x="2649" y="604"/>
                  </a:lnTo>
                  <a:lnTo>
                    <a:pt x="2682" y="638"/>
                  </a:lnTo>
                  <a:lnTo>
                    <a:pt x="2780" y="603"/>
                  </a:lnTo>
                  <a:lnTo>
                    <a:pt x="2803" y="625"/>
                  </a:lnTo>
                  <a:lnTo>
                    <a:pt x="2772" y="692"/>
                  </a:lnTo>
                  <a:lnTo>
                    <a:pt x="2829" y="664"/>
                  </a:lnTo>
                  <a:lnTo>
                    <a:pt x="2869" y="595"/>
                  </a:lnTo>
                  <a:lnTo>
                    <a:pt x="2926" y="585"/>
                  </a:lnTo>
                  <a:lnTo>
                    <a:pt x="2965" y="596"/>
                  </a:lnTo>
                  <a:lnTo>
                    <a:pt x="2994" y="623"/>
                  </a:lnTo>
                  <a:lnTo>
                    <a:pt x="2956" y="689"/>
                  </a:lnTo>
                  <a:lnTo>
                    <a:pt x="2922" y="738"/>
                  </a:lnTo>
                  <a:lnTo>
                    <a:pt x="2976" y="773"/>
                  </a:lnTo>
                  <a:lnTo>
                    <a:pt x="3041" y="806"/>
                  </a:lnTo>
                  <a:lnTo>
                    <a:pt x="3005" y="837"/>
                  </a:lnTo>
                  <a:lnTo>
                    <a:pt x="2910" y="843"/>
                  </a:lnTo>
                  <a:lnTo>
                    <a:pt x="2919" y="870"/>
                  </a:lnTo>
                  <a:lnTo>
                    <a:pt x="2875" y="897"/>
                  </a:lnTo>
                  <a:lnTo>
                    <a:pt x="2787" y="885"/>
                  </a:lnTo>
                  <a:lnTo>
                    <a:pt x="2712" y="866"/>
                  </a:lnTo>
                  <a:lnTo>
                    <a:pt x="2644" y="870"/>
                  </a:lnTo>
                  <a:lnTo>
                    <a:pt x="2517" y="895"/>
                  </a:lnTo>
                  <a:lnTo>
                    <a:pt x="2367" y="906"/>
                  </a:lnTo>
                  <a:lnTo>
                    <a:pt x="2263" y="912"/>
                  </a:lnTo>
                  <a:lnTo>
                    <a:pt x="2269" y="878"/>
                  </a:lnTo>
                  <a:lnTo>
                    <a:pt x="2215" y="859"/>
                  </a:lnTo>
                  <a:lnTo>
                    <a:pt x="2158" y="867"/>
                  </a:lnTo>
                  <a:lnTo>
                    <a:pt x="2154" y="810"/>
                  </a:lnTo>
                  <a:lnTo>
                    <a:pt x="2198" y="803"/>
                  </a:lnTo>
                  <a:lnTo>
                    <a:pt x="2294" y="791"/>
                  </a:lnTo>
                  <a:lnTo>
                    <a:pt x="2367" y="794"/>
                  </a:lnTo>
                  <a:lnTo>
                    <a:pt x="2450" y="782"/>
                  </a:lnTo>
                  <a:lnTo>
                    <a:pt x="2365" y="765"/>
                  </a:lnTo>
                  <a:lnTo>
                    <a:pt x="2244" y="771"/>
                  </a:lnTo>
                  <a:lnTo>
                    <a:pt x="2170" y="770"/>
                  </a:lnTo>
                  <a:lnTo>
                    <a:pt x="2171" y="744"/>
                  </a:lnTo>
                  <a:lnTo>
                    <a:pt x="2326" y="716"/>
                  </a:lnTo>
                  <a:lnTo>
                    <a:pt x="2244" y="717"/>
                  </a:lnTo>
                  <a:lnTo>
                    <a:pt x="2172" y="699"/>
                  </a:lnTo>
                  <a:lnTo>
                    <a:pt x="2278" y="647"/>
                  </a:lnTo>
                  <a:lnTo>
                    <a:pt x="2347" y="620"/>
                  </a:lnTo>
                  <a:lnTo>
                    <a:pt x="2535" y="580"/>
                  </a:lnTo>
                  <a:lnTo>
                    <a:pt x="2573" y="593"/>
                  </a:lnTo>
                  <a:moveTo>
                    <a:pt x="3571" y="843"/>
                  </a:moveTo>
                  <a:lnTo>
                    <a:pt x="3509" y="917"/>
                  </a:lnTo>
                  <a:lnTo>
                    <a:pt x="3629" y="860"/>
                  </a:lnTo>
                  <a:lnTo>
                    <a:pt x="3656" y="907"/>
                  </a:lnTo>
                  <a:lnTo>
                    <a:pt x="3596" y="961"/>
                  </a:lnTo>
                  <a:lnTo>
                    <a:pt x="3611" y="1010"/>
                  </a:lnTo>
                  <a:lnTo>
                    <a:pt x="3711" y="957"/>
                  </a:lnTo>
                  <a:lnTo>
                    <a:pt x="3800" y="894"/>
                  </a:lnTo>
                  <a:lnTo>
                    <a:pt x="3866" y="816"/>
                  </a:lnTo>
                  <a:lnTo>
                    <a:pt x="3938" y="821"/>
                  </a:lnTo>
                  <a:lnTo>
                    <a:pt x="4010" y="832"/>
                  </a:lnTo>
                  <a:lnTo>
                    <a:pt x="4055" y="867"/>
                  </a:lnTo>
                  <a:lnTo>
                    <a:pt x="4032" y="903"/>
                  </a:lnTo>
                  <a:lnTo>
                    <a:pt x="3962" y="942"/>
                  </a:lnTo>
                  <a:lnTo>
                    <a:pt x="3972" y="981"/>
                  </a:lnTo>
                  <a:lnTo>
                    <a:pt x="3939" y="1016"/>
                  </a:lnTo>
                  <a:lnTo>
                    <a:pt x="3792" y="1068"/>
                  </a:lnTo>
                  <a:lnTo>
                    <a:pt x="3706" y="1080"/>
                  </a:lnTo>
                  <a:lnTo>
                    <a:pt x="3664" y="1057"/>
                  </a:lnTo>
                  <a:lnTo>
                    <a:pt x="3619" y="1095"/>
                  </a:lnTo>
                  <a:lnTo>
                    <a:pt x="3518" y="1158"/>
                  </a:lnTo>
                  <a:lnTo>
                    <a:pt x="3477" y="1191"/>
                  </a:lnTo>
                  <a:lnTo>
                    <a:pt x="3373" y="1242"/>
                  </a:lnTo>
                  <a:lnTo>
                    <a:pt x="3287" y="1247"/>
                  </a:lnTo>
                  <a:lnTo>
                    <a:pt x="3218" y="1280"/>
                  </a:lnTo>
                  <a:lnTo>
                    <a:pt x="3178" y="1330"/>
                  </a:lnTo>
                  <a:lnTo>
                    <a:pt x="3103" y="1339"/>
                  </a:lnTo>
                  <a:lnTo>
                    <a:pt x="2985" y="1402"/>
                  </a:lnTo>
                  <a:lnTo>
                    <a:pt x="2858" y="1490"/>
                  </a:lnTo>
                  <a:lnTo>
                    <a:pt x="2792" y="1552"/>
                  </a:lnTo>
                  <a:lnTo>
                    <a:pt x="2726" y="1644"/>
                  </a:lnTo>
                  <a:lnTo>
                    <a:pt x="2806" y="1657"/>
                  </a:lnTo>
                  <a:lnTo>
                    <a:pt x="2785" y="1732"/>
                  </a:lnTo>
                  <a:lnTo>
                    <a:pt x="2776" y="1793"/>
                  </a:lnTo>
                  <a:lnTo>
                    <a:pt x="2872" y="1777"/>
                  </a:lnTo>
                  <a:lnTo>
                    <a:pt x="2966" y="1812"/>
                  </a:lnTo>
                  <a:lnTo>
                    <a:pt x="3010" y="1842"/>
                  </a:lnTo>
                  <a:lnTo>
                    <a:pt x="3032" y="1880"/>
                  </a:lnTo>
                  <a:lnTo>
                    <a:pt x="3098" y="1903"/>
                  </a:lnTo>
                  <a:lnTo>
                    <a:pt x="3146" y="1937"/>
                  </a:lnTo>
                  <a:lnTo>
                    <a:pt x="3247" y="1941"/>
                  </a:lnTo>
                  <a:lnTo>
                    <a:pt x="3311" y="1949"/>
                  </a:lnTo>
                  <a:lnTo>
                    <a:pt x="3264" y="2020"/>
                  </a:lnTo>
                  <a:lnTo>
                    <a:pt x="3242" y="2102"/>
                  </a:lnTo>
                  <a:lnTo>
                    <a:pt x="3244" y="2194"/>
                  </a:lnTo>
                  <a:lnTo>
                    <a:pt x="3304" y="2272"/>
                  </a:lnTo>
                  <a:lnTo>
                    <a:pt x="3366" y="2245"/>
                  </a:lnTo>
                  <a:lnTo>
                    <a:pt x="3439" y="2160"/>
                  </a:lnTo>
                  <a:lnTo>
                    <a:pt x="3468" y="2031"/>
                  </a:lnTo>
                  <a:lnTo>
                    <a:pt x="3445" y="1988"/>
                  </a:lnTo>
                  <a:lnTo>
                    <a:pt x="3565" y="1950"/>
                  </a:lnTo>
                  <a:lnTo>
                    <a:pt x="3664" y="1893"/>
                  </a:lnTo>
                  <a:lnTo>
                    <a:pt x="3727" y="1837"/>
                  </a:lnTo>
                  <a:lnTo>
                    <a:pt x="3750" y="1783"/>
                  </a:lnTo>
                  <a:lnTo>
                    <a:pt x="3744" y="1715"/>
                  </a:lnTo>
                  <a:lnTo>
                    <a:pt x="3702" y="1655"/>
                  </a:lnTo>
                  <a:lnTo>
                    <a:pt x="3820" y="1572"/>
                  </a:lnTo>
                  <a:lnTo>
                    <a:pt x="3835" y="1501"/>
                  </a:lnTo>
                  <a:lnTo>
                    <a:pt x="3888" y="1379"/>
                  </a:lnTo>
                  <a:lnTo>
                    <a:pt x="3939" y="1361"/>
                  </a:lnTo>
                  <a:lnTo>
                    <a:pt x="4028" y="1382"/>
                  </a:lnTo>
                  <a:lnTo>
                    <a:pt x="4084" y="1390"/>
                  </a:lnTo>
                  <a:lnTo>
                    <a:pt x="4144" y="1370"/>
                  </a:lnTo>
                  <a:lnTo>
                    <a:pt x="4184" y="1396"/>
                  </a:lnTo>
                  <a:lnTo>
                    <a:pt x="4232" y="1441"/>
                  </a:lnTo>
                  <a:lnTo>
                    <a:pt x="4233" y="1471"/>
                  </a:lnTo>
                  <a:lnTo>
                    <a:pt x="4337" y="1477"/>
                  </a:lnTo>
                  <a:lnTo>
                    <a:pt x="4301" y="1543"/>
                  </a:lnTo>
                  <a:lnTo>
                    <a:pt x="4270" y="1643"/>
                  </a:lnTo>
                  <a:lnTo>
                    <a:pt x="4320" y="1656"/>
                  </a:lnTo>
                  <a:lnTo>
                    <a:pt x="4342" y="1702"/>
                  </a:lnTo>
                  <a:lnTo>
                    <a:pt x="4451" y="1658"/>
                  </a:lnTo>
                  <a:lnTo>
                    <a:pt x="4550" y="1571"/>
                  </a:lnTo>
                  <a:lnTo>
                    <a:pt x="4608" y="1534"/>
                  </a:lnTo>
                  <a:lnTo>
                    <a:pt x="4621" y="1605"/>
                  </a:lnTo>
                  <a:lnTo>
                    <a:pt x="4655" y="1706"/>
                  </a:lnTo>
                  <a:lnTo>
                    <a:pt x="4683" y="1802"/>
                  </a:lnTo>
                  <a:lnTo>
                    <a:pt x="4637" y="1853"/>
                  </a:lnTo>
                  <a:lnTo>
                    <a:pt x="4702" y="1898"/>
                  </a:lnTo>
                  <a:lnTo>
                    <a:pt x="4740" y="1945"/>
                  </a:lnTo>
                  <a:lnTo>
                    <a:pt x="4833" y="1966"/>
                  </a:lnTo>
                  <a:lnTo>
                    <a:pt x="4864" y="1992"/>
                  </a:lnTo>
                  <a:lnTo>
                    <a:pt x="4864" y="2061"/>
                  </a:lnTo>
                  <a:lnTo>
                    <a:pt x="4910" y="2072"/>
                  </a:lnTo>
                  <a:lnTo>
                    <a:pt x="4925" y="2102"/>
                  </a:lnTo>
                  <a:lnTo>
                    <a:pt x="4899" y="2195"/>
                  </a:lnTo>
                  <a:lnTo>
                    <a:pt x="4842" y="2226"/>
                  </a:lnTo>
                  <a:lnTo>
                    <a:pt x="4786" y="2254"/>
                  </a:lnTo>
                  <a:lnTo>
                    <a:pt x="4670" y="2284"/>
                  </a:lnTo>
                  <a:lnTo>
                    <a:pt x="4565" y="2352"/>
                  </a:lnTo>
                  <a:lnTo>
                    <a:pt x="4450" y="2365"/>
                  </a:lnTo>
                  <a:lnTo>
                    <a:pt x="4317" y="2348"/>
                  </a:lnTo>
                  <a:lnTo>
                    <a:pt x="4219" y="2347"/>
                  </a:lnTo>
                  <a:lnTo>
                    <a:pt x="4149" y="2353"/>
                  </a:lnTo>
                  <a:lnTo>
                    <a:pt x="4073" y="2412"/>
                  </a:lnTo>
                  <a:lnTo>
                    <a:pt x="3976" y="2449"/>
                  </a:lnTo>
                  <a:lnTo>
                    <a:pt x="3840" y="2559"/>
                  </a:lnTo>
                  <a:lnTo>
                    <a:pt x="3736" y="2636"/>
                  </a:lnTo>
                  <a:lnTo>
                    <a:pt x="3798" y="2622"/>
                  </a:lnTo>
                  <a:lnTo>
                    <a:pt x="3943" y="2513"/>
                  </a:lnTo>
                  <a:lnTo>
                    <a:pt x="4107" y="2444"/>
                  </a:lnTo>
                  <a:lnTo>
                    <a:pt x="4208" y="2435"/>
                  </a:lnTo>
                  <a:lnTo>
                    <a:pt x="4252" y="2476"/>
                  </a:lnTo>
                  <a:lnTo>
                    <a:pt x="4171" y="2532"/>
                  </a:lnTo>
                  <a:lnTo>
                    <a:pt x="4162" y="2622"/>
                  </a:lnTo>
                  <a:lnTo>
                    <a:pt x="4164" y="2685"/>
                  </a:lnTo>
                  <a:lnTo>
                    <a:pt x="4238" y="2727"/>
                  </a:lnTo>
                  <a:lnTo>
                    <a:pt x="4353" y="2715"/>
                  </a:lnTo>
                  <a:lnTo>
                    <a:pt x="4448" y="2621"/>
                  </a:lnTo>
                  <a:lnTo>
                    <a:pt x="4434" y="2681"/>
                  </a:lnTo>
                  <a:lnTo>
                    <a:pt x="4469" y="2712"/>
                  </a:lnTo>
                  <a:lnTo>
                    <a:pt x="4370" y="2766"/>
                  </a:lnTo>
                  <a:lnTo>
                    <a:pt x="4206" y="2816"/>
                  </a:lnTo>
                  <a:lnTo>
                    <a:pt x="4129" y="2850"/>
                  </a:lnTo>
                  <a:lnTo>
                    <a:pt x="4035" y="2911"/>
                  </a:lnTo>
                  <a:lnTo>
                    <a:pt x="3985" y="2905"/>
                  </a:lnTo>
                  <a:lnTo>
                    <a:pt x="4004" y="2834"/>
                  </a:lnTo>
                  <a:lnTo>
                    <a:pt x="4142" y="2764"/>
                  </a:lnTo>
                  <a:lnTo>
                    <a:pt x="4034" y="2767"/>
                  </a:lnTo>
                  <a:lnTo>
                    <a:pt x="3955" y="2777"/>
                  </a:lnTo>
                  <a:lnTo>
                    <a:pt x="3927" y="2730"/>
                  </a:lnTo>
                  <a:lnTo>
                    <a:pt x="3965" y="2616"/>
                  </a:lnTo>
                  <a:lnTo>
                    <a:pt x="3943" y="2592"/>
                  </a:lnTo>
                  <a:lnTo>
                    <a:pt x="3894" y="2606"/>
                  </a:lnTo>
                  <a:lnTo>
                    <a:pt x="3879" y="2584"/>
                  </a:lnTo>
                  <a:lnTo>
                    <a:pt x="3806" y="2647"/>
                  </a:lnTo>
                  <a:lnTo>
                    <a:pt x="3764" y="2712"/>
                  </a:lnTo>
                  <a:lnTo>
                    <a:pt x="3727" y="2750"/>
                  </a:lnTo>
                  <a:lnTo>
                    <a:pt x="3694" y="2763"/>
                  </a:lnTo>
                  <a:lnTo>
                    <a:pt x="3671" y="2767"/>
                  </a:lnTo>
                  <a:lnTo>
                    <a:pt x="3657" y="2788"/>
                  </a:lnTo>
                  <a:lnTo>
                    <a:pt x="3533" y="2788"/>
                  </a:lnTo>
                  <a:lnTo>
                    <a:pt x="3430" y="2789"/>
                  </a:lnTo>
                  <a:lnTo>
                    <a:pt x="3394" y="2804"/>
                  </a:lnTo>
                  <a:lnTo>
                    <a:pt x="3301" y="2864"/>
                  </a:lnTo>
                  <a:lnTo>
                    <a:pt x="3291" y="2871"/>
                  </a:lnTo>
                  <a:lnTo>
                    <a:pt x="3258" y="2904"/>
                  </a:lnTo>
                  <a:lnTo>
                    <a:pt x="3195" y="2904"/>
                  </a:lnTo>
                  <a:lnTo>
                    <a:pt x="3128" y="2904"/>
                  </a:lnTo>
                  <a:lnTo>
                    <a:pt x="3093" y="2917"/>
                  </a:lnTo>
                  <a:lnTo>
                    <a:pt x="3098" y="2934"/>
                  </a:lnTo>
                  <a:lnTo>
                    <a:pt x="3095" y="2960"/>
                  </a:lnTo>
                  <a:lnTo>
                    <a:pt x="3091" y="2968"/>
                  </a:lnTo>
                  <a:lnTo>
                    <a:pt x="2987" y="3010"/>
                  </a:lnTo>
                  <a:lnTo>
                    <a:pt x="2912" y="3023"/>
                  </a:lnTo>
                  <a:lnTo>
                    <a:pt x="2816" y="3068"/>
                  </a:lnTo>
                  <a:lnTo>
                    <a:pt x="2799" y="3068"/>
                  </a:lnTo>
                  <a:lnTo>
                    <a:pt x="2780" y="3055"/>
                  </a:lnTo>
                  <a:lnTo>
                    <a:pt x="2777" y="3043"/>
                  </a:lnTo>
                  <a:lnTo>
                    <a:pt x="2782" y="3034"/>
                  </a:lnTo>
                  <a:lnTo>
                    <a:pt x="2807" y="3005"/>
                  </a:lnTo>
                  <a:lnTo>
                    <a:pt x="2856" y="2958"/>
                  </a:lnTo>
                  <a:lnTo>
                    <a:pt x="2894" y="2909"/>
                  </a:lnTo>
                  <a:lnTo>
                    <a:pt x="2908" y="2836"/>
                  </a:lnTo>
                  <a:lnTo>
                    <a:pt x="2923" y="2760"/>
                  </a:lnTo>
                  <a:lnTo>
                    <a:pt x="2868" y="2720"/>
                  </a:lnTo>
                  <a:lnTo>
                    <a:pt x="2882" y="2705"/>
                  </a:lnTo>
                  <a:lnTo>
                    <a:pt x="2877" y="2695"/>
                  </a:lnTo>
                  <a:lnTo>
                    <a:pt x="2858" y="2695"/>
                  </a:lnTo>
                  <a:lnTo>
                    <a:pt x="2850" y="2682"/>
                  </a:lnTo>
                  <a:lnTo>
                    <a:pt x="2855" y="2662"/>
                  </a:lnTo>
                  <a:lnTo>
                    <a:pt x="2838" y="2671"/>
                  </a:lnTo>
                  <a:lnTo>
                    <a:pt x="2822" y="2668"/>
                  </a:lnTo>
                  <a:lnTo>
                    <a:pt x="2829" y="2660"/>
                  </a:lnTo>
                  <a:lnTo>
                    <a:pt x="2817" y="2652"/>
                  </a:lnTo>
                  <a:lnTo>
                    <a:pt x="2820" y="2630"/>
                  </a:lnTo>
                  <a:lnTo>
                    <a:pt x="2779" y="2603"/>
                  </a:lnTo>
                  <a:lnTo>
                    <a:pt x="2738" y="2575"/>
                  </a:lnTo>
                  <a:lnTo>
                    <a:pt x="2687" y="2543"/>
                  </a:lnTo>
                  <a:lnTo>
                    <a:pt x="2639" y="2513"/>
                  </a:lnTo>
                  <a:lnTo>
                    <a:pt x="2569" y="2536"/>
                  </a:lnTo>
                  <a:lnTo>
                    <a:pt x="2547" y="2537"/>
                  </a:lnTo>
                  <a:lnTo>
                    <a:pt x="2475" y="2515"/>
                  </a:lnTo>
                  <a:lnTo>
                    <a:pt x="2416" y="2526"/>
                  </a:lnTo>
                  <a:lnTo>
                    <a:pt x="2365" y="2500"/>
                  </a:lnTo>
                  <a:lnTo>
                    <a:pt x="2304" y="2487"/>
                  </a:lnTo>
                  <a:lnTo>
                    <a:pt x="2260" y="2482"/>
                  </a:lnTo>
                  <a:lnTo>
                    <a:pt x="2247" y="2468"/>
                  </a:lnTo>
                  <a:lnTo>
                    <a:pt x="2258" y="2422"/>
                  </a:lnTo>
                  <a:lnTo>
                    <a:pt x="2236" y="2423"/>
                  </a:lnTo>
                  <a:lnTo>
                    <a:pt x="2219" y="2455"/>
                  </a:lnTo>
                  <a:lnTo>
                    <a:pt x="2083" y="2455"/>
                  </a:lnTo>
                  <a:lnTo>
                    <a:pt x="1858" y="2455"/>
                  </a:lnTo>
                  <a:lnTo>
                    <a:pt x="1634" y="2455"/>
                  </a:lnTo>
                  <a:lnTo>
                    <a:pt x="1436" y="2455"/>
                  </a:lnTo>
                  <a:lnTo>
                    <a:pt x="1239" y="2455"/>
                  </a:lnTo>
                  <a:lnTo>
                    <a:pt x="1045" y="2455"/>
                  </a:lnTo>
                  <a:lnTo>
                    <a:pt x="844" y="2455"/>
                  </a:lnTo>
                  <a:lnTo>
                    <a:pt x="779" y="2455"/>
                  </a:lnTo>
                  <a:lnTo>
                    <a:pt x="584" y="2455"/>
                  </a:lnTo>
                  <a:lnTo>
                    <a:pt x="397" y="2455"/>
                  </a:lnTo>
                  <a:lnTo>
                    <a:pt x="388" y="2455"/>
                  </a:lnTo>
                  <a:lnTo>
                    <a:pt x="316" y="2373"/>
                  </a:lnTo>
                  <a:lnTo>
                    <a:pt x="294" y="2337"/>
                  </a:lnTo>
                  <a:lnTo>
                    <a:pt x="200" y="2303"/>
                  </a:lnTo>
                  <a:lnTo>
                    <a:pt x="217" y="2230"/>
                  </a:lnTo>
                  <a:lnTo>
                    <a:pt x="264" y="2180"/>
                  </a:lnTo>
                  <a:lnTo>
                    <a:pt x="209" y="2145"/>
                  </a:lnTo>
                  <a:lnTo>
                    <a:pt x="249" y="2079"/>
                  </a:lnTo>
                  <a:lnTo>
                    <a:pt x="220" y="2019"/>
                  </a:lnTo>
                  <a:lnTo>
                    <a:pt x="253" y="1977"/>
                  </a:lnTo>
                  <a:lnTo>
                    <a:pt x="320" y="1938"/>
                  </a:lnTo>
                  <a:lnTo>
                    <a:pt x="362" y="1887"/>
                  </a:lnTo>
                  <a:lnTo>
                    <a:pt x="300" y="1836"/>
                  </a:lnTo>
                  <a:lnTo>
                    <a:pt x="319" y="1744"/>
                  </a:lnTo>
                  <a:lnTo>
                    <a:pt x="333" y="1687"/>
                  </a:lnTo>
                  <a:lnTo>
                    <a:pt x="311" y="1651"/>
                  </a:lnTo>
                  <a:lnTo>
                    <a:pt x="302" y="1618"/>
                  </a:lnTo>
                  <a:lnTo>
                    <a:pt x="309" y="1577"/>
                  </a:lnTo>
                  <a:lnTo>
                    <a:pt x="224" y="1603"/>
                  </a:lnTo>
                  <a:lnTo>
                    <a:pt x="121" y="1647"/>
                  </a:lnTo>
                  <a:lnTo>
                    <a:pt x="119" y="1595"/>
                  </a:lnTo>
                  <a:lnTo>
                    <a:pt x="111" y="1561"/>
                  </a:lnTo>
                  <a:lnTo>
                    <a:pt x="75" y="1539"/>
                  </a:lnTo>
                  <a:lnTo>
                    <a:pt x="18" y="1536"/>
                  </a:lnTo>
                  <a:lnTo>
                    <a:pt x="510" y="1099"/>
                  </a:lnTo>
                  <a:lnTo>
                    <a:pt x="854" y="828"/>
                  </a:lnTo>
                  <a:lnTo>
                    <a:pt x="933" y="845"/>
                  </a:lnTo>
                  <a:lnTo>
                    <a:pt x="974" y="880"/>
                  </a:lnTo>
                  <a:lnTo>
                    <a:pt x="1022" y="886"/>
                  </a:lnTo>
                  <a:lnTo>
                    <a:pt x="1108" y="856"/>
                  </a:lnTo>
                  <a:lnTo>
                    <a:pt x="1202" y="834"/>
                  </a:lnTo>
                  <a:lnTo>
                    <a:pt x="1272" y="843"/>
                  </a:lnTo>
                  <a:lnTo>
                    <a:pt x="1392" y="812"/>
                  </a:lnTo>
                  <a:lnTo>
                    <a:pt x="1502" y="794"/>
                  </a:lnTo>
                  <a:lnTo>
                    <a:pt x="1503" y="823"/>
                  </a:lnTo>
                  <a:lnTo>
                    <a:pt x="1564" y="807"/>
                  </a:lnTo>
                  <a:lnTo>
                    <a:pt x="1617" y="774"/>
                  </a:lnTo>
                  <a:lnTo>
                    <a:pt x="1644" y="781"/>
                  </a:lnTo>
                  <a:lnTo>
                    <a:pt x="1659" y="845"/>
                  </a:lnTo>
                  <a:lnTo>
                    <a:pt x="1788" y="796"/>
                  </a:lnTo>
                  <a:lnTo>
                    <a:pt x="1732" y="850"/>
                  </a:lnTo>
                  <a:lnTo>
                    <a:pt x="1812" y="839"/>
                  </a:lnTo>
                  <a:lnTo>
                    <a:pt x="1857" y="818"/>
                  </a:lnTo>
                  <a:lnTo>
                    <a:pt x="1917" y="822"/>
                  </a:lnTo>
                  <a:lnTo>
                    <a:pt x="1966" y="852"/>
                  </a:lnTo>
                  <a:lnTo>
                    <a:pt x="2065" y="878"/>
                  </a:lnTo>
                  <a:lnTo>
                    <a:pt x="2127" y="890"/>
                  </a:lnTo>
                  <a:lnTo>
                    <a:pt x="2185" y="886"/>
                  </a:lnTo>
                  <a:lnTo>
                    <a:pt x="2220" y="922"/>
                  </a:lnTo>
                  <a:lnTo>
                    <a:pt x="2105" y="958"/>
                  </a:lnTo>
                  <a:lnTo>
                    <a:pt x="2189" y="974"/>
                  </a:lnTo>
                  <a:lnTo>
                    <a:pt x="2347" y="965"/>
                  </a:lnTo>
                  <a:lnTo>
                    <a:pt x="2407" y="953"/>
                  </a:lnTo>
                  <a:lnTo>
                    <a:pt x="2423" y="997"/>
                  </a:lnTo>
                  <a:lnTo>
                    <a:pt x="2520" y="960"/>
                  </a:lnTo>
                  <a:lnTo>
                    <a:pt x="2494" y="929"/>
                  </a:lnTo>
                  <a:lnTo>
                    <a:pt x="2554" y="904"/>
                  </a:lnTo>
                  <a:lnTo>
                    <a:pt x="2624" y="901"/>
                  </a:lnTo>
                  <a:lnTo>
                    <a:pt x="2675" y="893"/>
                  </a:lnTo>
                  <a:lnTo>
                    <a:pt x="2702" y="911"/>
                  </a:lnTo>
                  <a:lnTo>
                    <a:pt x="2720" y="950"/>
                  </a:lnTo>
                  <a:lnTo>
                    <a:pt x="2787" y="944"/>
                  </a:lnTo>
                  <a:lnTo>
                    <a:pt x="2854" y="977"/>
                  </a:lnTo>
                  <a:lnTo>
                    <a:pt x="2951" y="965"/>
                  </a:lnTo>
                  <a:lnTo>
                    <a:pt x="3030" y="967"/>
                  </a:lnTo>
                  <a:lnTo>
                    <a:pt x="3064" y="922"/>
                  </a:lnTo>
                  <a:lnTo>
                    <a:pt x="3124" y="909"/>
                  </a:lnTo>
                  <a:lnTo>
                    <a:pt x="3188" y="934"/>
                  </a:lnTo>
                  <a:lnTo>
                    <a:pt x="3128" y="1003"/>
                  </a:lnTo>
                  <a:lnTo>
                    <a:pt x="3213" y="945"/>
                  </a:lnTo>
                  <a:lnTo>
                    <a:pt x="3256" y="947"/>
                  </a:lnTo>
                  <a:lnTo>
                    <a:pt x="3344" y="874"/>
                  </a:lnTo>
                  <a:lnTo>
                    <a:pt x="3325" y="830"/>
                  </a:lnTo>
                  <a:lnTo>
                    <a:pt x="3288" y="801"/>
                  </a:lnTo>
                  <a:lnTo>
                    <a:pt x="3365" y="724"/>
                  </a:lnTo>
                  <a:lnTo>
                    <a:pt x="3475" y="674"/>
                  </a:lnTo>
                  <a:lnTo>
                    <a:pt x="3534" y="685"/>
                  </a:lnTo>
                  <a:lnTo>
                    <a:pt x="3559" y="715"/>
                  </a:lnTo>
                  <a:lnTo>
                    <a:pt x="3561" y="794"/>
                  </a:lnTo>
                  <a:lnTo>
                    <a:pt x="3483" y="829"/>
                  </a:lnTo>
                  <a:lnTo>
                    <a:pt x="3571" y="843"/>
                  </a:lnTo>
                  <a:moveTo>
                    <a:pt x="3269" y="871"/>
                  </a:moveTo>
                  <a:lnTo>
                    <a:pt x="3213" y="896"/>
                  </a:lnTo>
                  <a:lnTo>
                    <a:pt x="3159" y="875"/>
                  </a:lnTo>
                  <a:lnTo>
                    <a:pt x="3107" y="882"/>
                  </a:lnTo>
                  <a:lnTo>
                    <a:pt x="3062" y="850"/>
                  </a:lnTo>
                  <a:lnTo>
                    <a:pt x="3131" y="828"/>
                  </a:lnTo>
                  <a:lnTo>
                    <a:pt x="3197" y="797"/>
                  </a:lnTo>
                  <a:lnTo>
                    <a:pt x="3236" y="818"/>
                  </a:lnTo>
                  <a:lnTo>
                    <a:pt x="3257" y="830"/>
                  </a:lnTo>
                  <a:lnTo>
                    <a:pt x="3261" y="844"/>
                  </a:lnTo>
                  <a:lnTo>
                    <a:pt x="3269" y="871"/>
                  </a:lnTo>
                  <a:moveTo>
                    <a:pt x="4250" y="1014"/>
                  </a:moveTo>
                  <a:lnTo>
                    <a:pt x="4184" y="1017"/>
                  </a:lnTo>
                  <a:lnTo>
                    <a:pt x="4195" y="981"/>
                  </a:lnTo>
                  <a:lnTo>
                    <a:pt x="4247" y="940"/>
                  </a:lnTo>
                  <a:lnTo>
                    <a:pt x="4305" y="930"/>
                  </a:lnTo>
                  <a:lnTo>
                    <a:pt x="4334" y="951"/>
                  </a:lnTo>
                  <a:lnTo>
                    <a:pt x="4313" y="982"/>
                  </a:lnTo>
                  <a:lnTo>
                    <a:pt x="4300" y="992"/>
                  </a:lnTo>
                  <a:lnTo>
                    <a:pt x="4250" y="1014"/>
                  </a:lnTo>
                  <a:moveTo>
                    <a:pt x="3649" y="1125"/>
                  </a:moveTo>
                  <a:lnTo>
                    <a:pt x="3636" y="1158"/>
                  </a:lnTo>
                  <a:lnTo>
                    <a:pt x="3673" y="1146"/>
                  </a:lnTo>
                  <a:lnTo>
                    <a:pt x="3692" y="1166"/>
                  </a:lnTo>
                  <a:lnTo>
                    <a:pt x="3737" y="1192"/>
                  </a:lnTo>
                  <a:lnTo>
                    <a:pt x="3787" y="1215"/>
                  </a:lnTo>
                  <a:lnTo>
                    <a:pt x="3768" y="1251"/>
                  </a:lnTo>
                  <a:lnTo>
                    <a:pt x="3814" y="1246"/>
                  </a:lnTo>
                  <a:lnTo>
                    <a:pt x="3839" y="1271"/>
                  </a:lnTo>
                  <a:lnTo>
                    <a:pt x="3772" y="1295"/>
                  </a:lnTo>
                  <a:lnTo>
                    <a:pt x="3693" y="1277"/>
                  </a:lnTo>
                  <a:lnTo>
                    <a:pt x="3684" y="1242"/>
                  </a:lnTo>
                  <a:lnTo>
                    <a:pt x="3599" y="1283"/>
                  </a:lnTo>
                  <a:lnTo>
                    <a:pt x="3489" y="1323"/>
                  </a:lnTo>
                  <a:lnTo>
                    <a:pt x="3500" y="1278"/>
                  </a:lnTo>
                  <a:lnTo>
                    <a:pt x="3416" y="1285"/>
                  </a:lnTo>
                  <a:lnTo>
                    <a:pt x="3493" y="1247"/>
                  </a:lnTo>
                  <a:lnTo>
                    <a:pt x="3543" y="1187"/>
                  </a:lnTo>
                  <a:lnTo>
                    <a:pt x="3612" y="1118"/>
                  </a:lnTo>
                  <a:lnTo>
                    <a:pt x="3649" y="1125"/>
                  </a:lnTo>
                  <a:moveTo>
                    <a:pt x="3684" y="1349"/>
                  </a:moveTo>
                  <a:lnTo>
                    <a:pt x="3588" y="1392"/>
                  </a:lnTo>
                  <a:lnTo>
                    <a:pt x="3547" y="1390"/>
                  </a:lnTo>
                  <a:lnTo>
                    <a:pt x="3548" y="1369"/>
                  </a:lnTo>
                  <a:lnTo>
                    <a:pt x="3615" y="1333"/>
                  </a:lnTo>
                  <a:lnTo>
                    <a:pt x="3695" y="1334"/>
                  </a:lnTo>
                  <a:lnTo>
                    <a:pt x="3684" y="1349"/>
                  </a:lnTo>
                  <a:moveTo>
                    <a:pt x="3812" y="1392"/>
                  </a:moveTo>
                  <a:lnTo>
                    <a:pt x="3764" y="1432"/>
                  </a:lnTo>
                  <a:lnTo>
                    <a:pt x="3741" y="1426"/>
                  </a:lnTo>
                  <a:lnTo>
                    <a:pt x="3740" y="1403"/>
                  </a:lnTo>
                  <a:lnTo>
                    <a:pt x="3746" y="1397"/>
                  </a:lnTo>
                  <a:lnTo>
                    <a:pt x="3783" y="1374"/>
                  </a:lnTo>
                  <a:lnTo>
                    <a:pt x="3807" y="1376"/>
                  </a:lnTo>
                  <a:lnTo>
                    <a:pt x="3812" y="1392"/>
                  </a:lnTo>
                  <a:moveTo>
                    <a:pt x="43" y="2029"/>
                  </a:moveTo>
                  <a:lnTo>
                    <a:pt x="64" y="2040"/>
                  </a:lnTo>
                  <a:lnTo>
                    <a:pt x="130" y="2033"/>
                  </a:lnTo>
                  <a:lnTo>
                    <a:pt x="37" y="2126"/>
                  </a:lnTo>
                  <a:lnTo>
                    <a:pt x="41" y="2192"/>
                  </a:lnTo>
                  <a:lnTo>
                    <a:pt x="15" y="2192"/>
                  </a:lnTo>
                  <a:lnTo>
                    <a:pt x="6" y="2154"/>
                  </a:lnTo>
                  <a:lnTo>
                    <a:pt x="12" y="2116"/>
                  </a:lnTo>
                  <a:lnTo>
                    <a:pt x="0" y="2091"/>
                  </a:lnTo>
                  <a:lnTo>
                    <a:pt x="18" y="2055"/>
                  </a:lnTo>
                  <a:lnTo>
                    <a:pt x="43" y="2029"/>
                  </a:lnTo>
                  <a:moveTo>
                    <a:pt x="4831" y="2315"/>
                  </a:moveTo>
                  <a:lnTo>
                    <a:pt x="4766" y="2387"/>
                  </a:lnTo>
                  <a:lnTo>
                    <a:pt x="4817" y="2359"/>
                  </a:lnTo>
                  <a:lnTo>
                    <a:pt x="4855" y="2377"/>
                  </a:lnTo>
                  <a:lnTo>
                    <a:pt x="4824" y="2406"/>
                  </a:lnTo>
                  <a:lnTo>
                    <a:pt x="4875" y="2429"/>
                  </a:lnTo>
                  <a:lnTo>
                    <a:pt x="4911" y="2409"/>
                  </a:lnTo>
                  <a:lnTo>
                    <a:pt x="4969" y="2434"/>
                  </a:lnTo>
                  <a:lnTo>
                    <a:pt x="4932" y="2495"/>
                  </a:lnTo>
                  <a:lnTo>
                    <a:pt x="4982" y="2481"/>
                  </a:lnTo>
                  <a:lnTo>
                    <a:pt x="4978" y="2525"/>
                  </a:lnTo>
                  <a:lnTo>
                    <a:pt x="4985" y="2577"/>
                  </a:lnTo>
                  <a:lnTo>
                    <a:pt x="4937" y="2650"/>
                  </a:lnTo>
                  <a:lnTo>
                    <a:pt x="4906" y="2653"/>
                  </a:lnTo>
                  <a:lnTo>
                    <a:pt x="4866" y="2637"/>
                  </a:lnTo>
                  <a:lnTo>
                    <a:pt x="4899" y="2569"/>
                  </a:lnTo>
                  <a:lnTo>
                    <a:pt x="4884" y="2559"/>
                  </a:lnTo>
                  <a:lnTo>
                    <a:pt x="4786" y="2631"/>
                  </a:lnTo>
                  <a:lnTo>
                    <a:pt x="4747" y="2628"/>
                  </a:lnTo>
                  <a:lnTo>
                    <a:pt x="4805" y="2589"/>
                  </a:lnTo>
                  <a:lnTo>
                    <a:pt x="4747" y="2569"/>
                  </a:lnTo>
                  <a:lnTo>
                    <a:pt x="4675" y="2574"/>
                  </a:lnTo>
                  <a:lnTo>
                    <a:pt x="4546" y="2571"/>
                  </a:lnTo>
                  <a:lnTo>
                    <a:pt x="4544" y="2546"/>
                  </a:lnTo>
                  <a:lnTo>
                    <a:pt x="4594" y="2517"/>
                  </a:lnTo>
                  <a:lnTo>
                    <a:pt x="4572" y="2494"/>
                  </a:lnTo>
                  <a:lnTo>
                    <a:pt x="4643" y="2444"/>
                  </a:lnTo>
                  <a:lnTo>
                    <a:pt x="4753" y="2312"/>
                  </a:lnTo>
                  <a:lnTo>
                    <a:pt x="4808" y="2265"/>
                  </a:lnTo>
                  <a:lnTo>
                    <a:pt x="4873" y="2237"/>
                  </a:lnTo>
                  <a:lnTo>
                    <a:pt x="4902" y="2241"/>
                  </a:lnTo>
                  <a:lnTo>
                    <a:pt x="4883" y="2263"/>
                  </a:lnTo>
                  <a:lnTo>
                    <a:pt x="4831" y="2315"/>
                  </a:lnTo>
                  <a:moveTo>
                    <a:pt x="326" y="2496"/>
                  </a:moveTo>
                  <a:lnTo>
                    <a:pt x="285" y="2507"/>
                  </a:lnTo>
                  <a:lnTo>
                    <a:pt x="202" y="2469"/>
                  </a:lnTo>
                  <a:lnTo>
                    <a:pt x="202" y="2440"/>
                  </a:lnTo>
                  <a:lnTo>
                    <a:pt x="163" y="2411"/>
                  </a:lnTo>
                  <a:lnTo>
                    <a:pt x="167" y="2387"/>
                  </a:lnTo>
                  <a:lnTo>
                    <a:pt x="110" y="2372"/>
                  </a:lnTo>
                  <a:lnTo>
                    <a:pt x="117" y="2327"/>
                  </a:lnTo>
                  <a:lnTo>
                    <a:pt x="137" y="2308"/>
                  </a:lnTo>
                  <a:lnTo>
                    <a:pt x="192" y="2326"/>
                  </a:lnTo>
                  <a:lnTo>
                    <a:pt x="223" y="2339"/>
                  </a:lnTo>
                  <a:lnTo>
                    <a:pt x="278" y="2347"/>
                  </a:lnTo>
                  <a:lnTo>
                    <a:pt x="281" y="2376"/>
                  </a:lnTo>
                  <a:lnTo>
                    <a:pt x="286" y="2415"/>
                  </a:lnTo>
                  <a:lnTo>
                    <a:pt x="329" y="2450"/>
                  </a:lnTo>
                  <a:lnTo>
                    <a:pt x="326" y="2496"/>
                  </a:lnTo>
                  <a:moveTo>
                    <a:pt x="4418" y="2446"/>
                  </a:moveTo>
                  <a:lnTo>
                    <a:pt x="4385" y="2448"/>
                  </a:lnTo>
                  <a:lnTo>
                    <a:pt x="4309" y="2422"/>
                  </a:lnTo>
                  <a:lnTo>
                    <a:pt x="4262" y="2382"/>
                  </a:lnTo>
                  <a:lnTo>
                    <a:pt x="4287" y="2375"/>
                  </a:lnTo>
                  <a:lnTo>
                    <a:pt x="4366" y="2396"/>
                  </a:lnTo>
                  <a:lnTo>
                    <a:pt x="4421" y="2431"/>
                  </a:lnTo>
                  <a:lnTo>
                    <a:pt x="4418" y="2446"/>
                  </a:lnTo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80" name="Freeform 37">
              <a:extLst>
                <a:ext uri="{FF2B5EF4-FFF2-40B4-BE49-F238E27FC236}">
                  <a16:creationId xmlns:a16="http://schemas.microsoft.com/office/drawing/2014/main" id="{BDAC2598-53D1-40AF-B204-5BA3190691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9467" y="1585871"/>
              <a:ext cx="92475" cy="54703"/>
            </a:xfrm>
            <a:custGeom>
              <a:avLst/>
              <a:gdLst>
                <a:gd name="T0" fmla="*/ 57 w 71"/>
                <a:gd name="T1" fmla="*/ 6 h 42"/>
                <a:gd name="T2" fmla="*/ 58 w 71"/>
                <a:gd name="T3" fmla="*/ 10 h 42"/>
                <a:gd name="T4" fmla="*/ 56 w 71"/>
                <a:gd name="T5" fmla="*/ 15 h 42"/>
                <a:gd name="T6" fmla="*/ 63 w 71"/>
                <a:gd name="T7" fmla="*/ 19 h 42"/>
                <a:gd name="T8" fmla="*/ 71 w 71"/>
                <a:gd name="T9" fmla="*/ 19 h 42"/>
                <a:gd name="T10" fmla="*/ 71 w 71"/>
                <a:gd name="T11" fmla="*/ 27 h 42"/>
                <a:gd name="T12" fmla="*/ 64 w 71"/>
                <a:gd name="T13" fmla="*/ 31 h 42"/>
                <a:gd name="T14" fmla="*/ 51 w 71"/>
                <a:gd name="T15" fmla="*/ 28 h 42"/>
                <a:gd name="T16" fmla="*/ 48 w 71"/>
                <a:gd name="T17" fmla="*/ 37 h 42"/>
                <a:gd name="T18" fmla="*/ 40 w 71"/>
                <a:gd name="T19" fmla="*/ 37 h 42"/>
                <a:gd name="T20" fmla="*/ 38 w 71"/>
                <a:gd name="T21" fmla="*/ 34 h 42"/>
                <a:gd name="T22" fmla="*/ 29 w 71"/>
                <a:gd name="T23" fmla="*/ 41 h 42"/>
                <a:gd name="T24" fmla="*/ 21 w 71"/>
                <a:gd name="T25" fmla="*/ 42 h 42"/>
                <a:gd name="T26" fmla="*/ 13 w 71"/>
                <a:gd name="T27" fmla="*/ 38 h 42"/>
                <a:gd name="T28" fmla="*/ 8 w 71"/>
                <a:gd name="T29" fmla="*/ 29 h 42"/>
                <a:gd name="T30" fmla="*/ 0 w 71"/>
                <a:gd name="T31" fmla="*/ 32 h 42"/>
                <a:gd name="T32" fmla="*/ 0 w 71"/>
                <a:gd name="T33" fmla="*/ 22 h 42"/>
                <a:gd name="T34" fmla="*/ 11 w 71"/>
                <a:gd name="T35" fmla="*/ 11 h 42"/>
                <a:gd name="T36" fmla="*/ 11 w 71"/>
                <a:gd name="T37" fmla="*/ 6 h 42"/>
                <a:gd name="T38" fmla="*/ 18 w 71"/>
                <a:gd name="T39" fmla="*/ 8 h 42"/>
                <a:gd name="T40" fmla="*/ 22 w 71"/>
                <a:gd name="T41" fmla="*/ 4 h 42"/>
                <a:gd name="T42" fmla="*/ 36 w 71"/>
                <a:gd name="T43" fmla="*/ 4 h 42"/>
                <a:gd name="T44" fmla="*/ 40 w 71"/>
                <a:gd name="T45" fmla="*/ 0 h 42"/>
                <a:gd name="T46" fmla="*/ 57 w 71"/>
                <a:gd name="T47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1" h="42">
                  <a:moveTo>
                    <a:pt x="57" y="6"/>
                  </a:moveTo>
                  <a:lnTo>
                    <a:pt x="58" y="10"/>
                  </a:lnTo>
                  <a:lnTo>
                    <a:pt x="56" y="15"/>
                  </a:lnTo>
                  <a:lnTo>
                    <a:pt x="63" y="19"/>
                  </a:lnTo>
                  <a:lnTo>
                    <a:pt x="71" y="19"/>
                  </a:lnTo>
                  <a:lnTo>
                    <a:pt x="71" y="27"/>
                  </a:lnTo>
                  <a:lnTo>
                    <a:pt x="64" y="31"/>
                  </a:lnTo>
                  <a:lnTo>
                    <a:pt x="51" y="28"/>
                  </a:lnTo>
                  <a:lnTo>
                    <a:pt x="48" y="37"/>
                  </a:lnTo>
                  <a:lnTo>
                    <a:pt x="40" y="37"/>
                  </a:lnTo>
                  <a:lnTo>
                    <a:pt x="38" y="34"/>
                  </a:lnTo>
                  <a:lnTo>
                    <a:pt x="29" y="41"/>
                  </a:lnTo>
                  <a:lnTo>
                    <a:pt x="21" y="42"/>
                  </a:lnTo>
                  <a:lnTo>
                    <a:pt x="13" y="38"/>
                  </a:lnTo>
                  <a:lnTo>
                    <a:pt x="8" y="29"/>
                  </a:lnTo>
                  <a:lnTo>
                    <a:pt x="0" y="32"/>
                  </a:lnTo>
                  <a:lnTo>
                    <a:pt x="0" y="22"/>
                  </a:lnTo>
                  <a:lnTo>
                    <a:pt x="11" y="11"/>
                  </a:lnTo>
                  <a:lnTo>
                    <a:pt x="11" y="6"/>
                  </a:lnTo>
                  <a:lnTo>
                    <a:pt x="18" y="8"/>
                  </a:lnTo>
                  <a:lnTo>
                    <a:pt x="22" y="4"/>
                  </a:lnTo>
                  <a:lnTo>
                    <a:pt x="36" y="4"/>
                  </a:lnTo>
                  <a:lnTo>
                    <a:pt x="40" y="0"/>
                  </a:lnTo>
                  <a:lnTo>
                    <a:pt x="57" y="6"/>
                  </a:lnTo>
                  <a:close/>
                </a:path>
              </a:pathLst>
            </a:custGeom>
            <a:solidFill>
              <a:srgbClr val="FFD606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81" name="Freeform 38">
              <a:extLst>
                <a:ext uri="{FF2B5EF4-FFF2-40B4-BE49-F238E27FC236}">
                  <a16:creationId xmlns:a16="http://schemas.microsoft.com/office/drawing/2014/main" id="{51B3691F-E740-430F-9891-4E60861533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1191" y="3352006"/>
              <a:ext cx="317800" cy="1017222"/>
            </a:xfrm>
            <a:custGeom>
              <a:avLst/>
              <a:gdLst>
                <a:gd name="T0" fmla="*/ 233 w 999"/>
                <a:gd name="T1" fmla="*/ 450 h 3202"/>
                <a:gd name="T2" fmla="*/ 296 w 999"/>
                <a:gd name="T3" fmla="*/ 460 h 3202"/>
                <a:gd name="T4" fmla="*/ 208 w 999"/>
                <a:gd name="T5" fmla="*/ 590 h 3202"/>
                <a:gd name="T6" fmla="*/ 221 w 999"/>
                <a:gd name="T7" fmla="*/ 759 h 3202"/>
                <a:gd name="T8" fmla="*/ 205 w 999"/>
                <a:gd name="T9" fmla="*/ 846 h 3202"/>
                <a:gd name="T10" fmla="*/ 159 w 999"/>
                <a:gd name="T11" fmla="*/ 1003 h 3202"/>
                <a:gd name="T12" fmla="*/ 154 w 999"/>
                <a:gd name="T13" fmla="*/ 1173 h 3202"/>
                <a:gd name="T14" fmla="*/ 239 w 999"/>
                <a:gd name="T15" fmla="*/ 1335 h 3202"/>
                <a:gd name="T16" fmla="*/ 234 w 999"/>
                <a:gd name="T17" fmla="*/ 1496 h 3202"/>
                <a:gd name="T18" fmla="*/ 212 w 999"/>
                <a:gd name="T19" fmla="*/ 1622 h 3202"/>
                <a:gd name="T20" fmla="*/ 275 w 999"/>
                <a:gd name="T21" fmla="*/ 1782 h 3202"/>
                <a:gd name="T22" fmla="*/ 244 w 999"/>
                <a:gd name="T23" fmla="*/ 1888 h 3202"/>
                <a:gd name="T24" fmla="*/ 295 w 999"/>
                <a:gd name="T25" fmla="*/ 2078 h 3202"/>
                <a:gd name="T26" fmla="*/ 319 w 999"/>
                <a:gd name="T27" fmla="*/ 2192 h 3202"/>
                <a:gd name="T28" fmla="*/ 349 w 999"/>
                <a:gd name="T29" fmla="*/ 2259 h 3202"/>
                <a:gd name="T30" fmla="*/ 404 w 999"/>
                <a:gd name="T31" fmla="*/ 2307 h 3202"/>
                <a:gd name="T32" fmla="*/ 404 w 999"/>
                <a:gd name="T33" fmla="*/ 2372 h 3202"/>
                <a:gd name="T34" fmla="*/ 409 w 999"/>
                <a:gd name="T35" fmla="*/ 2554 h 3202"/>
                <a:gd name="T36" fmla="*/ 431 w 999"/>
                <a:gd name="T37" fmla="*/ 2649 h 3202"/>
                <a:gd name="T38" fmla="*/ 436 w 999"/>
                <a:gd name="T39" fmla="*/ 2774 h 3202"/>
                <a:gd name="T40" fmla="*/ 513 w 999"/>
                <a:gd name="T41" fmla="*/ 2798 h 3202"/>
                <a:gd name="T42" fmla="*/ 583 w 999"/>
                <a:gd name="T43" fmla="*/ 2908 h 3202"/>
                <a:gd name="T44" fmla="*/ 808 w 999"/>
                <a:gd name="T45" fmla="*/ 2932 h 3202"/>
                <a:gd name="T46" fmla="*/ 728 w 999"/>
                <a:gd name="T47" fmla="*/ 2952 h 3202"/>
                <a:gd name="T48" fmla="*/ 706 w 999"/>
                <a:gd name="T49" fmla="*/ 3058 h 3202"/>
                <a:gd name="T50" fmla="*/ 596 w 999"/>
                <a:gd name="T51" fmla="*/ 3033 h 3202"/>
                <a:gd name="T52" fmla="*/ 498 w 999"/>
                <a:gd name="T53" fmla="*/ 2976 h 3202"/>
                <a:gd name="T54" fmla="*/ 354 w 999"/>
                <a:gd name="T55" fmla="*/ 2877 h 3202"/>
                <a:gd name="T56" fmla="*/ 296 w 999"/>
                <a:gd name="T57" fmla="*/ 2774 h 3202"/>
                <a:gd name="T58" fmla="*/ 226 w 999"/>
                <a:gd name="T59" fmla="*/ 2552 h 3202"/>
                <a:gd name="T60" fmla="*/ 162 w 999"/>
                <a:gd name="T61" fmla="*/ 2463 h 3202"/>
                <a:gd name="T62" fmla="*/ 173 w 999"/>
                <a:gd name="T63" fmla="*/ 2250 h 3202"/>
                <a:gd name="T64" fmla="*/ 237 w 999"/>
                <a:gd name="T65" fmla="*/ 2105 h 3202"/>
                <a:gd name="T66" fmla="*/ 196 w 999"/>
                <a:gd name="T67" fmla="*/ 2188 h 3202"/>
                <a:gd name="T68" fmla="*/ 132 w 999"/>
                <a:gd name="T69" fmla="*/ 2056 h 3202"/>
                <a:gd name="T70" fmla="*/ 124 w 999"/>
                <a:gd name="T71" fmla="*/ 1842 h 3202"/>
                <a:gd name="T72" fmla="*/ 50 w 999"/>
                <a:gd name="T73" fmla="*/ 1664 h 3202"/>
                <a:gd name="T74" fmla="*/ 88 w 999"/>
                <a:gd name="T75" fmla="*/ 1524 h 3202"/>
                <a:gd name="T76" fmla="*/ 107 w 999"/>
                <a:gd name="T77" fmla="*/ 1262 h 3202"/>
                <a:gd name="T78" fmla="*/ 72 w 999"/>
                <a:gd name="T79" fmla="*/ 1065 h 3202"/>
                <a:gd name="T80" fmla="*/ 68 w 999"/>
                <a:gd name="T81" fmla="*/ 856 h 3202"/>
                <a:gd name="T82" fmla="*/ 52 w 999"/>
                <a:gd name="T83" fmla="*/ 515 h 3202"/>
                <a:gd name="T84" fmla="*/ 28 w 999"/>
                <a:gd name="T85" fmla="*/ 185 h 3202"/>
                <a:gd name="T86" fmla="*/ 36 w 999"/>
                <a:gd name="T87" fmla="*/ 43 h 3202"/>
                <a:gd name="T88" fmla="*/ 93 w 999"/>
                <a:gd name="T89" fmla="*/ 57 h 3202"/>
                <a:gd name="T90" fmla="*/ 152 w 999"/>
                <a:gd name="T91" fmla="*/ 155 h 3202"/>
                <a:gd name="T92" fmla="*/ 189 w 999"/>
                <a:gd name="T93" fmla="*/ 333 h 3202"/>
                <a:gd name="T94" fmla="*/ 893 w 999"/>
                <a:gd name="T95" fmla="*/ 3142 h 3202"/>
                <a:gd name="T96" fmla="*/ 999 w 999"/>
                <a:gd name="T97" fmla="*/ 3144 h 3202"/>
                <a:gd name="T98" fmla="*/ 950 w 999"/>
                <a:gd name="T99" fmla="*/ 3202 h 3202"/>
                <a:gd name="T100" fmla="*/ 878 w 999"/>
                <a:gd name="T101" fmla="*/ 3193 h 3202"/>
                <a:gd name="T102" fmla="*/ 750 w 999"/>
                <a:gd name="T103" fmla="*/ 3157 h 3202"/>
                <a:gd name="T104" fmla="*/ 565 w 999"/>
                <a:gd name="T105" fmla="*/ 3068 h 3202"/>
                <a:gd name="T106" fmla="*/ 497 w 999"/>
                <a:gd name="T107" fmla="*/ 2993 h 3202"/>
                <a:gd name="T108" fmla="*/ 708 w 999"/>
                <a:gd name="T109" fmla="*/ 3077 h 3202"/>
                <a:gd name="T110" fmla="*/ 721 w 999"/>
                <a:gd name="T111" fmla="*/ 2984 h 3202"/>
                <a:gd name="T112" fmla="*/ 816 w 999"/>
                <a:gd name="T113" fmla="*/ 2960 h 3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99" h="3202">
                  <a:moveTo>
                    <a:pt x="189" y="333"/>
                  </a:moveTo>
                  <a:lnTo>
                    <a:pt x="233" y="450"/>
                  </a:lnTo>
                  <a:lnTo>
                    <a:pt x="284" y="439"/>
                  </a:lnTo>
                  <a:lnTo>
                    <a:pt x="296" y="460"/>
                  </a:lnTo>
                  <a:lnTo>
                    <a:pt x="282" y="548"/>
                  </a:lnTo>
                  <a:lnTo>
                    <a:pt x="208" y="590"/>
                  </a:lnTo>
                  <a:lnTo>
                    <a:pt x="231" y="732"/>
                  </a:lnTo>
                  <a:lnTo>
                    <a:pt x="221" y="759"/>
                  </a:lnTo>
                  <a:lnTo>
                    <a:pt x="248" y="793"/>
                  </a:lnTo>
                  <a:lnTo>
                    <a:pt x="205" y="846"/>
                  </a:lnTo>
                  <a:lnTo>
                    <a:pt x="171" y="926"/>
                  </a:lnTo>
                  <a:lnTo>
                    <a:pt x="159" y="1003"/>
                  </a:lnTo>
                  <a:lnTo>
                    <a:pt x="181" y="1085"/>
                  </a:lnTo>
                  <a:lnTo>
                    <a:pt x="154" y="1173"/>
                  </a:lnTo>
                  <a:lnTo>
                    <a:pt x="217" y="1319"/>
                  </a:lnTo>
                  <a:lnTo>
                    <a:pt x="239" y="1335"/>
                  </a:lnTo>
                  <a:lnTo>
                    <a:pt x="256" y="1413"/>
                  </a:lnTo>
                  <a:lnTo>
                    <a:pt x="234" y="1496"/>
                  </a:lnTo>
                  <a:lnTo>
                    <a:pt x="252" y="1566"/>
                  </a:lnTo>
                  <a:lnTo>
                    <a:pt x="212" y="1622"/>
                  </a:lnTo>
                  <a:lnTo>
                    <a:pt x="232" y="1700"/>
                  </a:lnTo>
                  <a:lnTo>
                    <a:pt x="275" y="1782"/>
                  </a:lnTo>
                  <a:lnTo>
                    <a:pt x="242" y="1813"/>
                  </a:lnTo>
                  <a:lnTo>
                    <a:pt x="244" y="1888"/>
                  </a:lnTo>
                  <a:lnTo>
                    <a:pt x="253" y="1975"/>
                  </a:lnTo>
                  <a:lnTo>
                    <a:pt x="295" y="2078"/>
                  </a:lnTo>
                  <a:lnTo>
                    <a:pt x="273" y="2095"/>
                  </a:lnTo>
                  <a:lnTo>
                    <a:pt x="319" y="2192"/>
                  </a:lnTo>
                  <a:lnTo>
                    <a:pt x="360" y="2224"/>
                  </a:lnTo>
                  <a:lnTo>
                    <a:pt x="349" y="2259"/>
                  </a:lnTo>
                  <a:lnTo>
                    <a:pt x="386" y="2276"/>
                  </a:lnTo>
                  <a:lnTo>
                    <a:pt x="404" y="2307"/>
                  </a:lnTo>
                  <a:lnTo>
                    <a:pt x="380" y="2323"/>
                  </a:lnTo>
                  <a:lnTo>
                    <a:pt x="404" y="2372"/>
                  </a:lnTo>
                  <a:lnTo>
                    <a:pt x="418" y="2483"/>
                  </a:lnTo>
                  <a:lnTo>
                    <a:pt x="409" y="2554"/>
                  </a:lnTo>
                  <a:lnTo>
                    <a:pt x="432" y="2596"/>
                  </a:lnTo>
                  <a:lnTo>
                    <a:pt x="431" y="2649"/>
                  </a:lnTo>
                  <a:lnTo>
                    <a:pt x="395" y="2686"/>
                  </a:lnTo>
                  <a:lnTo>
                    <a:pt x="436" y="2774"/>
                  </a:lnTo>
                  <a:lnTo>
                    <a:pt x="471" y="2804"/>
                  </a:lnTo>
                  <a:lnTo>
                    <a:pt x="513" y="2798"/>
                  </a:lnTo>
                  <a:lnTo>
                    <a:pt x="537" y="2860"/>
                  </a:lnTo>
                  <a:lnTo>
                    <a:pt x="583" y="2908"/>
                  </a:lnTo>
                  <a:lnTo>
                    <a:pt x="744" y="2919"/>
                  </a:lnTo>
                  <a:lnTo>
                    <a:pt x="808" y="2932"/>
                  </a:lnTo>
                  <a:lnTo>
                    <a:pt x="751" y="2931"/>
                  </a:lnTo>
                  <a:lnTo>
                    <a:pt x="728" y="2952"/>
                  </a:lnTo>
                  <a:lnTo>
                    <a:pt x="683" y="2981"/>
                  </a:lnTo>
                  <a:lnTo>
                    <a:pt x="706" y="3058"/>
                  </a:lnTo>
                  <a:lnTo>
                    <a:pt x="680" y="3060"/>
                  </a:lnTo>
                  <a:lnTo>
                    <a:pt x="596" y="3033"/>
                  </a:lnTo>
                  <a:lnTo>
                    <a:pt x="498" y="2976"/>
                  </a:lnTo>
                  <a:lnTo>
                    <a:pt x="498" y="2976"/>
                  </a:lnTo>
                  <a:lnTo>
                    <a:pt x="397" y="2929"/>
                  </a:lnTo>
                  <a:lnTo>
                    <a:pt x="354" y="2877"/>
                  </a:lnTo>
                  <a:lnTo>
                    <a:pt x="352" y="2829"/>
                  </a:lnTo>
                  <a:lnTo>
                    <a:pt x="296" y="2774"/>
                  </a:lnTo>
                  <a:lnTo>
                    <a:pt x="230" y="2632"/>
                  </a:lnTo>
                  <a:lnTo>
                    <a:pt x="226" y="2552"/>
                  </a:lnTo>
                  <a:lnTo>
                    <a:pt x="272" y="2488"/>
                  </a:lnTo>
                  <a:lnTo>
                    <a:pt x="162" y="2463"/>
                  </a:lnTo>
                  <a:lnTo>
                    <a:pt x="199" y="2389"/>
                  </a:lnTo>
                  <a:lnTo>
                    <a:pt x="173" y="2250"/>
                  </a:lnTo>
                  <a:lnTo>
                    <a:pt x="258" y="2280"/>
                  </a:lnTo>
                  <a:lnTo>
                    <a:pt x="237" y="2105"/>
                  </a:lnTo>
                  <a:lnTo>
                    <a:pt x="184" y="2083"/>
                  </a:lnTo>
                  <a:lnTo>
                    <a:pt x="196" y="2188"/>
                  </a:lnTo>
                  <a:lnTo>
                    <a:pt x="150" y="2176"/>
                  </a:lnTo>
                  <a:lnTo>
                    <a:pt x="132" y="2056"/>
                  </a:lnTo>
                  <a:lnTo>
                    <a:pt x="109" y="1900"/>
                  </a:lnTo>
                  <a:lnTo>
                    <a:pt x="124" y="1842"/>
                  </a:lnTo>
                  <a:lnTo>
                    <a:pt x="81" y="1759"/>
                  </a:lnTo>
                  <a:lnTo>
                    <a:pt x="50" y="1664"/>
                  </a:lnTo>
                  <a:lnTo>
                    <a:pt x="79" y="1661"/>
                  </a:lnTo>
                  <a:lnTo>
                    <a:pt x="88" y="1524"/>
                  </a:lnTo>
                  <a:lnTo>
                    <a:pt x="105" y="1389"/>
                  </a:lnTo>
                  <a:lnTo>
                    <a:pt x="107" y="1262"/>
                  </a:lnTo>
                  <a:lnTo>
                    <a:pt x="65" y="1135"/>
                  </a:lnTo>
                  <a:lnTo>
                    <a:pt x="72" y="1065"/>
                  </a:lnTo>
                  <a:lnTo>
                    <a:pt x="44" y="960"/>
                  </a:lnTo>
                  <a:lnTo>
                    <a:pt x="68" y="856"/>
                  </a:lnTo>
                  <a:lnTo>
                    <a:pt x="55" y="691"/>
                  </a:lnTo>
                  <a:lnTo>
                    <a:pt x="52" y="515"/>
                  </a:lnTo>
                  <a:lnTo>
                    <a:pt x="50" y="324"/>
                  </a:lnTo>
                  <a:lnTo>
                    <a:pt x="28" y="185"/>
                  </a:lnTo>
                  <a:lnTo>
                    <a:pt x="0" y="65"/>
                  </a:lnTo>
                  <a:lnTo>
                    <a:pt x="36" y="43"/>
                  </a:lnTo>
                  <a:lnTo>
                    <a:pt x="51" y="0"/>
                  </a:lnTo>
                  <a:lnTo>
                    <a:pt x="93" y="57"/>
                  </a:lnTo>
                  <a:lnTo>
                    <a:pt x="110" y="119"/>
                  </a:lnTo>
                  <a:lnTo>
                    <a:pt x="152" y="155"/>
                  </a:lnTo>
                  <a:lnTo>
                    <a:pt x="138" y="237"/>
                  </a:lnTo>
                  <a:lnTo>
                    <a:pt x="189" y="333"/>
                  </a:lnTo>
                  <a:moveTo>
                    <a:pt x="816" y="2960"/>
                  </a:moveTo>
                  <a:lnTo>
                    <a:pt x="893" y="3142"/>
                  </a:lnTo>
                  <a:lnTo>
                    <a:pt x="960" y="3142"/>
                  </a:lnTo>
                  <a:lnTo>
                    <a:pt x="999" y="3144"/>
                  </a:lnTo>
                  <a:lnTo>
                    <a:pt x="992" y="3177"/>
                  </a:lnTo>
                  <a:lnTo>
                    <a:pt x="950" y="3202"/>
                  </a:lnTo>
                  <a:lnTo>
                    <a:pt x="918" y="3200"/>
                  </a:lnTo>
                  <a:lnTo>
                    <a:pt x="878" y="3193"/>
                  </a:lnTo>
                  <a:lnTo>
                    <a:pt x="821" y="3169"/>
                  </a:lnTo>
                  <a:lnTo>
                    <a:pt x="750" y="3157"/>
                  </a:lnTo>
                  <a:lnTo>
                    <a:pt x="650" y="3112"/>
                  </a:lnTo>
                  <a:lnTo>
                    <a:pt x="565" y="3068"/>
                  </a:lnTo>
                  <a:lnTo>
                    <a:pt x="436" y="2976"/>
                  </a:lnTo>
                  <a:lnTo>
                    <a:pt x="497" y="2993"/>
                  </a:lnTo>
                  <a:lnTo>
                    <a:pt x="611" y="3048"/>
                  </a:lnTo>
                  <a:lnTo>
                    <a:pt x="708" y="3077"/>
                  </a:lnTo>
                  <a:lnTo>
                    <a:pt x="724" y="3040"/>
                  </a:lnTo>
                  <a:lnTo>
                    <a:pt x="721" y="2984"/>
                  </a:lnTo>
                  <a:lnTo>
                    <a:pt x="766" y="2950"/>
                  </a:lnTo>
                  <a:lnTo>
                    <a:pt x="816" y="2960"/>
                  </a:lnTo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82" name="Freeform 39">
              <a:extLst>
                <a:ext uri="{FF2B5EF4-FFF2-40B4-BE49-F238E27FC236}">
                  <a16:creationId xmlns:a16="http://schemas.microsoft.com/office/drawing/2014/main" id="{72CE2257-36DD-4666-AC39-67418F7E5A75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8555" y="2332180"/>
              <a:ext cx="53401" cy="50796"/>
            </a:xfrm>
            <a:custGeom>
              <a:avLst/>
              <a:gdLst>
                <a:gd name="T0" fmla="*/ 33 w 41"/>
                <a:gd name="T1" fmla="*/ 29 h 39"/>
                <a:gd name="T2" fmla="*/ 19 w 41"/>
                <a:gd name="T3" fmla="*/ 39 h 39"/>
                <a:gd name="T4" fmla="*/ 3 w 41"/>
                <a:gd name="T5" fmla="*/ 33 h 39"/>
                <a:gd name="T6" fmla="*/ 0 w 41"/>
                <a:gd name="T7" fmla="*/ 15 h 39"/>
                <a:gd name="T8" fmla="*/ 7 w 41"/>
                <a:gd name="T9" fmla="*/ 6 h 39"/>
                <a:gd name="T10" fmla="*/ 25 w 41"/>
                <a:gd name="T11" fmla="*/ 0 h 39"/>
                <a:gd name="T12" fmla="*/ 36 w 41"/>
                <a:gd name="T13" fmla="*/ 0 h 39"/>
                <a:gd name="T14" fmla="*/ 41 w 41"/>
                <a:gd name="T15" fmla="*/ 8 h 39"/>
                <a:gd name="T16" fmla="*/ 35 w 41"/>
                <a:gd name="T17" fmla="*/ 17 h 39"/>
                <a:gd name="T18" fmla="*/ 33 w 41"/>
                <a:gd name="T19" fmla="*/ 2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39">
                  <a:moveTo>
                    <a:pt x="33" y="29"/>
                  </a:moveTo>
                  <a:lnTo>
                    <a:pt x="19" y="39"/>
                  </a:lnTo>
                  <a:lnTo>
                    <a:pt x="3" y="33"/>
                  </a:lnTo>
                  <a:lnTo>
                    <a:pt x="0" y="15"/>
                  </a:lnTo>
                  <a:lnTo>
                    <a:pt x="7" y="6"/>
                  </a:lnTo>
                  <a:lnTo>
                    <a:pt x="25" y="0"/>
                  </a:lnTo>
                  <a:lnTo>
                    <a:pt x="36" y="0"/>
                  </a:lnTo>
                  <a:lnTo>
                    <a:pt x="41" y="8"/>
                  </a:lnTo>
                  <a:lnTo>
                    <a:pt x="35" y="17"/>
                  </a:lnTo>
                  <a:lnTo>
                    <a:pt x="33" y="29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83" name="Freeform 40">
              <a:extLst>
                <a:ext uri="{FF2B5EF4-FFF2-40B4-BE49-F238E27FC236}">
                  <a16:creationId xmlns:a16="http://schemas.microsoft.com/office/drawing/2014/main" id="{AC5C7DC5-8187-41BE-9D90-788A7E13A8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9901" y="1438692"/>
              <a:ext cx="1225615" cy="888278"/>
            </a:xfrm>
            <a:custGeom>
              <a:avLst/>
              <a:gdLst>
                <a:gd name="T0" fmla="*/ 872 w 941"/>
                <a:gd name="T1" fmla="*/ 114 h 682"/>
                <a:gd name="T2" fmla="*/ 932 w 941"/>
                <a:gd name="T3" fmla="*/ 118 h 682"/>
                <a:gd name="T4" fmla="*/ 919 w 941"/>
                <a:gd name="T5" fmla="*/ 164 h 682"/>
                <a:gd name="T6" fmla="*/ 928 w 941"/>
                <a:gd name="T7" fmla="*/ 214 h 682"/>
                <a:gd name="T8" fmla="*/ 895 w 941"/>
                <a:gd name="T9" fmla="*/ 232 h 682"/>
                <a:gd name="T10" fmla="*/ 873 w 941"/>
                <a:gd name="T11" fmla="*/ 251 h 682"/>
                <a:gd name="T12" fmla="*/ 825 w 941"/>
                <a:gd name="T13" fmla="*/ 291 h 682"/>
                <a:gd name="T14" fmla="*/ 813 w 941"/>
                <a:gd name="T15" fmla="*/ 265 h 682"/>
                <a:gd name="T16" fmla="*/ 771 w 941"/>
                <a:gd name="T17" fmla="*/ 289 h 682"/>
                <a:gd name="T18" fmla="*/ 781 w 941"/>
                <a:gd name="T19" fmla="*/ 317 h 682"/>
                <a:gd name="T20" fmla="*/ 833 w 941"/>
                <a:gd name="T21" fmla="*/ 325 h 682"/>
                <a:gd name="T22" fmla="*/ 827 w 941"/>
                <a:gd name="T23" fmla="*/ 354 h 682"/>
                <a:gd name="T24" fmla="*/ 849 w 941"/>
                <a:gd name="T25" fmla="*/ 410 h 682"/>
                <a:gd name="T26" fmla="*/ 880 w 941"/>
                <a:gd name="T27" fmla="*/ 466 h 682"/>
                <a:gd name="T28" fmla="*/ 903 w 941"/>
                <a:gd name="T29" fmla="*/ 517 h 682"/>
                <a:gd name="T30" fmla="*/ 871 w 941"/>
                <a:gd name="T31" fmla="*/ 593 h 682"/>
                <a:gd name="T32" fmla="*/ 801 w 941"/>
                <a:gd name="T33" fmla="*/ 642 h 682"/>
                <a:gd name="T34" fmla="*/ 744 w 941"/>
                <a:gd name="T35" fmla="*/ 659 h 682"/>
                <a:gd name="T36" fmla="*/ 727 w 941"/>
                <a:gd name="T37" fmla="*/ 659 h 682"/>
                <a:gd name="T38" fmla="*/ 664 w 941"/>
                <a:gd name="T39" fmla="*/ 642 h 682"/>
                <a:gd name="T40" fmla="*/ 624 w 941"/>
                <a:gd name="T41" fmla="*/ 629 h 682"/>
                <a:gd name="T42" fmla="*/ 576 w 941"/>
                <a:gd name="T43" fmla="*/ 640 h 682"/>
                <a:gd name="T44" fmla="*/ 569 w 941"/>
                <a:gd name="T45" fmla="*/ 649 h 682"/>
                <a:gd name="T46" fmla="*/ 535 w 941"/>
                <a:gd name="T47" fmla="*/ 627 h 682"/>
                <a:gd name="T48" fmla="*/ 494 w 941"/>
                <a:gd name="T49" fmla="*/ 582 h 682"/>
                <a:gd name="T50" fmla="*/ 491 w 941"/>
                <a:gd name="T51" fmla="*/ 527 h 682"/>
                <a:gd name="T52" fmla="*/ 456 w 941"/>
                <a:gd name="T53" fmla="*/ 505 h 682"/>
                <a:gd name="T54" fmla="*/ 401 w 941"/>
                <a:gd name="T55" fmla="*/ 508 h 682"/>
                <a:gd name="T56" fmla="*/ 356 w 941"/>
                <a:gd name="T57" fmla="*/ 520 h 682"/>
                <a:gd name="T58" fmla="*/ 321 w 941"/>
                <a:gd name="T59" fmla="*/ 520 h 682"/>
                <a:gd name="T60" fmla="*/ 253 w 941"/>
                <a:gd name="T61" fmla="*/ 508 h 682"/>
                <a:gd name="T62" fmla="*/ 199 w 941"/>
                <a:gd name="T63" fmla="*/ 478 h 682"/>
                <a:gd name="T64" fmla="*/ 129 w 941"/>
                <a:gd name="T65" fmla="*/ 449 h 682"/>
                <a:gd name="T66" fmla="*/ 120 w 941"/>
                <a:gd name="T67" fmla="*/ 408 h 682"/>
                <a:gd name="T68" fmla="*/ 54 w 941"/>
                <a:gd name="T69" fmla="*/ 342 h 682"/>
                <a:gd name="T70" fmla="*/ 26 w 941"/>
                <a:gd name="T71" fmla="*/ 307 h 682"/>
                <a:gd name="T72" fmla="*/ 3 w 941"/>
                <a:gd name="T73" fmla="*/ 280 h 682"/>
                <a:gd name="T74" fmla="*/ 42 w 941"/>
                <a:gd name="T75" fmla="*/ 264 h 682"/>
                <a:gd name="T76" fmla="*/ 91 w 941"/>
                <a:gd name="T77" fmla="*/ 230 h 682"/>
                <a:gd name="T78" fmla="*/ 68 w 941"/>
                <a:gd name="T79" fmla="*/ 172 h 682"/>
                <a:gd name="T80" fmla="*/ 136 w 941"/>
                <a:gd name="T81" fmla="*/ 130 h 682"/>
                <a:gd name="T82" fmla="*/ 151 w 941"/>
                <a:gd name="T83" fmla="*/ 85 h 682"/>
                <a:gd name="T84" fmla="*/ 213 w 941"/>
                <a:gd name="T85" fmla="*/ 116 h 682"/>
                <a:gd name="T86" fmla="*/ 267 w 941"/>
                <a:gd name="T87" fmla="*/ 168 h 682"/>
                <a:gd name="T88" fmla="*/ 343 w 941"/>
                <a:gd name="T89" fmla="*/ 205 h 682"/>
                <a:gd name="T90" fmla="*/ 433 w 941"/>
                <a:gd name="T91" fmla="*/ 219 h 682"/>
                <a:gd name="T92" fmla="*/ 512 w 941"/>
                <a:gd name="T93" fmla="*/ 241 h 682"/>
                <a:gd name="T94" fmla="*/ 591 w 941"/>
                <a:gd name="T95" fmla="*/ 214 h 682"/>
                <a:gd name="T96" fmla="*/ 590 w 941"/>
                <a:gd name="T97" fmla="*/ 182 h 682"/>
                <a:gd name="T98" fmla="*/ 632 w 941"/>
                <a:gd name="T99" fmla="*/ 164 h 682"/>
                <a:gd name="T100" fmla="*/ 687 w 941"/>
                <a:gd name="T101" fmla="*/ 134 h 682"/>
                <a:gd name="T102" fmla="*/ 659 w 941"/>
                <a:gd name="T103" fmla="*/ 108 h 682"/>
                <a:gd name="T104" fmla="*/ 616 w 941"/>
                <a:gd name="T105" fmla="*/ 107 h 682"/>
                <a:gd name="T106" fmla="*/ 652 w 941"/>
                <a:gd name="T107" fmla="*/ 66 h 682"/>
                <a:gd name="T108" fmla="*/ 642 w 941"/>
                <a:gd name="T109" fmla="*/ 18 h 682"/>
                <a:gd name="T110" fmla="*/ 672 w 941"/>
                <a:gd name="T111" fmla="*/ 0 h 682"/>
                <a:gd name="T112" fmla="*/ 757 w 941"/>
                <a:gd name="T113" fmla="*/ 42 h 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41" h="682">
                  <a:moveTo>
                    <a:pt x="791" y="74"/>
                  </a:moveTo>
                  <a:lnTo>
                    <a:pt x="823" y="80"/>
                  </a:lnTo>
                  <a:lnTo>
                    <a:pt x="852" y="95"/>
                  </a:lnTo>
                  <a:lnTo>
                    <a:pt x="872" y="114"/>
                  </a:lnTo>
                  <a:lnTo>
                    <a:pt x="896" y="114"/>
                  </a:lnTo>
                  <a:lnTo>
                    <a:pt x="905" y="106"/>
                  </a:lnTo>
                  <a:lnTo>
                    <a:pt x="927" y="100"/>
                  </a:lnTo>
                  <a:lnTo>
                    <a:pt x="932" y="118"/>
                  </a:lnTo>
                  <a:lnTo>
                    <a:pt x="930" y="126"/>
                  </a:lnTo>
                  <a:lnTo>
                    <a:pt x="940" y="148"/>
                  </a:lnTo>
                  <a:lnTo>
                    <a:pt x="941" y="168"/>
                  </a:lnTo>
                  <a:lnTo>
                    <a:pt x="919" y="164"/>
                  </a:lnTo>
                  <a:lnTo>
                    <a:pt x="909" y="171"/>
                  </a:lnTo>
                  <a:lnTo>
                    <a:pt x="924" y="189"/>
                  </a:lnTo>
                  <a:lnTo>
                    <a:pt x="936" y="213"/>
                  </a:lnTo>
                  <a:lnTo>
                    <a:pt x="928" y="214"/>
                  </a:lnTo>
                  <a:lnTo>
                    <a:pt x="934" y="224"/>
                  </a:lnTo>
                  <a:lnTo>
                    <a:pt x="916" y="212"/>
                  </a:lnTo>
                  <a:lnTo>
                    <a:pt x="916" y="223"/>
                  </a:lnTo>
                  <a:lnTo>
                    <a:pt x="895" y="232"/>
                  </a:lnTo>
                  <a:lnTo>
                    <a:pt x="904" y="243"/>
                  </a:lnTo>
                  <a:lnTo>
                    <a:pt x="889" y="243"/>
                  </a:lnTo>
                  <a:lnTo>
                    <a:pt x="877" y="236"/>
                  </a:lnTo>
                  <a:lnTo>
                    <a:pt x="873" y="251"/>
                  </a:lnTo>
                  <a:lnTo>
                    <a:pt x="861" y="262"/>
                  </a:lnTo>
                  <a:lnTo>
                    <a:pt x="853" y="275"/>
                  </a:lnTo>
                  <a:lnTo>
                    <a:pt x="833" y="281"/>
                  </a:lnTo>
                  <a:lnTo>
                    <a:pt x="825" y="291"/>
                  </a:lnTo>
                  <a:lnTo>
                    <a:pt x="809" y="296"/>
                  </a:lnTo>
                  <a:lnTo>
                    <a:pt x="814" y="287"/>
                  </a:lnTo>
                  <a:lnTo>
                    <a:pt x="806" y="279"/>
                  </a:lnTo>
                  <a:lnTo>
                    <a:pt x="813" y="265"/>
                  </a:lnTo>
                  <a:lnTo>
                    <a:pt x="799" y="254"/>
                  </a:lnTo>
                  <a:lnTo>
                    <a:pt x="788" y="261"/>
                  </a:lnTo>
                  <a:lnTo>
                    <a:pt x="776" y="275"/>
                  </a:lnTo>
                  <a:lnTo>
                    <a:pt x="771" y="289"/>
                  </a:lnTo>
                  <a:lnTo>
                    <a:pt x="755" y="290"/>
                  </a:lnTo>
                  <a:lnTo>
                    <a:pt x="751" y="299"/>
                  </a:lnTo>
                  <a:lnTo>
                    <a:pt x="766" y="313"/>
                  </a:lnTo>
                  <a:lnTo>
                    <a:pt x="781" y="317"/>
                  </a:lnTo>
                  <a:lnTo>
                    <a:pt x="786" y="326"/>
                  </a:lnTo>
                  <a:lnTo>
                    <a:pt x="802" y="332"/>
                  </a:lnTo>
                  <a:lnTo>
                    <a:pt x="815" y="317"/>
                  </a:lnTo>
                  <a:lnTo>
                    <a:pt x="833" y="325"/>
                  </a:lnTo>
                  <a:lnTo>
                    <a:pt x="845" y="326"/>
                  </a:lnTo>
                  <a:lnTo>
                    <a:pt x="852" y="337"/>
                  </a:lnTo>
                  <a:lnTo>
                    <a:pt x="830" y="343"/>
                  </a:lnTo>
                  <a:lnTo>
                    <a:pt x="827" y="354"/>
                  </a:lnTo>
                  <a:lnTo>
                    <a:pt x="815" y="364"/>
                  </a:lnTo>
                  <a:lnTo>
                    <a:pt x="811" y="378"/>
                  </a:lnTo>
                  <a:lnTo>
                    <a:pt x="834" y="390"/>
                  </a:lnTo>
                  <a:lnTo>
                    <a:pt x="849" y="410"/>
                  </a:lnTo>
                  <a:lnTo>
                    <a:pt x="867" y="429"/>
                  </a:lnTo>
                  <a:lnTo>
                    <a:pt x="884" y="445"/>
                  </a:lnTo>
                  <a:lnTo>
                    <a:pt x="889" y="461"/>
                  </a:lnTo>
                  <a:lnTo>
                    <a:pt x="880" y="466"/>
                  </a:lnTo>
                  <a:lnTo>
                    <a:pt x="888" y="477"/>
                  </a:lnTo>
                  <a:lnTo>
                    <a:pt x="900" y="484"/>
                  </a:lnTo>
                  <a:lnTo>
                    <a:pt x="903" y="501"/>
                  </a:lnTo>
                  <a:lnTo>
                    <a:pt x="903" y="517"/>
                  </a:lnTo>
                  <a:lnTo>
                    <a:pt x="894" y="519"/>
                  </a:lnTo>
                  <a:lnTo>
                    <a:pt x="888" y="541"/>
                  </a:lnTo>
                  <a:lnTo>
                    <a:pt x="881" y="569"/>
                  </a:lnTo>
                  <a:lnTo>
                    <a:pt x="871" y="593"/>
                  </a:lnTo>
                  <a:lnTo>
                    <a:pt x="851" y="613"/>
                  </a:lnTo>
                  <a:lnTo>
                    <a:pt x="830" y="630"/>
                  </a:lnTo>
                  <a:lnTo>
                    <a:pt x="810" y="632"/>
                  </a:lnTo>
                  <a:lnTo>
                    <a:pt x="801" y="642"/>
                  </a:lnTo>
                  <a:lnTo>
                    <a:pt x="793" y="635"/>
                  </a:lnTo>
                  <a:lnTo>
                    <a:pt x="785" y="645"/>
                  </a:lnTo>
                  <a:lnTo>
                    <a:pt x="762" y="656"/>
                  </a:lnTo>
                  <a:lnTo>
                    <a:pt x="744" y="659"/>
                  </a:lnTo>
                  <a:lnTo>
                    <a:pt x="742" y="681"/>
                  </a:lnTo>
                  <a:lnTo>
                    <a:pt x="732" y="682"/>
                  </a:lnTo>
                  <a:lnTo>
                    <a:pt x="725" y="667"/>
                  </a:lnTo>
                  <a:lnTo>
                    <a:pt x="727" y="659"/>
                  </a:lnTo>
                  <a:lnTo>
                    <a:pt x="702" y="652"/>
                  </a:lnTo>
                  <a:lnTo>
                    <a:pt x="694" y="656"/>
                  </a:lnTo>
                  <a:lnTo>
                    <a:pt x="675" y="650"/>
                  </a:lnTo>
                  <a:lnTo>
                    <a:pt x="664" y="642"/>
                  </a:lnTo>
                  <a:lnTo>
                    <a:pt x="665" y="630"/>
                  </a:lnTo>
                  <a:lnTo>
                    <a:pt x="648" y="626"/>
                  </a:lnTo>
                  <a:lnTo>
                    <a:pt x="638" y="618"/>
                  </a:lnTo>
                  <a:lnTo>
                    <a:pt x="624" y="629"/>
                  </a:lnTo>
                  <a:lnTo>
                    <a:pt x="608" y="632"/>
                  </a:lnTo>
                  <a:lnTo>
                    <a:pt x="593" y="632"/>
                  </a:lnTo>
                  <a:lnTo>
                    <a:pt x="585" y="637"/>
                  </a:lnTo>
                  <a:lnTo>
                    <a:pt x="576" y="640"/>
                  </a:lnTo>
                  <a:lnTo>
                    <a:pt x="583" y="663"/>
                  </a:lnTo>
                  <a:lnTo>
                    <a:pt x="573" y="663"/>
                  </a:lnTo>
                  <a:lnTo>
                    <a:pt x="571" y="658"/>
                  </a:lnTo>
                  <a:lnTo>
                    <a:pt x="569" y="649"/>
                  </a:lnTo>
                  <a:lnTo>
                    <a:pt x="557" y="656"/>
                  </a:lnTo>
                  <a:lnTo>
                    <a:pt x="548" y="652"/>
                  </a:lnTo>
                  <a:lnTo>
                    <a:pt x="533" y="644"/>
                  </a:lnTo>
                  <a:lnTo>
                    <a:pt x="535" y="627"/>
                  </a:lnTo>
                  <a:lnTo>
                    <a:pt x="523" y="623"/>
                  </a:lnTo>
                  <a:lnTo>
                    <a:pt x="515" y="604"/>
                  </a:lnTo>
                  <a:lnTo>
                    <a:pt x="497" y="607"/>
                  </a:lnTo>
                  <a:lnTo>
                    <a:pt x="494" y="582"/>
                  </a:lnTo>
                  <a:lnTo>
                    <a:pt x="507" y="565"/>
                  </a:lnTo>
                  <a:lnTo>
                    <a:pt x="504" y="548"/>
                  </a:lnTo>
                  <a:lnTo>
                    <a:pt x="500" y="532"/>
                  </a:lnTo>
                  <a:lnTo>
                    <a:pt x="491" y="527"/>
                  </a:lnTo>
                  <a:lnTo>
                    <a:pt x="482" y="515"/>
                  </a:lnTo>
                  <a:lnTo>
                    <a:pt x="472" y="516"/>
                  </a:lnTo>
                  <a:lnTo>
                    <a:pt x="452" y="513"/>
                  </a:lnTo>
                  <a:lnTo>
                    <a:pt x="456" y="505"/>
                  </a:lnTo>
                  <a:lnTo>
                    <a:pt x="445" y="492"/>
                  </a:lnTo>
                  <a:lnTo>
                    <a:pt x="434" y="500"/>
                  </a:lnTo>
                  <a:lnTo>
                    <a:pt x="418" y="495"/>
                  </a:lnTo>
                  <a:lnTo>
                    <a:pt x="401" y="508"/>
                  </a:lnTo>
                  <a:lnTo>
                    <a:pt x="389" y="524"/>
                  </a:lnTo>
                  <a:lnTo>
                    <a:pt x="375" y="527"/>
                  </a:lnTo>
                  <a:lnTo>
                    <a:pt x="366" y="521"/>
                  </a:lnTo>
                  <a:lnTo>
                    <a:pt x="356" y="520"/>
                  </a:lnTo>
                  <a:lnTo>
                    <a:pt x="343" y="516"/>
                  </a:lnTo>
                  <a:lnTo>
                    <a:pt x="334" y="521"/>
                  </a:lnTo>
                  <a:lnTo>
                    <a:pt x="326" y="536"/>
                  </a:lnTo>
                  <a:lnTo>
                    <a:pt x="321" y="520"/>
                  </a:lnTo>
                  <a:lnTo>
                    <a:pt x="311" y="524"/>
                  </a:lnTo>
                  <a:lnTo>
                    <a:pt x="290" y="522"/>
                  </a:lnTo>
                  <a:lnTo>
                    <a:pt x="269" y="517"/>
                  </a:lnTo>
                  <a:lnTo>
                    <a:pt x="253" y="508"/>
                  </a:lnTo>
                  <a:lnTo>
                    <a:pt x="238" y="504"/>
                  </a:lnTo>
                  <a:lnTo>
                    <a:pt x="230" y="494"/>
                  </a:lnTo>
                  <a:lnTo>
                    <a:pt x="219" y="491"/>
                  </a:lnTo>
                  <a:lnTo>
                    <a:pt x="199" y="478"/>
                  </a:lnTo>
                  <a:lnTo>
                    <a:pt x="183" y="472"/>
                  </a:lnTo>
                  <a:lnTo>
                    <a:pt x="177" y="476"/>
                  </a:lnTo>
                  <a:lnTo>
                    <a:pt x="149" y="462"/>
                  </a:lnTo>
                  <a:lnTo>
                    <a:pt x="129" y="449"/>
                  </a:lnTo>
                  <a:lnTo>
                    <a:pt x="119" y="426"/>
                  </a:lnTo>
                  <a:lnTo>
                    <a:pt x="132" y="429"/>
                  </a:lnTo>
                  <a:lnTo>
                    <a:pt x="130" y="418"/>
                  </a:lnTo>
                  <a:lnTo>
                    <a:pt x="120" y="408"/>
                  </a:lnTo>
                  <a:lnTo>
                    <a:pt x="118" y="391"/>
                  </a:lnTo>
                  <a:lnTo>
                    <a:pt x="93" y="366"/>
                  </a:lnTo>
                  <a:lnTo>
                    <a:pt x="63" y="358"/>
                  </a:lnTo>
                  <a:lnTo>
                    <a:pt x="54" y="342"/>
                  </a:lnTo>
                  <a:lnTo>
                    <a:pt x="38" y="333"/>
                  </a:lnTo>
                  <a:lnTo>
                    <a:pt x="34" y="327"/>
                  </a:lnTo>
                  <a:lnTo>
                    <a:pt x="28" y="315"/>
                  </a:lnTo>
                  <a:lnTo>
                    <a:pt x="26" y="307"/>
                  </a:lnTo>
                  <a:lnTo>
                    <a:pt x="15" y="302"/>
                  </a:lnTo>
                  <a:lnTo>
                    <a:pt x="9" y="304"/>
                  </a:lnTo>
                  <a:lnTo>
                    <a:pt x="0" y="285"/>
                  </a:lnTo>
                  <a:lnTo>
                    <a:pt x="3" y="280"/>
                  </a:lnTo>
                  <a:lnTo>
                    <a:pt x="0" y="276"/>
                  </a:lnTo>
                  <a:lnTo>
                    <a:pt x="13" y="266"/>
                  </a:lnTo>
                  <a:lnTo>
                    <a:pt x="23" y="262"/>
                  </a:lnTo>
                  <a:lnTo>
                    <a:pt x="42" y="264"/>
                  </a:lnTo>
                  <a:lnTo>
                    <a:pt x="44" y="252"/>
                  </a:lnTo>
                  <a:lnTo>
                    <a:pt x="65" y="249"/>
                  </a:lnTo>
                  <a:lnTo>
                    <a:pt x="68" y="241"/>
                  </a:lnTo>
                  <a:lnTo>
                    <a:pt x="91" y="230"/>
                  </a:lnTo>
                  <a:lnTo>
                    <a:pt x="92" y="225"/>
                  </a:lnTo>
                  <a:lnTo>
                    <a:pt x="87" y="213"/>
                  </a:lnTo>
                  <a:lnTo>
                    <a:pt x="96" y="208"/>
                  </a:lnTo>
                  <a:lnTo>
                    <a:pt x="68" y="172"/>
                  </a:lnTo>
                  <a:lnTo>
                    <a:pt x="98" y="164"/>
                  </a:lnTo>
                  <a:lnTo>
                    <a:pt x="104" y="160"/>
                  </a:lnTo>
                  <a:lnTo>
                    <a:pt x="101" y="123"/>
                  </a:lnTo>
                  <a:lnTo>
                    <a:pt x="136" y="130"/>
                  </a:lnTo>
                  <a:lnTo>
                    <a:pt x="141" y="121"/>
                  </a:lnTo>
                  <a:lnTo>
                    <a:pt x="133" y="100"/>
                  </a:lnTo>
                  <a:lnTo>
                    <a:pt x="146" y="98"/>
                  </a:lnTo>
                  <a:lnTo>
                    <a:pt x="151" y="85"/>
                  </a:lnTo>
                  <a:lnTo>
                    <a:pt x="157" y="83"/>
                  </a:lnTo>
                  <a:lnTo>
                    <a:pt x="168" y="97"/>
                  </a:lnTo>
                  <a:lnTo>
                    <a:pt x="186" y="108"/>
                  </a:lnTo>
                  <a:lnTo>
                    <a:pt x="213" y="116"/>
                  </a:lnTo>
                  <a:lnTo>
                    <a:pt x="232" y="132"/>
                  </a:lnTo>
                  <a:lnTo>
                    <a:pt x="236" y="156"/>
                  </a:lnTo>
                  <a:lnTo>
                    <a:pt x="246" y="165"/>
                  </a:lnTo>
                  <a:lnTo>
                    <a:pt x="267" y="168"/>
                  </a:lnTo>
                  <a:lnTo>
                    <a:pt x="290" y="171"/>
                  </a:lnTo>
                  <a:lnTo>
                    <a:pt x="316" y="184"/>
                  </a:lnTo>
                  <a:lnTo>
                    <a:pt x="327" y="186"/>
                  </a:lnTo>
                  <a:lnTo>
                    <a:pt x="343" y="205"/>
                  </a:lnTo>
                  <a:lnTo>
                    <a:pt x="358" y="217"/>
                  </a:lnTo>
                  <a:lnTo>
                    <a:pt x="376" y="217"/>
                  </a:lnTo>
                  <a:lnTo>
                    <a:pt x="412" y="222"/>
                  </a:lnTo>
                  <a:lnTo>
                    <a:pt x="433" y="219"/>
                  </a:lnTo>
                  <a:lnTo>
                    <a:pt x="451" y="222"/>
                  </a:lnTo>
                  <a:lnTo>
                    <a:pt x="481" y="234"/>
                  </a:lnTo>
                  <a:lnTo>
                    <a:pt x="502" y="234"/>
                  </a:lnTo>
                  <a:lnTo>
                    <a:pt x="512" y="241"/>
                  </a:lnTo>
                  <a:lnTo>
                    <a:pt x="527" y="230"/>
                  </a:lnTo>
                  <a:lnTo>
                    <a:pt x="550" y="222"/>
                  </a:lnTo>
                  <a:lnTo>
                    <a:pt x="575" y="222"/>
                  </a:lnTo>
                  <a:lnTo>
                    <a:pt x="591" y="214"/>
                  </a:lnTo>
                  <a:lnTo>
                    <a:pt x="598" y="203"/>
                  </a:lnTo>
                  <a:lnTo>
                    <a:pt x="606" y="196"/>
                  </a:lnTo>
                  <a:lnTo>
                    <a:pt x="600" y="190"/>
                  </a:lnTo>
                  <a:lnTo>
                    <a:pt x="590" y="182"/>
                  </a:lnTo>
                  <a:lnTo>
                    <a:pt x="592" y="169"/>
                  </a:lnTo>
                  <a:lnTo>
                    <a:pt x="602" y="171"/>
                  </a:lnTo>
                  <a:lnTo>
                    <a:pt x="621" y="175"/>
                  </a:lnTo>
                  <a:lnTo>
                    <a:pt x="632" y="164"/>
                  </a:lnTo>
                  <a:lnTo>
                    <a:pt x="653" y="156"/>
                  </a:lnTo>
                  <a:lnTo>
                    <a:pt x="657" y="142"/>
                  </a:lnTo>
                  <a:lnTo>
                    <a:pt x="665" y="137"/>
                  </a:lnTo>
                  <a:lnTo>
                    <a:pt x="687" y="134"/>
                  </a:lnTo>
                  <a:lnTo>
                    <a:pt x="702" y="136"/>
                  </a:lnTo>
                  <a:lnTo>
                    <a:pt x="699" y="129"/>
                  </a:lnTo>
                  <a:lnTo>
                    <a:pt x="676" y="115"/>
                  </a:lnTo>
                  <a:lnTo>
                    <a:pt x="659" y="108"/>
                  </a:lnTo>
                  <a:lnTo>
                    <a:pt x="651" y="116"/>
                  </a:lnTo>
                  <a:lnTo>
                    <a:pt x="633" y="112"/>
                  </a:lnTo>
                  <a:lnTo>
                    <a:pt x="625" y="115"/>
                  </a:lnTo>
                  <a:lnTo>
                    <a:pt x="616" y="107"/>
                  </a:lnTo>
                  <a:lnTo>
                    <a:pt x="615" y="87"/>
                  </a:lnTo>
                  <a:lnTo>
                    <a:pt x="613" y="71"/>
                  </a:lnTo>
                  <a:lnTo>
                    <a:pt x="638" y="79"/>
                  </a:lnTo>
                  <a:lnTo>
                    <a:pt x="652" y="66"/>
                  </a:lnTo>
                  <a:lnTo>
                    <a:pt x="646" y="57"/>
                  </a:lnTo>
                  <a:lnTo>
                    <a:pt x="646" y="36"/>
                  </a:lnTo>
                  <a:lnTo>
                    <a:pt x="650" y="30"/>
                  </a:lnTo>
                  <a:lnTo>
                    <a:pt x="642" y="18"/>
                  </a:lnTo>
                  <a:lnTo>
                    <a:pt x="630" y="14"/>
                  </a:lnTo>
                  <a:lnTo>
                    <a:pt x="635" y="4"/>
                  </a:lnTo>
                  <a:lnTo>
                    <a:pt x="652" y="0"/>
                  </a:lnTo>
                  <a:lnTo>
                    <a:pt x="672" y="0"/>
                  </a:lnTo>
                  <a:lnTo>
                    <a:pt x="700" y="5"/>
                  </a:lnTo>
                  <a:lnTo>
                    <a:pt x="719" y="13"/>
                  </a:lnTo>
                  <a:lnTo>
                    <a:pt x="744" y="33"/>
                  </a:lnTo>
                  <a:lnTo>
                    <a:pt x="757" y="42"/>
                  </a:lnTo>
                  <a:lnTo>
                    <a:pt x="771" y="54"/>
                  </a:lnTo>
                  <a:lnTo>
                    <a:pt x="791" y="74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84" name="Freeform 41">
              <a:extLst>
                <a:ext uri="{FF2B5EF4-FFF2-40B4-BE49-F238E27FC236}">
                  <a16:creationId xmlns:a16="http://schemas.microsoft.com/office/drawing/2014/main" id="{CED7FCAA-08B6-40F2-A1AF-E2F4E8A83D3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6038" y="2591370"/>
              <a:ext cx="143271" cy="166715"/>
            </a:xfrm>
            <a:custGeom>
              <a:avLst/>
              <a:gdLst>
                <a:gd name="T0" fmla="*/ 105 w 110"/>
                <a:gd name="T1" fmla="*/ 115 h 128"/>
                <a:gd name="T2" fmla="*/ 97 w 110"/>
                <a:gd name="T3" fmla="*/ 115 h 128"/>
                <a:gd name="T4" fmla="*/ 84 w 110"/>
                <a:gd name="T5" fmla="*/ 111 h 128"/>
                <a:gd name="T6" fmla="*/ 72 w 110"/>
                <a:gd name="T7" fmla="*/ 111 h 128"/>
                <a:gd name="T8" fmla="*/ 50 w 110"/>
                <a:gd name="T9" fmla="*/ 115 h 128"/>
                <a:gd name="T10" fmla="*/ 37 w 110"/>
                <a:gd name="T11" fmla="*/ 121 h 128"/>
                <a:gd name="T12" fmla="*/ 19 w 110"/>
                <a:gd name="T13" fmla="*/ 128 h 128"/>
                <a:gd name="T14" fmla="*/ 16 w 110"/>
                <a:gd name="T15" fmla="*/ 128 h 128"/>
                <a:gd name="T16" fmla="*/ 17 w 110"/>
                <a:gd name="T17" fmla="*/ 111 h 128"/>
                <a:gd name="T18" fmla="*/ 19 w 110"/>
                <a:gd name="T19" fmla="*/ 108 h 128"/>
                <a:gd name="T20" fmla="*/ 18 w 110"/>
                <a:gd name="T21" fmla="*/ 100 h 128"/>
                <a:gd name="T22" fmla="*/ 11 w 110"/>
                <a:gd name="T23" fmla="*/ 91 h 128"/>
                <a:gd name="T24" fmla="*/ 5 w 110"/>
                <a:gd name="T25" fmla="*/ 90 h 128"/>
                <a:gd name="T26" fmla="*/ 0 w 110"/>
                <a:gd name="T27" fmla="*/ 84 h 128"/>
                <a:gd name="T28" fmla="*/ 3 w 110"/>
                <a:gd name="T29" fmla="*/ 75 h 128"/>
                <a:gd name="T30" fmla="*/ 2 w 110"/>
                <a:gd name="T31" fmla="*/ 65 h 128"/>
                <a:gd name="T32" fmla="*/ 3 w 110"/>
                <a:gd name="T33" fmla="*/ 59 h 128"/>
                <a:gd name="T34" fmla="*/ 6 w 110"/>
                <a:gd name="T35" fmla="*/ 59 h 128"/>
                <a:gd name="T36" fmla="*/ 7 w 110"/>
                <a:gd name="T37" fmla="*/ 50 h 128"/>
                <a:gd name="T38" fmla="*/ 5 w 110"/>
                <a:gd name="T39" fmla="*/ 46 h 128"/>
                <a:gd name="T40" fmla="*/ 7 w 110"/>
                <a:gd name="T41" fmla="*/ 43 h 128"/>
                <a:gd name="T42" fmla="*/ 14 w 110"/>
                <a:gd name="T43" fmla="*/ 40 h 128"/>
                <a:gd name="T44" fmla="*/ 9 w 110"/>
                <a:gd name="T45" fmla="*/ 24 h 128"/>
                <a:gd name="T46" fmla="*/ 5 w 110"/>
                <a:gd name="T47" fmla="*/ 15 h 128"/>
                <a:gd name="T48" fmla="*/ 7 w 110"/>
                <a:gd name="T49" fmla="*/ 8 h 128"/>
                <a:gd name="T50" fmla="*/ 11 w 110"/>
                <a:gd name="T51" fmla="*/ 6 h 128"/>
                <a:gd name="T52" fmla="*/ 13 w 110"/>
                <a:gd name="T53" fmla="*/ 5 h 128"/>
                <a:gd name="T54" fmla="*/ 18 w 110"/>
                <a:gd name="T55" fmla="*/ 7 h 128"/>
                <a:gd name="T56" fmla="*/ 32 w 110"/>
                <a:gd name="T57" fmla="*/ 8 h 128"/>
                <a:gd name="T58" fmla="*/ 35 w 110"/>
                <a:gd name="T59" fmla="*/ 2 h 128"/>
                <a:gd name="T60" fmla="*/ 39 w 110"/>
                <a:gd name="T61" fmla="*/ 2 h 128"/>
                <a:gd name="T62" fmla="*/ 44 w 110"/>
                <a:gd name="T63" fmla="*/ 0 h 128"/>
                <a:gd name="T64" fmla="*/ 47 w 110"/>
                <a:gd name="T65" fmla="*/ 9 h 128"/>
                <a:gd name="T66" fmla="*/ 51 w 110"/>
                <a:gd name="T67" fmla="*/ 6 h 128"/>
                <a:gd name="T68" fmla="*/ 58 w 110"/>
                <a:gd name="T69" fmla="*/ 3 h 128"/>
                <a:gd name="T70" fmla="*/ 67 w 110"/>
                <a:gd name="T71" fmla="*/ 7 h 128"/>
                <a:gd name="T72" fmla="*/ 70 w 110"/>
                <a:gd name="T73" fmla="*/ 14 h 128"/>
                <a:gd name="T74" fmla="*/ 78 w 110"/>
                <a:gd name="T75" fmla="*/ 19 h 128"/>
                <a:gd name="T76" fmla="*/ 85 w 110"/>
                <a:gd name="T77" fmla="*/ 14 h 128"/>
                <a:gd name="T78" fmla="*/ 93 w 110"/>
                <a:gd name="T79" fmla="*/ 13 h 128"/>
                <a:gd name="T80" fmla="*/ 106 w 110"/>
                <a:gd name="T81" fmla="*/ 18 h 128"/>
                <a:gd name="T82" fmla="*/ 110 w 110"/>
                <a:gd name="T83" fmla="*/ 48 h 128"/>
                <a:gd name="T84" fmla="*/ 103 w 110"/>
                <a:gd name="T85" fmla="*/ 65 h 128"/>
                <a:gd name="T86" fmla="*/ 98 w 110"/>
                <a:gd name="T87" fmla="*/ 88 h 128"/>
                <a:gd name="T88" fmla="*/ 106 w 110"/>
                <a:gd name="T89" fmla="*/ 107 h 128"/>
                <a:gd name="T90" fmla="*/ 105 w 110"/>
                <a:gd name="T91" fmla="*/ 115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0" h="128">
                  <a:moveTo>
                    <a:pt x="105" y="115"/>
                  </a:moveTo>
                  <a:lnTo>
                    <a:pt x="97" y="115"/>
                  </a:lnTo>
                  <a:lnTo>
                    <a:pt x="84" y="111"/>
                  </a:lnTo>
                  <a:lnTo>
                    <a:pt x="72" y="111"/>
                  </a:lnTo>
                  <a:lnTo>
                    <a:pt x="50" y="115"/>
                  </a:lnTo>
                  <a:lnTo>
                    <a:pt x="37" y="121"/>
                  </a:lnTo>
                  <a:lnTo>
                    <a:pt x="19" y="128"/>
                  </a:lnTo>
                  <a:lnTo>
                    <a:pt x="16" y="128"/>
                  </a:lnTo>
                  <a:lnTo>
                    <a:pt x="17" y="111"/>
                  </a:lnTo>
                  <a:lnTo>
                    <a:pt x="19" y="108"/>
                  </a:lnTo>
                  <a:lnTo>
                    <a:pt x="18" y="100"/>
                  </a:lnTo>
                  <a:lnTo>
                    <a:pt x="11" y="91"/>
                  </a:lnTo>
                  <a:lnTo>
                    <a:pt x="5" y="90"/>
                  </a:lnTo>
                  <a:lnTo>
                    <a:pt x="0" y="84"/>
                  </a:lnTo>
                  <a:lnTo>
                    <a:pt x="3" y="75"/>
                  </a:lnTo>
                  <a:lnTo>
                    <a:pt x="2" y="65"/>
                  </a:lnTo>
                  <a:lnTo>
                    <a:pt x="3" y="59"/>
                  </a:lnTo>
                  <a:lnTo>
                    <a:pt x="6" y="59"/>
                  </a:lnTo>
                  <a:lnTo>
                    <a:pt x="7" y="50"/>
                  </a:lnTo>
                  <a:lnTo>
                    <a:pt x="5" y="46"/>
                  </a:lnTo>
                  <a:lnTo>
                    <a:pt x="7" y="43"/>
                  </a:lnTo>
                  <a:lnTo>
                    <a:pt x="14" y="40"/>
                  </a:lnTo>
                  <a:lnTo>
                    <a:pt x="9" y="24"/>
                  </a:lnTo>
                  <a:lnTo>
                    <a:pt x="5" y="15"/>
                  </a:lnTo>
                  <a:lnTo>
                    <a:pt x="7" y="8"/>
                  </a:lnTo>
                  <a:lnTo>
                    <a:pt x="11" y="6"/>
                  </a:lnTo>
                  <a:lnTo>
                    <a:pt x="13" y="5"/>
                  </a:lnTo>
                  <a:lnTo>
                    <a:pt x="18" y="7"/>
                  </a:lnTo>
                  <a:lnTo>
                    <a:pt x="32" y="8"/>
                  </a:lnTo>
                  <a:lnTo>
                    <a:pt x="35" y="2"/>
                  </a:lnTo>
                  <a:lnTo>
                    <a:pt x="39" y="2"/>
                  </a:lnTo>
                  <a:lnTo>
                    <a:pt x="44" y="0"/>
                  </a:lnTo>
                  <a:lnTo>
                    <a:pt x="47" y="9"/>
                  </a:lnTo>
                  <a:lnTo>
                    <a:pt x="51" y="6"/>
                  </a:lnTo>
                  <a:lnTo>
                    <a:pt x="58" y="3"/>
                  </a:lnTo>
                  <a:lnTo>
                    <a:pt x="67" y="7"/>
                  </a:lnTo>
                  <a:lnTo>
                    <a:pt x="70" y="14"/>
                  </a:lnTo>
                  <a:lnTo>
                    <a:pt x="78" y="19"/>
                  </a:lnTo>
                  <a:lnTo>
                    <a:pt x="85" y="14"/>
                  </a:lnTo>
                  <a:lnTo>
                    <a:pt x="93" y="13"/>
                  </a:lnTo>
                  <a:lnTo>
                    <a:pt x="106" y="18"/>
                  </a:lnTo>
                  <a:lnTo>
                    <a:pt x="110" y="48"/>
                  </a:lnTo>
                  <a:lnTo>
                    <a:pt x="103" y="65"/>
                  </a:lnTo>
                  <a:lnTo>
                    <a:pt x="98" y="88"/>
                  </a:lnTo>
                  <a:lnTo>
                    <a:pt x="106" y="107"/>
                  </a:lnTo>
                  <a:lnTo>
                    <a:pt x="105" y="11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85" name="Freeform 42">
              <a:extLst>
                <a:ext uri="{FF2B5EF4-FFF2-40B4-BE49-F238E27FC236}">
                  <a16:creationId xmlns:a16="http://schemas.microsoft.com/office/drawing/2014/main" id="{777B2AA1-75F6-4B3E-AA98-4D2BBDD5DCE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3708" y="2527549"/>
              <a:ext cx="181042" cy="300869"/>
            </a:xfrm>
            <a:custGeom>
              <a:avLst/>
              <a:gdLst>
                <a:gd name="T0" fmla="*/ 85 w 139"/>
                <a:gd name="T1" fmla="*/ 220 h 231"/>
                <a:gd name="T2" fmla="*/ 82 w 139"/>
                <a:gd name="T3" fmla="*/ 219 h 231"/>
                <a:gd name="T4" fmla="*/ 71 w 139"/>
                <a:gd name="T5" fmla="*/ 222 h 231"/>
                <a:gd name="T6" fmla="*/ 60 w 139"/>
                <a:gd name="T7" fmla="*/ 219 h 231"/>
                <a:gd name="T8" fmla="*/ 52 w 139"/>
                <a:gd name="T9" fmla="*/ 220 h 231"/>
                <a:gd name="T10" fmla="*/ 22 w 139"/>
                <a:gd name="T11" fmla="*/ 220 h 231"/>
                <a:gd name="T12" fmla="*/ 24 w 139"/>
                <a:gd name="T13" fmla="*/ 204 h 231"/>
                <a:gd name="T14" fmla="*/ 17 w 139"/>
                <a:gd name="T15" fmla="*/ 190 h 231"/>
                <a:gd name="T16" fmla="*/ 9 w 139"/>
                <a:gd name="T17" fmla="*/ 186 h 231"/>
                <a:gd name="T18" fmla="*/ 5 w 139"/>
                <a:gd name="T19" fmla="*/ 177 h 231"/>
                <a:gd name="T20" fmla="*/ 0 w 139"/>
                <a:gd name="T21" fmla="*/ 174 h 231"/>
                <a:gd name="T22" fmla="*/ 0 w 139"/>
                <a:gd name="T23" fmla="*/ 168 h 231"/>
                <a:gd name="T24" fmla="*/ 5 w 139"/>
                <a:gd name="T25" fmla="*/ 154 h 231"/>
                <a:gd name="T26" fmla="*/ 14 w 139"/>
                <a:gd name="T27" fmla="*/ 134 h 231"/>
                <a:gd name="T28" fmla="*/ 19 w 139"/>
                <a:gd name="T29" fmla="*/ 133 h 231"/>
                <a:gd name="T30" fmla="*/ 30 w 139"/>
                <a:gd name="T31" fmla="*/ 121 h 231"/>
                <a:gd name="T32" fmla="*/ 37 w 139"/>
                <a:gd name="T33" fmla="*/ 121 h 231"/>
                <a:gd name="T34" fmla="*/ 47 w 139"/>
                <a:gd name="T35" fmla="*/ 129 h 231"/>
                <a:gd name="T36" fmla="*/ 60 w 139"/>
                <a:gd name="T37" fmla="*/ 122 h 231"/>
                <a:gd name="T38" fmla="*/ 61 w 139"/>
                <a:gd name="T39" fmla="*/ 114 h 231"/>
                <a:gd name="T40" fmla="*/ 66 w 139"/>
                <a:gd name="T41" fmla="*/ 105 h 231"/>
                <a:gd name="T42" fmla="*/ 68 w 139"/>
                <a:gd name="T43" fmla="*/ 95 h 231"/>
                <a:gd name="T44" fmla="*/ 78 w 139"/>
                <a:gd name="T45" fmla="*/ 86 h 231"/>
                <a:gd name="T46" fmla="*/ 81 w 139"/>
                <a:gd name="T47" fmla="*/ 72 h 231"/>
                <a:gd name="T48" fmla="*/ 85 w 139"/>
                <a:gd name="T49" fmla="*/ 67 h 231"/>
                <a:gd name="T50" fmla="*/ 88 w 139"/>
                <a:gd name="T51" fmla="*/ 56 h 231"/>
                <a:gd name="T52" fmla="*/ 93 w 139"/>
                <a:gd name="T53" fmla="*/ 43 h 231"/>
                <a:gd name="T54" fmla="*/ 108 w 139"/>
                <a:gd name="T55" fmla="*/ 27 h 231"/>
                <a:gd name="T56" fmla="*/ 108 w 139"/>
                <a:gd name="T57" fmla="*/ 20 h 231"/>
                <a:gd name="T58" fmla="*/ 110 w 139"/>
                <a:gd name="T59" fmla="*/ 16 h 231"/>
                <a:gd name="T60" fmla="*/ 103 w 139"/>
                <a:gd name="T61" fmla="*/ 8 h 231"/>
                <a:gd name="T62" fmla="*/ 104 w 139"/>
                <a:gd name="T63" fmla="*/ 1 h 231"/>
                <a:gd name="T64" fmla="*/ 109 w 139"/>
                <a:gd name="T65" fmla="*/ 0 h 231"/>
                <a:gd name="T66" fmla="*/ 116 w 139"/>
                <a:gd name="T67" fmla="*/ 14 h 231"/>
                <a:gd name="T68" fmla="*/ 118 w 139"/>
                <a:gd name="T69" fmla="*/ 27 h 231"/>
                <a:gd name="T70" fmla="*/ 117 w 139"/>
                <a:gd name="T71" fmla="*/ 41 h 231"/>
                <a:gd name="T72" fmla="*/ 127 w 139"/>
                <a:gd name="T73" fmla="*/ 60 h 231"/>
                <a:gd name="T74" fmla="*/ 117 w 139"/>
                <a:gd name="T75" fmla="*/ 60 h 231"/>
                <a:gd name="T76" fmla="*/ 112 w 139"/>
                <a:gd name="T77" fmla="*/ 61 h 231"/>
                <a:gd name="T78" fmla="*/ 104 w 139"/>
                <a:gd name="T79" fmla="*/ 59 h 231"/>
                <a:gd name="T80" fmla="*/ 100 w 139"/>
                <a:gd name="T81" fmla="*/ 69 h 231"/>
                <a:gd name="T82" fmla="*/ 111 w 139"/>
                <a:gd name="T83" fmla="*/ 81 h 231"/>
                <a:gd name="T84" fmla="*/ 119 w 139"/>
                <a:gd name="T85" fmla="*/ 85 h 231"/>
                <a:gd name="T86" fmla="*/ 121 w 139"/>
                <a:gd name="T87" fmla="*/ 93 h 231"/>
                <a:gd name="T88" fmla="*/ 127 w 139"/>
                <a:gd name="T89" fmla="*/ 107 h 231"/>
                <a:gd name="T90" fmla="*/ 124 w 139"/>
                <a:gd name="T91" fmla="*/ 113 h 231"/>
                <a:gd name="T92" fmla="*/ 115 w 139"/>
                <a:gd name="T93" fmla="*/ 134 h 231"/>
                <a:gd name="T94" fmla="*/ 111 w 139"/>
                <a:gd name="T95" fmla="*/ 138 h 231"/>
                <a:gd name="T96" fmla="*/ 110 w 139"/>
                <a:gd name="T97" fmla="*/ 154 h 231"/>
                <a:gd name="T98" fmla="*/ 112 w 139"/>
                <a:gd name="T99" fmla="*/ 163 h 231"/>
                <a:gd name="T100" fmla="*/ 110 w 139"/>
                <a:gd name="T101" fmla="*/ 169 h 231"/>
                <a:gd name="T102" fmla="*/ 119 w 139"/>
                <a:gd name="T103" fmla="*/ 180 h 231"/>
                <a:gd name="T104" fmla="*/ 120 w 139"/>
                <a:gd name="T105" fmla="*/ 188 h 231"/>
                <a:gd name="T106" fmla="*/ 127 w 139"/>
                <a:gd name="T107" fmla="*/ 198 h 231"/>
                <a:gd name="T108" fmla="*/ 136 w 139"/>
                <a:gd name="T109" fmla="*/ 205 h 231"/>
                <a:gd name="T110" fmla="*/ 137 w 139"/>
                <a:gd name="T111" fmla="*/ 214 h 231"/>
                <a:gd name="T112" fmla="*/ 139 w 139"/>
                <a:gd name="T113" fmla="*/ 220 h 231"/>
                <a:gd name="T114" fmla="*/ 137 w 139"/>
                <a:gd name="T115" fmla="*/ 231 h 231"/>
                <a:gd name="T116" fmla="*/ 123 w 139"/>
                <a:gd name="T117" fmla="*/ 227 h 231"/>
                <a:gd name="T118" fmla="*/ 108 w 139"/>
                <a:gd name="T119" fmla="*/ 221 h 231"/>
                <a:gd name="T120" fmla="*/ 85 w 139"/>
                <a:gd name="T121" fmla="*/ 22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9" h="231">
                  <a:moveTo>
                    <a:pt x="85" y="220"/>
                  </a:moveTo>
                  <a:lnTo>
                    <a:pt x="82" y="219"/>
                  </a:lnTo>
                  <a:lnTo>
                    <a:pt x="71" y="222"/>
                  </a:lnTo>
                  <a:lnTo>
                    <a:pt x="60" y="219"/>
                  </a:lnTo>
                  <a:lnTo>
                    <a:pt x="52" y="220"/>
                  </a:lnTo>
                  <a:lnTo>
                    <a:pt x="22" y="220"/>
                  </a:lnTo>
                  <a:lnTo>
                    <a:pt x="24" y="204"/>
                  </a:lnTo>
                  <a:lnTo>
                    <a:pt x="17" y="190"/>
                  </a:lnTo>
                  <a:lnTo>
                    <a:pt x="9" y="186"/>
                  </a:lnTo>
                  <a:lnTo>
                    <a:pt x="5" y="177"/>
                  </a:lnTo>
                  <a:lnTo>
                    <a:pt x="0" y="174"/>
                  </a:lnTo>
                  <a:lnTo>
                    <a:pt x="0" y="168"/>
                  </a:lnTo>
                  <a:lnTo>
                    <a:pt x="5" y="154"/>
                  </a:lnTo>
                  <a:lnTo>
                    <a:pt x="14" y="134"/>
                  </a:lnTo>
                  <a:lnTo>
                    <a:pt x="19" y="133"/>
                  </a:lnTo>
                  <a:lnTo>
                    <a:pt x="30" y="121"/>
                  </a:lnTo>
                  <a:lnTo>
                    <a:pt x="37" y="121"/>
                  </a:lnTo>
                  <a:lnTo>
                    <a:pt x="47" y="129"/>
                  </a:lnTo>
                  <a:lnTo>
                    <a:pt x="60" y="122"/>
                  </a:lnTo>
                  <a:lnTo>
                    <a:pt x="61" y="114"/>
                  </a:lnTo>
                  <a:lnTo>
                    <a:pt x="66" y="105"/>
                  </a:lnTo>
                  <a:lnTo>
                    <a:pt x="68" y="95"/>
                  </a:lnTo>
                  <a:lnTo>
                    <a:pt x="78" y="86"/>
                  </a:lnTo>
                  <a:lnTo>
                    <a:pt x="81" y="72"/>
                  </a:lnTo>
                  <a:lnTo>
                    <a:pt x="85" y="67"/>
                  </a:lnTo>
                  <a:lnTo>
                    <a:pt x="88" y="56"/>
                  </a:lnTo>
                  <a:lnTo>
                    <a:pt x="93" y="43"/>
                  </a:lnTo>
                  <a:lnTo>
                    <a:pt x="108" y="27"/>
                  </a:lnTo>
                  <a:lnTo>
                    <a:pt x="108" y="20"/>
                  </a:lnTo>
                  <a:lnTo>
                    <a:pt x="110" y="16"/>
                  </a:lnTo>
                  <a:lnTo>
                    <a:pt x="103" y="8"/>
                  </a:lnTo>
                  <a:lnTo>
                    <a:pt x="104" y="1"/>
                  </a:lnTo>
                  <a:lnTo>
                    <a:pt x="109" y="0"/>
                  </a:lnTo>
                  <a:lnTo>
                    <a:pt x="116" y="14"/>
                  </a:lnTo>
                  <a:lnTo>
                    <a:pt x="118" y="27"/>
                  </a:lnTo>
                  <a:lnTo>
                    <a:pt x="117" y="41"/>
                  </a:lnTo>
                  <a:lnTo>
                    <a:pt x="127" y="60"/>
                  </a:lnTo>
                  <a:lnTo>
                    <a:pt x="117" y="60"/>
                  </a:lnTo>
                  <a:lnTo>
                    <a:pt x="112" y="61"/>
                  </a:lnTo>
                  <a:lnTo>
                    <a:pt x="104" y="59"/>
                  </a:lnTo>
                  <a:lnTo>
                    <a:pt x="100" y="69"/>
                  </a:lnTo>
                  <a:lnTo>
                    <a:pt x="111" y="81"/>
                  </a:lnTo>
                  <a:lnTo>
                    <a:pt x="119" y="85"/>
                  </a:lnTo>
                  <a:lnTo>
                    <a:pt x="121" y="93"/>
                  </a:lnTo>
                  <a:lnTo>
                    <a:pt x="127" y="107"/>
                  </a:lnTo>
                  <a:lnTo>
                    <a:pt x="124" y="113"/>
                  </a:lnTo>
                  <a:lnTo>
                    <a:pt x="115" y="134"/>
                  </a:lnTo>
                  <a:lnTo>
                    <a:pt x="111" y="138"/>
                  </a:lnTo>
                  <a:lnTo>
                    <a:pt x="110" y="154"/>
                  </a:lnTo>
                  <a:lnTo>
                    <a:pt x="112" y="163"/>
                  </a:lnTo>
                  <a:lnTo>
                    <a:pt x="110" y="169"/>
                  </a:lnTo>
                  <a:lnTo>
                    <a:pt x="119" y="180"/>
                  </a:lnTo>
                  <a:lnTo>
                    <a:pt x="120" y="188"/>
                  </a:lnTo>
                  <a:lnTo>
                    <a:pt x="127" y="198"/>
                  </a:lnTo>
                  <a:lnTo>
                    <a:pt x="136" y="205"/>
                  </a:lnTo>
                  <a:lnTo>
                    <a:pt x="137" y="214"/>
                  </a:lnTo>
                  <a:lnTo>
                    <a:pt x="139" y="220"/>
                  </a:lnTo>
                  <a:lnTo>
                    <a:pt x="137" y="231"/>
                  </a:lnTo>
                  <a:lnTo>
                    <a:pt x="123" y="227"/>
                  </a:lnTo>
                  <a:lnTo>
                    <a:pt x="108" y="221"/>
                  </a:lnTo>
                  <a:lnTo>
                    <a:pt x="85" y="220"/>
                  </a:lnTo>
                  <a:close/>
                </a:path>
              </a:pathLst>
            </a:custGeom>
            <a:solidFill>
              <a:srgbClr val="0A58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40C8F4"/>
                </a:solidFill>
                <a:latin typeface="Arial"/>
              </a:endParaRPr>
            </a:p>
          </p:txBody>
        </p:sp>
        <p:sp>
          <p:nvSpPr>
            <p:cNvPr id="286" name="Freeform 43">
              <a:extLst>
                <a:ext uri="{FF2B5EF4-FFF2-40B4-BE49-F238E27FC236}">
                  <a16:creationId xmlns:a16="http://schemas.microsoft.com/office/drawing/2014/main" id="{60A07634-E068-4513-9EC4-BEB386B014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2275" y="2733338"/>
              <a:ext cx="454559" cy="501447"/>
            </a:xfrm>
            <a:custGeom>
              <a:avLst/>
              <a:gdLst>
                <a:gd name="T0" fmla="*/ 342 w 349"/>
                <a:gd name="T1" fmla="*/ 61 h 385"/>
                <a:gd name="T2" fmla="*/ 343 w 349"/>
                <a:gd name="T3" fmla="*/ 71 h 385"/>
                <a:gd name="T4" fmla="*/ 329 w 349"/>
                <a:gd name="T5" fmla="*/ 87 h 385"/>
                <a:gd name="T6" fmla="*/ 324 w 349"/>
                <a:gd name="T7" fmla="*/ 114 h 385"/>
                <a:gd name="T8" fmla="*/ 320 w 349"/>
                <a:gd name="T9" fmla="*/ 137 h 385"/>
                <a:gd name="T10" fmla="*/ 314 w 349"/>
                <a:gd name="T11" fmla="*/ 155 h 385"/>
                <a:gd name="T12" fmla="*/ 310 w 349"/>
                <a:gd name="T13" fmla="*/ 168 h 385"/>
                <a:gd name="T14" fmla="*/ 315 w 349"/>
                <a:gd name="T15" fmla="*/ 203 h 385"/>
                <a:gd name="T16" fmla="*/ 316 w 349"/>
                <a:gd name="T17" fmla="*/ 233 h 385"/>
                <a:gd name="T18" fmla="*/ 330 w 349"/>
                <a:gd name="T19" fmla="*/ 256 h 385"/>
                <a:gd name="T20" fmla="*/ 332 w 349"/>
                <a:gd name="T21" fmla="*/ 281 h 385"/>
                <a:gd name="T22" fmla="*/ 303 w 349"/>
                <a:gd name="T23" fmla="*/ 287 h 385"/>
                <a:gd name="T24" fmla="*/ 301 w 349"/>
                <a:gd name="T25" fmla="*/ 309 h 385"/>
                <a:gd name="T26" fmla="*/ 295 w 349"/>
                <a:gd name="T27" fmla="*/ 354 h 385"/>
                <a:gd name="T28" fmla="*/ 312 w 349"/>
                <a:gd name="T29" fmla="*/ 366 h 385"/>
                <a:gd name="T30" fmla="*/ 318 w 349"/>
                <a:gd name="T31" fmla="*/ 385 h 385"/>
                <a:gd name="T32" fmla="*/ 297 w 349"/>
                <a:gd name="T33" fmla="*/ 373 h 385"/>
                <a:gd name="T34" fmla="*/ 276 w 349"/>
                <a:gd name="T35" fmla="*/ 362 h 385"/>
                <a:gd name="T36" fmla="*/ 261 w 349"/>
                <a:gd name="T37" fmla="*/ 357 h 385"/>
                <a:gd name="T38" fmla="*/ 241 w 349"/>
                <a:gd name="T39" fmla="*/ 345 h 385"/>
                <a:gd name="T40" fmla="*/ 221 w 349"/>
                <a:gd name="T41" fmla="*/ 344 h 385"/>
                <a:gd name="T42" fmla="*/ 214 w 349"/>
                <a:gd name="T43" fmla="*/ 336 h 385"/>
                <a:gd name="T44" fmla="*/ 194 w 349"/>
                <a:gd name="T45" fmla="*/ 338 h 385"/>
                <a:gd name="T46" fmla="*/ 181 w 349"/>
                <a:gd name="T47" fmla="*/ 340 h 385"/>
                <a:gd name="T48" fmla="*/ 177 w 349"/>
                <a:gd name="T49" fmla="*/ 307 h 385"/>
                <a:gd name="T50" fmla="*/ 178 w 349"/>
                <a:gd name="T51" fmla="*/ 282 h 385"/>
                <a:gd name="T52" fmla="*/ 175 w 349"/>
                <a:gd name="T53" fmla="*/ 261 h 385"/>
                <a:gd name="T54" fmla="*/ 154 w 349"/>
                <a:gd name="T55" fmla="*/ 253 h 385"/>
                <a:gd name="T56" fmla="*/ 144 w 349"/>
                <a:gd name="T57" fmla="*/ 257 h 385"/>
                <a:gd name="T58" fmla="*/ 128 w 349"/>
                <a:gd name="T59" fmla="*/ 270 h 385"/>
                <a:gd name="T60" fmla="*/ 115 w 349"/>
                <a:gd name="T61" fmla="*/ 273 h 385"/>
                <a:gd name="T62" fmla="*/ 97 w 349"/>
                <a:gd name="T63" fmla="*/ 277 h 385"/>
                <a:gd name="T64" fmla="*/ 85 w 349"/>
                <a:gd name="T65" fmla="*/ 260 h 385"/>
                <a:gd name="T66" fmla="*/ 76 w 349"/>
                <a:gd name="T67" fmla="*/ 232 h 385"/>
                <a:gd name="T68" fmla="*/ 15 w 349"/>
                <a:gd name="T69" fmla="*/ 234 h 385"/>
                <a:gd name="T70" fmla="*/ 2 w 349"/>
                <a:gd name="T71" fmla="*/ 236 h 385"/>
                <a:gd name="T72" fmla="*/ 5 w 349"/>
                <a:gd name="T73" fmla="*/ 228 h 385"/>
                <a:gd name="T74" fmla="*/ 8 w 349"/>
                <a:gd name="T75" fmla="*/ 213 h 385"/>
                <a:gd name="T76" fmla="*/ 20 w 349"/>
                <a:gd name="T77" fmla="*/ 211 h 385"/>
                <a:gd name="T78" fmla="*/ 36 w 349"/>
                <a:gd name="T79" fmla="*/ 203 h 385"/>
                <a:gd name="T80" fmla="*/ 44 w 349"/>
                <a:gd name="T81" fmla="*/ 213 h 385"/>
                <a:gd name="T82" fmla="*/ 66 w 349"/>
                <a:gd name="T83" fmla="*/ 190 h 385"/>
                <a:gd name="T84" fmla="*/ 70 w 349"/>
                <a:gd name="T85" fmla="*/ 166 h 385"/>
                <a:gd name="T86" fmla="*/ 86 w 349"/>
                <a:gd name="T87" fmla="*/ 135 h 385"/>
                <a:gd name="T88" fmla="*/ 101 w 349"/>
                <a:gd name="T89" fmla="*/ 118 h 385"/>
                <a:gd name="T90" fmla="*/ 104 w 349"/>
                <a:gd name="T91" fmla="*/ 103 h 385"/>
                <a:gd name="T92" fmla="*/ 105 w 349"/>
                <a:gd name="T93" fmla="*/ 73 h 385"/>
                <a:gd name="T94" fmla="*/ 114 w 349"/>
                <a:gd name="T95" fmla="*/ 49 h 385"/>
                <a:gd name="T96" fmla="*/ 117 w 349"/>
                <a:gd name="T97" fmla="*/ 22 h 385"/>
                <a:gd name="T98" fmla="*/ 134 w 349"/>
                <a:gd name="T99" fmla="*/ 5 h 385"/>
                <a:gd name="T100" fmla="*/ 161 w 349"/>
                <a:gd name="T101" fmla="*/ 20 h 385"/>
                <a:gd name="T102" fmla="*/ 188 w 349"/>
                <a:gd name="T103" fmla="*/ 26 h 385"/>
                <a:gd name="T104" fmla="*/ 196 w 349"/>
                <a:gd name="T105" fmla="*/ 11 h 385"/>
                <a:gd name="T106" fmla="*/ 224 w 349"/>
                <a:gd name="T107" fmla="*/ 3 h 385"/>
                <a:gd name="T108" fmla="*/ 238 w 349"/>
                <a:gd name="T109" fmla="*/ 7 h 385"/>
                <a:gd name="T110" fmla="*/ 247 w 349"/>
                <a:gd name="T111" fmla="*/ 0 h 385"/>
                <a:gd name="T112" fmla="*/ 273 w 349"/>
                <a:gd name="T113" fmla="*/ 3 h 385"/>
                <a:gd name="T114" fmla="*/ 290 w 349"/>
                <a:gd name="T115" fmla="*/ 18 h 385"/>
                <a:gd name="T116" fmla="*/ 303 w 349"/>
                <a:gd name="T117" fmla="*/ 17 h 385"/>
                <a:gd name="T118" fmla="*/ 322 w 349"/>
                <a:gd name="T119" fmla="*/ 14 h 385"/>
                <a:gd name="T120" fmla="*/ 343 w 349"/>
                <a:gd name="T121" fmla="*/ 37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49" h="385">
                  <a:moveTo>
                    <a:pt x="343" y="37"/>
                  </a:moveTo>
                  <a:lnTo>
                    <a:pt x="342" y="61"/>
                  </a:lnTo>
                  <a:lnTo>
                    <a:pt x="349" y="64"/>
                  </a:lnTo>
                  <a:lnTo>
                    <a:pt x="343" y="71"/>
                  </a:lnTo>
                  <a:lnTo>
                    <a:pt x="336" y="77"/>
                  </a:lnTo>
                  <a:lnTo>
                    <a:pt x="329" y="87"/>
                  </a:lnTo>
                  <a:lnTo>
                    <a:pt x="325" y="97"/>
                  </a:lnTo>
                  <a:lnTo>
                    <a:pt x="324" y="114"/>
                  </a:lnTo>
                  <a:lnTo>
                    <a:pt x="320" y="122"/>
                  </a:lnTo>
                  <a:lnTo>
                    <a:pt x="320" y="137"/>
                  </a:lnTo>
                  <a:lnTo>
                    <a:pt x="314" y="143"/>
                  </a:lnTo>
                  <a:lnTo>
                    <a:pt x="314" y="155"/>
                  </a:lnTo>
                  <a:lnTo>
                    <a:pt x="311" y="157"/>
                  </a:lnTo>
                  <a:lnTo>
                    <a:pt x="310" y="168"/>
                  </a:lnTo>
                  <a:lnTo>
                    <a:pt x="314" y="178"/>
                  </a:lnTo>
                  <a:lnTo>
                    <a:pt x="315" y="203"/>
                  </a:lnTo>
                  <a:lnTo>
                    <a:pt x="318" y="222"/>
                  </a:lnTo>
                  <a:lnTo>
                    <a:pt x="316" y="233"/>
                  </a:lnTo>
                  <a:lnTo>
                    <a:pt x="320" y="245"/>
                  </a:lnTo>
                  <a:lnTo>
                    <a:pt x="330" y="256"/>
                  </a:lnTo>
                  <a:lnTo>
                    <a:pt x="340" y="283"/>
                  </a:lnTo>
                  <a:lnTo>
                    <a:pt x="332" y="281"/>
                  </a:lnTo>
                  <a:lnTo>
                    <a:pt x="308" y="284"/>
                  </a:lnTo>
                  <a:lnTo>
                    <a:pt x="303" y="287"/>
                  </a:lnTo>
                  <a:lnTo>
                    <a:pt x="297" y="300"/>
                  </a:lnTo>
                  <a:lnTo>
                    <a:pt x="301" y="309"/>
                  </a:lnTo>
                  <a:lnTo>
                    <a:pt x="297" y="334"/>
                  </a:lnTo>
                  <a:lnTo>
                    <a:pt x="295" y="354"/>
                  </a:lnTo>
                  <a:lnTo>
                    <a:pt x="300" y="358"/>
                  </a:lnTo>
                  <a:lnTo>
                    <a:pt x="312" y="366"/>
                  </a:lnTo>
                  <a:lnTo>
                    <a:pt x="317" y="363"/>
                  </a:lnTo>
                  <a:lnTo>
                    <a:pt x="318" y="385"/>
                  </a:lnTo>
                  <a:lnTo>
                    <a:pt x="304" y="385"/>
                  </a:lnTo>
                  <a:lnTo>
                    <a:pt x="297" y="373"/>
                  </a:lnTo>
                  <a:lnTo>
                    <a:pt x="290" y="364"/>
                  </a:lnTo>
                  <a:lnTo>
                    <a:pt x="276" y="362"/>
                  </a:lnTo>
                  <a:lnTo>
                    <a:pt x="273" y="351"/>
                  </a:lnTo>
                  <a:lnTo>
                    <a:pt x="261" y="357"/>
                  </a:lnTo>
                  <a:lnTo>
                    <a:pt x="247" y="354"/>
                  </a:lnTo>
                  <a:lnTo>
                    <a:pt x="241" y="345"/>
                  </a:lnTo>
                  <a:lnTo>
                    <a:pt x="229" y="343"/>
                  </a:lnTo>
                  <a:lnTo>
                    <a:pt x="221" y="344"/>
                  </a:lnTo>
                  <a:lnTo>
                    <a:pt x="220" y="337"/>
                  </a:lnTo>
                  <a:lnTo>
                    <a:pt x="214" y="336"/>
                  </a:lnTo>
                  <a:lnTo>
                    <a:pt x="205" y="335"/>
                  </a:lnTo>
                  <a:lnTo>
                    <a:pt x="194" y="338"/>
                  </a:lnTo>
                  <a:lnTo>
                    <a:pt x="186" y="338"/>
                  </a:lnTo>
                  <a:lnTo>
                    <a:pt x="181" y="340"/>
                  </a:lnTo>
                  <a:lnTo>
                    <a:pt x="183" y="315"/>
                  </a:lnTo>
                  <a:lnTo>
                    <a:pt x="177" y="307"/>
                  </a:lnTo>
                  <a:lnTo>
                    <a:pt x="176" y="294"/>
                  </a:lnTo>
                  <a:lnTo>
                    <a:pt x="178" y="282"/>
                  </a:lnTo>
                  <a:lnTo>
                    <a:pt x="175" y="274"/>
                  </a:lnTo>
                  <a:lnTo>
                    <a:pt x="175" y="261"/>
                  </a:lnTo>
                  <a:lnTo>
                    <a:pt x="153" y="261"/>
                  </a:lnTo>
                  <a:lnTo>
                    <a:pt x="154" y="253"/>
                  </a:lnTo>
                  <a:lnTo>
                    <a:pt x="145" y="254"/>
                  </a:lnTo>
                  <a:lnTo>
                    <a:pt x="144" y="257"/>
                  </a:lnTo>
                  <a:lnTo>
                    <a:pt x="132" y="258"/>
                  </a:lnTo>
                  <a:lnTo>
                    <a:pt x="128" y="270"/>
                  </a:lnTo>
                  <a:lnTo>
                    <a:pt x="125" y="275"/>
                  </a:lnTo>
                  <a:lnTo>
                    <a:pt x="115" y="273"/>
                  </a:lnTo>
                  <a:lnTo>
                    <a:pt x="109" y="275"/>
                  </a:lnTo>
                  <a:lnTo>
                    <a:pt x="97" y="277"/>
                  </a:lnTo>
                  <a:lnTo>
                    <a:pt x="90" y="266"/>
                  </a:lnTo>
                  <a:lnTo>
                    <a:pt x="85" y="260"/>
                  </a:lnTo>
                  <a:lnTo>
                    <a:pt x="80" y="247"/>
                  </a:lnTo>
                  <a:lnTo>
                    <a:pt x="76" y="232"/>
                  </a:lnTo>
                  <a:lnTo>
                    <a:pt x="22" y="231"/>
                  </a:lnTo>
                  <a:lnTo>
                    <a:pt x="15" y="234"/>
                  </a:lnTo>
                  <a:lnTo>
                    <a:pt x="10" y="233"/>
                  </a:lnTo>
                  <a:lnTo>
                    <a:pt x="2" y="236"/>
                  </a:lnTo>
                  <a:lnTo>
                    <a:pt x="0" y="230"/>
                  </a:lnTo>
                  <a:lnTo>
                    <a:pt x="5" y="228"/>
                  </a:lnTo>
                  <a:lnTo>
                    <a:pt x="5" y="218"/>
                  </a:lnTo>
                  <a:lnTo>
                    <a:pt x="8" y="213"/>
                  </a:lnTo>
                  <a:lnTo>
                    <a:pt x="15" y="209"/>
                  </a:lnTo>
                  <a:lnTo>
                    <a:pt x="20" y="211"/>
                  </a:lnTo>
                  <a:lnTo>
                    <a:pt x="26" y="203"/>
                  </a:lnTo>
                  <a:lnTo>
                    <a:pt x="36" y="203"/>
                  </a:lnTo>
                  <a:lnTo>
                    <a:pt x="37" y="209"/>
                  </a:lnTo>
                  <a:lnTo>
                    <a:pt x="44" y="213"/>
                  </a:lnTo>
                  <a:lnTo>
                    <a:pt x="55" y="200"/>
                  </a:lnTo>
                  <a:lnTo>
                    <a:pt x="66" y="190"/>
                  </a:lnTo>
                  <a:lnTo>
                    <a:pt x="70" y="183"/>
                  </a:lnTo>
                  <a:lnTo>
                    <a:pt x="70" y="166"/>
                  </a:lnTo>
                  <a:lnTo>
                    <a:pt x="78" y="146"/>
                  </a:lnTo>
                  <a:lnTo>
                    <a:pt x="86" y="135"/>
                  </a:lnTo>
                  <a:lnTo>
                    <a:pt x="98" y="125"/>
                  </a:lnTo>
                  <a:lnTo>
                    <a:pt x="101" y="118"/>
                  </a:lnTo>
                  <a:lnTo>
                    <a:pt x="101" y="111"/>
                  </a:lnTo>
                  <a:lnTo>
                    <a:pt x="104" y="103"/>
                  </a:lnTo>
                  <a:lnTo>
                    <a:pt x="103" y="92"/>
                  </a:lnTo>
                  <a:lnTo>
                    <a:pt x="105" y="73"/>
                  </a:lnTo>
                  <a:lnTo>
                    <a:pt x="109" y="60"/>
                  </a:lnTo>
                  <a:lnTo>
                    <a:pt x="114" y="49"/>
                  </a:lnTo>
                  <a:lnTo>
                    <a:pt x="115" y="37"/>
                  </a:lnTo>
                  <a:lnTo>
                    <a:pt x="117" y="22"/>
                  </a:lnTo>
                  <a:lnTo>
                    <a:pt x="124" y="11"/>
                  </a:lnTo>
                  <a:lnTo>
                    <a:pt x="134" y="5"/>
                  </a:lnTo>
                  <a:lnTo>
                    <a:pt x="149" y="12"/>
                  </a:lnTo>
                  <a:lnTo>
                    <a:pt x="161" y="20"/>
                  </a:lnTo>
                  <a:lnTo>
                    <a:pt x="174" y="22"/>
                  </a:lnTo>
                  <a:lnTo>
                    <a:pt x="188" y="26"/>
                  </a:lnTo>
                  <a:lnTo>
                    <a:pt x="193" y="13"/>
                  </a:lnTo>
                  <a:lnTo>
                    <a:pt x="196" y="11"/>
                  </a:lnTo>
                  <a:lnTo>
                    <a:pt x="204" y="14"/>
                  </a:lnTo>
                  <a:lnTo>
                    <a:pt x="224" y="3"/>
                  </a:lnTo>
                  <a:lnTo>
                    <a:pt x="232" y="8"/>
                  </a:lnTo>
                  <a:lnTo>
                    <a:pt x="238" y="7"/>
                  </a:lnTo>
                  <a:lnTo>
                    <a:pt x="240" y="2"/>
                  </a:lnTo>
                  <a:lnTo>
                    <a:pt x="247" y="0"/>
                  </a:lnTo>
                  <a:lnTo>
                    <a:pt x="261" y="2"/>
                  </a:lnTo>
                  <a:lnTo>
                    <a:pt x="273" y="3"/>
                  </a:lnTo>
                  <a:lnTo>
                    <a:pt x="279" y="1"/>
                  </a:lnTo>
                  <a:lnTo>
                    <a:pt x="290" y="18"/>
                  </a:lnTo>
                  <a:lnTo>
                    <a:pt x="298" y="20"/>
                  </a:lnTo>
                  <a:lnTo>
                    <a:pt x="303" y="17"/>
                  </a:lnTo>
                  <a:lnTo>
                    <a:pt x="312" y="18"/>
                  </a:lnTo>
                  <a:lnTo>
                    <a:pt x="322" y="14"/>
                  </a:lnTo>
                  <a:lnTo>
                    <a:pt x="326" y="23"/>
                  </a:lnTo>
                  <a:lnTo>
                    <a:pt x="343" y="3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87" name="Freeform 44">
              <a:extLst>
                <a:ext uri="{FF2B5EF4-FFF2-40B4-BE49-F238E27FC236}">
                  <a16:creationId xmlns:a16="http://schemas.microsoft.com/office/drawing/2014/main" id="{C8A53998-72A4-4151-978D-6A1F771868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6226" y="2775017"/>
              <a:ext cx="175832" cy="237048"/>
            </a:xfrm>
            <a:custGeom>
              <a:avLst/>
              <a:gdLst>
                <a:gd name="T0" fmla="*/ 35 w 135"/>
                <a:gd name="T1" fmla="*/ 177 h 182"/>
                <a:gd name="T2" fmla="*/ 28 w 135"/>
                <a:gd name="T3" fmla="*/ 170 h 182"/>
                <a:gd name="T4" fmla="*/ 22 w 135"/>
                <a:gd name="T5" fmla="*/ 173 h 182"/>
                <a:gd name="T6" fmla="*/ 15 w 135"/>
                <a:gd name="T7" fmla="*/ 182 h 182"/>
                <a:gd name="T8" fmla="*/ 0 w 135"/>
                <a:gd name="T9" fmla="*/ 160 h 182"/>
                <a:gd name="T10" fmla="*/ 14 w 135"/>
                <a:gd name="T11" fmla="*/ 149 h 182"/>
                <a:gd name="T12" fmla="*/ 7 w 135"/>
                <a:gd name="T13" fmla="*/ 135 h 182"/>
                <a:gd name="T14" fmla="*/ 14 w 135"/>
                <a:gd name="T15" fmla="*/ 130 h 182"/>
                <a:gd name="T16" fmla="*/ 26 w 135"/>
                <a:gd name="T17" fmla="*/ 127 h 182"/>
                <a:gd name="T18" fmla="*/ 27 w 135"/>
                <a:gd name="T19" fmla="*/ 118 h 182"/>
                <a:gd name="T20" fmla="*/ 37 w 135"/>
                <a:gd name="T21" fmla="*/ 128 h 182"/>
                <a:gd name="T22" fmla="*/ 53 w 135"/>
                <a:gd name="T23" fmla="*/ 129 h 182"/>
                <a:gd name="T24" fmla="*/ 59 w 135"/>
                <a:gd name="T25" fmla="*/ 119 h 182"/>
                <a:gd name="T26" fmla="*/ 61 w 135"/>
                <a:gd name="T27" fmla="*/ 105 h 182"/>
                <a:gd name="T28" fmla="*/ 60 w 135"/>
                <a:gd name="T29" fmla="*/ 89 h 182"/>
                <a:gd name="T30" fmla="*/ 51 w 135"/>
                <a:gd name="T31" fmla="*/ 77 h 182"/>
                <a:gd name="T32" fmla="*/ 59 w 135"/>
                <a:gd name="T33" fmla="*/ 53 h 182"/>
                <a:gd name="T34" fmla="*/ 54 w 135"/>
                <a:gd name="T35" fmla="*/ 48 h 182"/>
                <a:gd name="T36" fmla="*/ 40 w 135"/>
                <a:gd name="T37" fmla="*/ 50 h 182"/>
                <a:gd name="T38" fmla="*/ 35 w 135"/>
                <a:gd name="T39" fmla="*/ 39 h 182"/>
                <a:gd name="T40" fmla="*/ 37 w 135"/>
                <a:gd name="T41" fmla="*/ 30 h 182"/>
                <a:gd name="T42" fmla="*/ 60 w 135"/>
                <a:gd name="T43" fmla="*/ 31 h 182"/>
                <a:gd name="T44" fmla="*/ 75 w 135"/>
                <a:gd name="T45" fmla="*/ 37 h 182"/>
                <a:gd name="T46" fmla="*/ 89 w 135"/>
                <a:gd name="T47" fmla="*/ 41 h 182"/>
                <a:gd name="T48" fmla="*/ 91 w 135"/>
                <a:gd name="T49" fmla="*/ 30 h 182"/>
                <a:gd name="T50" fmla="*/ 100 w 135"/>
                <a:gd name="T51" fmla="*/ 11 h 182"/>
                <a:gd name="T52" fmla="*/ 111 w 135"/>
                <a:gd name="T53" fmla="*/ 0 h 182"/>
                <a:gd name="T54" fmla="*/ 123 w 135"/>
                <a:gd name="T55" fmla="*/ 3 h 182"/>
                <a:gd name="T56" fmla="*/ 135 w 135"/>
                <a:gd name="T57" fmla="*/ 5 h 182"/>
                <a:gd name="T58" fmla="*/ 134 w 135"/>
                <a:gd name="T59" fmla="*/ 17 h 182"/>
                <a:gd name="T60" fmla="*/ 129 w 135"/>
                <a:gd name="T61" fmla="*/ 28 h 182"/>
                <a:gd name="T62" fmla="*/ 125 w 135"/>
                <a:gd name="T63" fmla="*/ 41 h 182"/>
                <a:gd name="T64" fmla="*/ 123 w 135"/>
                <a:gd name="T65" fmla="*/ 60 h 182"/>
                <a:gd name="T66" fmla="*/ 124 w 135"/>
                <a:gd name="T67" fmla="*/ 71 h 182"/>
                <a:gd name="T68" fmla="*/ 121 w 135"/>
                <a:gd name="T69" fmla="*/ 79 h 182"/>
                <a:gd name="T70" fmla="*/ 121 w 135"/>
                <a:gd name="T71" fmla="*/ 86 h 182"/>
                <a:gd name="T72" fmla="*/ 118 w 135"/>
                <a:gd name="T73" fmla="*/ 93 h 182"/>
                <a:gd name="T74" fmla="*/ 106 w 135"/>
                <a:gd name="T75" fmla="*/ 103 h 182"/>
                <a:gd name="T76" fmla="*/ 98 w 135"/>
                <a:gd name="T77" fmla="*/ 114 h 182"/>
                <a:gd name="T78" fmla="*/ 90 w 135"/>
                <a:gd name="T79" fmla="*/ 134 h 182"/>
                <a:gd name="T80" fmla="*/ 90 w 135"/>
                <a:gd name="T81" fmla="*/ 151 h 182"/>
                <a:gd name="T82" fmla="*/ 86 w 135"/>
                <a:gd name="T83" fmla="*/ 158 h 182"/>
                <a:gd name="T84" fmla="*/ 75 w 135"/>
                <a:gd name="T85" fmla="*/ 168 h 182"/>
                <a:gd name="T86" fmla="*/ 64 w 135"/>
                <a:gd name="T87" fmla="*/ 181 h 182"/>
                <a:gd name="T88" fmla="*/ 57 w 135"/>
                <a:gd name="T89" fmla="*/ 177 h 182"/>
                <a:gd name="T90" fmla="*/ 56 w 135"/>
                <a:gd name="T91" fmla="*/ 171 h 182"/>
                <a:gd name="T92" fmla="*/ 46 w 135"/>
                <a:gd name="T93" fmla="*/ 171 h 182"/>
                <a:gd name="T94" fmla="*/ 40 w 135"/>
                <a:gd name="T95" fmla="*/ 179 h 182"/>
                <a:gd name="T96" fmla="*/ 35 w 135"/>
                <a:gd name="T97" fmla="*/ 177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35" h="182">
                  <a:moveTo>
                    <a:pt x="35" y="177"/>
                  </a:moveTo>
                  <a:lnTo>
                    <a:pt x="28" y="170"/>
                  </a:lnTo>
                  <a:lnTo>
                    <a:pt x="22" y="173"/>
                  </a:lnTo>
                  <a:lnTo>
                    <a:pt x="15" y="182"/>
                  </a:lnTo>
                  <a:lnTo>
                    <a:pt x="0" y="160"/>
                  </a:lnTo>
                  <a:lnTo>
                    <a:pt x="14" y="149"/>
                  </a:lnTo>
                  <a:lnTo>
                    <a:pt x="7" y="135"/>
                  </a:lnTo>
                  <a:lnTo>
                    <a:pt x="14" y="130"/>
                  </a:lnTo>
                  <a:lnTo>
                    <a:pt x="26" y="127"/>
                  </a:lnTo>
                  <a:lnTo>
                    <a:pt x="27" y="118"/>
                  </a:lnTo>
                  <a:lnTo>
                    <a:pt x="37" y="128"/>
                  </a:lnTo>
                  <a:lnTo>
                    <a:pt x="53" y="129"/>
                  </a:lnTo>
                  <a:lnTo>
                    <a:pt x="59" y="119"/>
                  </a:lnTo>
                  <a:lnTo>
                    <a:pt x="61" y="105"/>
                  </a:lnTo>
                  <a:lnTo>
                    <a:pt x="60" y="89"/>
                  </a:lnTo>
                  <a:lnTo>
                    <a:pt x="51" y="77"/>
                  </a:lnTo>
                  <a:lnTo>
                    <a:pt x="59" y="53"/>
                  </a:lnTo>
                  <a:lnTo>
                    <a:pt x="54" y="48"/>
                  </a:lnTo>
                  <a:lnTo>
                    <a:pt x="40" y="50"/>
                  </a:lnTo>
                  <a:lnTo>
                    <a:pt x="35" y="39"/>
                  </a:lnTo>
                  <a:lnTo>
                    <a:pt x="37" y="30"/>
                  </a:lnTo>
                  <a:lnTo>
                    <a:pt x="60" y="31"/>
                  </a:lnTo>
                  <a:lnTo>
                    <a:pt x="75" y="37"/>
                  </a:lnTo>
                  <a:lnTo>
                    <a:pt x="89" y="41"/>
                  </a:lnTo>
                  <a:lnTo>
                    <a:pt x="91" y="30"/>
                  </a:lnTo>
                  <a:lnTo>
                    <a:pt x="100" y="11"/>
                  </a:lnTo>
                  <a:lnTo>
                    <a:pt x="111" y="0"/>
                  </a:lnTo>
                  <a:lnTo>
                    <a:pt x="123" y="3"/>
                  </a:lnTo>
                  <a:lnTo>
                    <a:pt x="135" y="5"/>
                  </a:lnTo>
                  <a:lnTo>
                    <a:pt x="134" y="17"/>
                  </a:lnTo>
                  <a:lnTo>
                    <a:pt x="129" y="28"/>
                  </a:lnTo>
                  <a:lnTo>
                    <a:pt x="125" y="41"/>
                  </a:lnTo>
                  <a:lnTo>
                    <a:pt x="123" y="60"/>
                  </a:lnTo>
                  <a:lnTo>
                    <a:pt x="124" y="71"/>
                  </a:lnTo>
                  <a:lnTo>
                    <a:pt x="121" y="79"/>
                  </a:lnTo>
                  <a:lnTo>
                    <a:pt x="121" y="86"/>
                  </a:lnTo>
                  <a:lnTo>
                    <a:pt x="118" y="93"/>
                  </a:lnTo>
                  <a:lnTo>
                    <a:pt x="106" y="103"/>
                  </a:lnTo>
                  <a:lnTo>
                    <a:pt x="98" y="114"/>
                  </a:lnTo>
                  <a:lnTo>
                    <a:pt x="90" y="134"/>
                  </a:lnTo>
                  <a:lnTo>
                    <a:pt x="90" y="151"/>
                  </a:lnTo>
                  <a:lnTo>
                    <a:pt x="86" y="158"/>
                  </a:lnTo>
                  <a:lnTo>
                    <a:pt x="75" y="168"/>
                  </a:lnTo>
                  <a:lnTo>
                    <a:pt x="64" y="181"/>
                  </a:lnTo>
                  <a:lnTo>
                    <a:pt x="57" y="177"/>
                  </a:lnTo>
                  <a:lnTo>
                    <a:pt x="56" y="171"/>
                  </a:lnTo>
                  <a:lnTo>
                    <a:pt x="46" y="171"/>
                  </a:lnTo>
                  <a:lnTo>
                    <a:pt x="40" y="179"/>
                  </a:lnTo>
                  <a:lnTo>
                    <a:pt x="35" y="17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88" name="Freeform 45">
              <a:extLst>
                <a:ext uri="{FF2B5EF4-FFF2-40B4-BE49-F238E27FC236}">
                  <a16:creationId xmlns:a16="http://schemas.microsoft.com/office/drawing/2014/main" id="{38B0164F-66DC-42D0-AC58-5C4341C955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0655" y="2539271"/>
              <a:ext cx="290449" cy="453256"/>
            </a:xfrm>
            <a:custGeom>
              <a:avLst/>
              <a:gdLst>
                <a:gd name="T0" fmla="*/ 59 w 223"/>
                <a:gd name="T1" fmla="*/ 257 h 348"/>
                <a:gd name="T2" fmla="*/ 44 w 223"/>
                <a:gd name="T3" fmla="*/ 253 h 348"/>
                <a:gd name="T4" fmla="*/ 24 w 223"/>
                <a:gd name="T5" fmla="*/ 241 h 348"/>
                <a:gd name="T6" fmla="*/ 3 w 223"/>
                <a:gd name="T7" fmla="*/ 230 h 348"/>
                <a:gd name="T8" fmla="*/ 7 w 223"/>
                <a:gd name="T9" fmla="*/ 222 h 348"/>
                <a:gd name="T10" fmla="*/ 11 w 223"/>
                <a:gd name="T11" fmla="*/ 204 h 348"/>
                <a:gd name="T12" fmla="*/ 28 w 223"/>
                <a:gd name="T13" fmla="*/ 189 h 348"/>
                <a:gd name="T14" fmla="*/ 28 w 223"/>
                <a:gd name="T15" fmla="*/ 173 h 348"/>
                <a:gd name="T16" fmla="*/ 29 w 223"/>
                <a:gd name="T17" fmla="*/ 142 h 348"/>
                <a:gd name="T18" fmla="*/ 30 w 223"/>
                <a:gd name="T19" fmla="*/ 119 h 348"/>
                <a:gd name="T20" fmla="*/ 26 w 223"/>
                <a:gd name="T21" fmla="*/ 98 h 348"/>
                <a:gd name="T22" fmla="*/ 36 w 223"/>
                <a:gd name="T23" fmla="*/ 94 h 348"/>
                <a:gd name="T24" fmla="*/ 34 w 223"/>
                <a:gd name="T25" fmla="*/ 78 h 348"/>
                <a:gd name="T26" fmla="*/ 58 w 223"/>
                <a:gd name="T27" fmla="*/ 64 h 348"/>
                <a:gd name="T28" fmla="*/ 67 w 223"/>
                <a:gd name="T29" fmla="*/ 55 h 348"/>
                <a:gd name="T30" fmla="*/ 82 w 223"/>
                <a:gd name="T31" fmla="*/ 28 h 348"/>
                <a:gd name="T32" fmla="*/ 96 w 223"/>
                <a:gd name="T33" fmla="*/ 23 h 348"/>
                <a:gd name="T34" fmla="*/ 125 w 223"/>
                <a:gd name="T35" fmla="*/ 15 h 348"/>
                <a:gd name="T36" fmla="*/ 142 w 223"/>
                <a:gd name="T37" fmla="*/ 0 h 348"/>
                <a:gd name="T38" fmla="*/ 152 w 223"/>
                <a:gd name="T39" fmla="*/ 7 h 348"/>
                <a:gd name="T40" fmla="*/ 137 w 223"/>
                <a:gd name="T41" fmla="*/ 17 h 348"/>
                <a:gd name="T42" fmla="*/ 124 w 223"/>
                <a:gd name="T43" fmla="*/ 34 h 348"/>
                <a:gd name="T44" fmla="*/ 115 w 223"/>
                <a:gd name="T45" fmla="*/ 56 h 348"/>
                <a:gd name="T46" fmla="*/ 118 w 223"/>
                <a:gd name="T47" fmla="*/ 70 h 348"/>
                <a:gd name="T48" fmla="*/ 124 w 223"/>
                <a:gd name="T49" fmla="*/ 84 h 348"/>
                <a:gd name="T50" fmla="*/ 123 w 223"/>
                <a:gd name="T51" fmla="*/ 100 h 348"/>
                <a:gd name="T52" fmla="*/ 128 w 223"/>
                <a:gd name="T53" fmla="*/ 106 h 348"/>
                <a:gd name="T54" fmla="*/ 156 w 223"/>
                <a:gd name="T55" fmla="*/ 111 h 348"/>
                <a:gd name="T56" fmla="*/ 178 w 223"/>
                <a:gd name="T57" fmla="*/ 132 h 348"/>
                <a:gd name="T58" fmla="*/ 199 w 223"/>
                <a:gd name="T59" fmla="*/ 131 h 348"/>
                <a:gd name="T60" fmla="*/ 216 w 223"/>
                <a:gd name="T61" fmla="*/ 132 h 348"/>
                <a:gd name="T62" fmla="*/ 208 w 223"/>
                <a:gd name="T63" fmla="*/ 150 h 348"/>
                <a:gd name="T64" fmla="*/ 210 w 223"/>
                <a:gd name="T65" fmla="*/ 179 h 348"/>
                <a:gd name="T66" fmla="*/ 215 w 223"/>
                <a:gd name="T67" fmla="*/ 189 h 348"/>
                <a:gd name="T68" fmla="*/ 212 w 223"/>
                <a:gd name="T69" fmla="*/ 204 h 348"/>
                <a:gd name="T70" fmla="*/ 223 w 223"/>
                <a:gd name="T71" fmla="*/ 232 h 348"/>
                <a:gd name="T72" fmla="*/ 216 w 223"/>
                <a:gd name="T73" fmla="*/ 223 h 348"/>
                <a:gd name="T74" fmla="*/ 204 w 223"/>
                <a:gd name="T75" fmla="*/ 223 h 348"/>
                <a:gd name="T76" fmla="*/ 169 w 223"/>
                <a:gd name="T77" fmla="*/ 236 h 348"/>
                <a:gd name="T78" fmla="*/ 179 w 223"/>
                <a:gd name="T79" fmla="*/ 246 h 348"/>
                <a:gd name="T80" fmla="*/ 165 w 223"/>
                <a:gd name="T81" fmla="*/ 247 h 348"/>
                <a:gd name="T82" fmla="*/ 173 w 223"/>
                <a:gd name="T83" fmla="*/ 270 h 348"/>
                <a:gd name="T84" fmla="*/ 175 w 223"/>
                <a:gd name="T85" fmla="*/ 291 h 348"/>
                <a:gd name="T86" fmla="*/ 159 w 223"/>
                <a:gd name="T87" fmla="*/ 337 h 348"/>
                <a:gd name="T88" fmla="*/ 165 w 223"/>
                <a:gd name="T89" fmla="*/ 315 h 348"/>
                <a:gd name="T90" fmla="*/ 139 w 223"/>
                <a:gd name="T91" fmla="*/ 307 h 348"/>
                <a:gd name="T92" fmla="*/ 123 w 223"/>
                <a:gd name="T93" fmla="*/ 309 h 348"/>
                <a:gd name="T94" fmla="*/ 98 w 223"/>
                <a:gd name="T95" fmla="*/ 285 h 348"/>
                <a:gd name="T96" fmla="*/ 84 w 223"/>
                <a:gd name="T97" fmla="*/ 270 h 348"/>
                <a:gd name="T98" fmla="*/ 66 w 223"/>
                <a:gd name="T99" fmla="*/ 261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23" h="348">
                  <a:moveTo>
                    <a:pt x="66" y="261"/>
                  </a:moveTo>
                  <a:lnTo>
                    <a:pt x="59" y="257"/>
                  </a:lnTo>
                  <a:lnTo>
                    <a:pt x="50" y="250"/>
                  </a:lnTo>
                  <a:lnTo>
                    <a:pt x="44" y="253"/>
                  </a:lnTo>
                  <a:lnTo>
                    <a:pt x="29" y="250"/>
                  </a:lnTo>
                  <a:lnTo>
                    <a:pt x="24" y="241"/>
                  </a:lnTo>
                  <a:lnTo>
                    <a:pt x="21" y="242"/>
                  </a:lnTo>
                  <a:lnTo>
                    <a:pt x="3" y="230"/>
                  </a:lnTo>
                  <a:lnTo>
                    <a:pt x="0" y="223"/>
                  </a:lnTo>
                  <a:lnTo>
                    <a:pt x="7" y="222"/>
                  </a:lnTo>
                  <a:lnTo>
                    <a:pt x="6" y="211"/>
                  </a:lnTo>
                  <a:lnTo>
                    <a:pt x="11" y="204"/>
                  </a:lnTo>
                  <a:lnTo>
                    <a:pt x="20" y="202"/>
                  </a:lnTo>
                  <a:lnTo>
                    <a:pt x="28" y="189"/>
                  </a:lnTo>
                  <a:lnTo>
                    <a:pt x="35" y="179"/>
                  </a:lnTo>
                  <a:lnTo>
                    <a:pt x="28" y="173"/>
                  </a:lnTo>
                  <a:lnTo>
                    <a:pt x="32" y="161"/>
                  </a:lnTo>
                  <a:lnTo>
                    <a:pt x="29" y="142"/>
                  </a:lnTo>
                  <a:lnTo>
                    <a:pt x="33" y="137"/>
                  </a:lnTo>
                  <a:lnTo>
                    <a:pt x="30" y="119"/>
                  </a:lnTo>
                  <a:lnTo>
                    <a:pt x="23" y="108"/>
                  </a:lnTo>
                  <a:lnTo>
                    <a:pt x="26" y="98"/>
                  </a:lnTo>
                  <a:lnTo>
                    <a:pt x="32" y="100"/>
                  </a:lnTo>
                  <a:lnTo>
                    <a:pt x="36" y="94"/>
                  </a:lnTo>
                  <a:lnTo>
                    <a:pt x="32" y="81"/>
                  </a:lnTo>
                  <a:lnTo>
                    <a:pt x="34" y="78"/>
                  </a:lnTo>
                  <a:lnTo>
                    <a:pt x="44" y="79"/>
                  </a:lnTo>
                  <a:lnTo>
                    <a:pt x="58" y="64"/>
                  </a:lnTo>
                  <a:lnTo>
                    <a:pt x="66" y="62"/>
                  </a:lnTo>
                  <a:lnTo>
                    <a:pt x="67" y="55"/>
                  </a:lnTo>
                  <a:lnTo>
                    <a:pt x="71" y="38"/>
                  </a:lnTo>
                  <a:lnTo>
                    <a:pt x="82" y="28"/>
                  </a:lnTo>
                  <a:lnTo>
                    <a:pt x="94" y="28"/>
                  </a:lnTo>
                  <a:lnTo>
                    <a:pt x="96" y="23"/>
                  </a:lnTo>
                  <a:lnTo>
                    <a:pt x="110" y="25"/>
                  </a:lnTo>
                  <a:lnTo>
                    <a:pt x="125" y="15"/>
                  </a:lnTo>
                  <a:lnTo>
                    <a:pt x="132" y="10"/>
                  </a:lnTo>
                  <a:lnTo>
                    <a:pt x="142" y="0"/>
                  </a:lnTo>
                  <a:lnTo>
                    <a:pt x="148" y="1"/>
                  </a:lnTo>
                  <a:lnTo>
                    <a:pt x="152" y="7"/>
                  </a:lnTo>
                  <a:lnTo>
                    <a:pt x="149" y="14"/>
                  </a:lnTo>
                  <a:lnTo>
                    <a:pt x="137" y="17"/>
                  </a:lnTo>
                  <a:lnTo>
                    <a:pt x="131" y="28"/>
                  </a:lnTo>
                  <a:lnTo>
                    <a:pt x="124" y="34"/>
                  </a:lnTo>
                  <a:lnTo>
                    <a:pt x="118" y="41"/>
                  </a:lnTo>
                  <a:lnTo>
                    <a:pt x="115" y="56"/>
                  </a:lnTo>
                  <a:lnTo>
                    <a:pt x="109" y="68"/>
                  </a:lnTo>
                  <a:lnTo>
                    <a:pt x="118" y="70"/>
                  </a:lnTo>
                  <a:lnTo>
                    <a:pt x="120" y="79"/>
                  </a:lnTo>
                  <a:lnTo>
                    <a:pt x="124" y="84"/>
                  </a:lnTo>
                  <a:lnTo>
                    <a:pt x="125" y="92"/>
                  </a:lnTo>
                  <a:lnTo>
                    <a:pt x="123" y="100"/>
                  </a:lnTo>
                  <a:lnTo>
                    <a:pt x="123" y="104"/>
                  </a:lnTo>
                  <a:lnTo>
                    <a:pt x="128" y="106"/>
                  </a:lnTo>
                  <a:lnTo>
                    <a:pt x="132" y="113"/>
                  </a:lnTo>
                  <a:lnTo>
                    <a:pt x="156" y="111"/>
                  </a:lnTo>
                  <a:lnTo>
                    <a:pt x="166" y="114"/>
                  </a:lnTo>
                  <a:lnTo>
                    <a:pt x="178" y="132"/>
                  </a:lnTo>
                  <a:lnTo>
                    <a:pt x="186" y="129"/>
                  </a:lnTo>
                  <a:lnTo>
                    <a:pt x="199" y="131"/>
                  </a:lnTo>
                  <a:lnTo>
                    <a:pt x="210" y="128"/>
                  </a:lnTo>
                  <a:lnTo>
                    <a:pt x="216" y="132"/>
                  </a:lnTo>
                  <a:lnTo>
                    <a:pt x="212" y="143"/>
                  </a:lnTo>
                  <a:lnTo>
                    <a:pt x="208" y="150"/>
                  </a:lnTo>
                  <a:lnTo>
                    <a:pt x="206" y="165"/>
                  </a:lnTo>
                  <a:lnTo>
                    <a:pt x="210" y="179"/>
                  </a:lnTo>
                  <a:lnTo>
                    <a:pt x="215" y="185"/>
                  </a:lnTo>
                  <a:lnTo>
                    <a:pt x="215" y="189"/>
                  </a:lnTo>
                  <a:lnTo>
                    <a:pt x="206" y="200"/>
                  </a:lnTo>
                  <a:lnTo>
                    <a:pt x="212" y="204"/>
                  </a:lnTo>
                  <a:lnTo>
                    <a:pt x="217" y="212"/>
                  </a:lnTo>
                  <a:lnTo>
                    <a:pt x="223" y="232"/>
                  </a:lnTo>
                  <a:lnTo>
                    <a:pt x="219" y="235"/>
                  </a:lnTo>
                  <a:lnTo>
                    <a:pt x="216" y="223"/>
                  </a:lnTo>
                  <a:lnTo>
                    <a:pt x="211" y="216"/>
                  </a:lnTo>
                  <a:lnTo>
                    <a:pt x="204" y="223"/>
                  </a:lnTo>
                  <a:lnTo>
                    <a:pt x="169" y="223"/>
                  </a:lnTo>
                  <a:lnTo>
                    <a:pt x="169" y="236"/>
                  </a:lnTo>
                  <a:lnTo>
                    <a:pt x="180" y="238"/>
                  </a:lnTo>
                  <a:lnTo>
                    <a:pt x="179" y="246"/>
                  </a:lnTo>
                  <a:lnTo>
                    <a:pt x="175" y="244"/>
                  </a:lnTo>
                  <a:lnTo>
                    <a:pt x="165" y="247"/>
                  </a:lnTo>
                  <a:lnTo>
                    <a:pt x="165" y="262"/>
                  </a:lnTo>
                  <a:lnTo>
                    <a:pt x="173" y="270"/>
                  </a:lnTo>
                  <a:lnTo>
                    <a:pt x="176" y="282"/>
                  </a:lnTo>
                  <a:lnTo>
                    <a:pt x="175" y="291"/>
                  </a:lnTo>
                  <a:lnTo>
                    <a:pt x="168" y="348"/>
                  </a:lnTo>
                  <a:lnTo>
                    <a:pt x="159" y="337"/>
                  </a:lnTo>
                  <a:lnTo>
                    <a:pt x="153" y="336"/>
                  </a:lnTo>
                  <a:lnTo>
                    <a:pt x="165" y="315"/>
                  </a:lnTo>
                  <a:lnTo>
                    <a:pt x="150" y="305"/>
                  </a:lnTo>
                  <a:lnTo>
                    <a:pt x="139" y="307"/>
                  </a:lnTo>
                  <a:lnTo>
                    <a:pt x="133" y="303"/>
                  </a:lnTo>
                  <a:lnTo>
                    <a:pt x="123" y="309"/>
                  </a:lnTo>
                  <a:lnTo>
                    <a:pt x="109" y="306"/>
                  </a:lnTo>
                  <a:lnTo>
                    <a:pt x="98" y="285"/>
                  </a:lnTo>
                  <a:lnTo>
                    <a:pt x="89" y="279"/>
                  </a:lnTo>
                  <a:lnTo>
                    <a:pt x="84" y="270"/>
                  </a:lnTo>
                  <a:lnTo>
                    <a:pt x="71" y="260"/>
                  </a:lnTo>
                  <a:lnTo>
                    <a:pt x="66" y="261"/>
                  </a:lnTo>
                  <a:close/>
                </a:path>
              </a:pathLst>
            </a:custGeom>
            <a:solidFill>
              <a:srgbClr val="0A58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89" name="Freeform 46">
              <a:extLst>
                <a:ext uri="{FF2B5EF4-FFF2-40B4-BE49-F238E27FC236}">
                  <a16:creationId xmlns:a16="http://schemas.microsoft.com/office/drawing/2014/main" id="{FFCA323C-216D-4AEF-BC8B-62C6F2E3E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4360" y="2571833"/>
              <a:ext cx="78148" cy="82055"/>
            </a:xfrm>
            <a:custGeom>
              <a:avLst/>
              <a:gdLst>
                <a:gd name="T0" fmla="*/ 51 w 60"/>
                <a:gd name="T1" fmla="*/ 63 h 63"/>
                <a:gd name="T2" fmla="*/ 41 w 60"/>
                <a:gd name="T3" fmla="*/ 58 h 63"/>
                <a:gd name="T4" fmla="*/ 38 w 60"/>
                <a:gd name="T5" fmla="*/ 53 h 63"/>
                <a:gd name="T6" fmla="*/ 40 w 60"/>
                <a:gd name="T7" fmla="*/ 50 h 63"/>
                <a:gd name="T8" fmla="*/ 40 w 60"/>
                <a:gd name="T9" fmla="*/ 45 h 63"/>
                <a:gd name="T10" fmla="*/ 35 w 60"/>
                <a:gd name="T11" fmla="*/ 40 h 63"/>
                <a:gd name="T12" fmla="*/ 28 w 60"/>
                <a:gd name="T13" fmla="*/ 36 h 63"/>
                <a:gd name="T14" fmla="*/ 22 w 60"/>
                <a:gd name="T15" fmla="*/ 34 h 63"/>
                <a:gd name="T16" fmla="*/ 21 w 60"/>
                <a:gd name="T17" fmla="*/ 28 h 63"/>
                <a:gd name="T18" fmla="*/ 17 w 60"/>
                <a:gd name="T19" fmla="*/ 24 h 63"/>
                <a:gd name="T20" fmla="*/ 18 w 60"/>
                <a:gd name="T21" fmla="*/ 30 h 63"/>
                <a:gd name="T22" fmla="*/ 14 w 60"/>
                <a:gd name="T23" fmla="*/ 35 h 63"/>
                <a:gd name="T24" fmla="*/ 10 w 60"/>
                <a:gd name="T25" fmla="*/ 29 h 63"/>
                <a:gd name="T26" fmla="*/ 4 w 60"/>
                <a:gd name="T27" fmla="*/ 27 h 63"/>
                <a:gd name="T28" fmla="*/ 2 w 60"/>
                <a:gd name="T29" fmla="*/ 23 h 63"/>
                <a:gd name="T30" fmla="*/ 2 w 60"/>
                <a:gd name="T31" fmla="*/ 17 h 63"/>
                <a:gd name="T32" fmla="*/ 5 w 60"/>
                <a:gd name="T33" fmla="*/ 10 h 63"/>
                <a:gd name="T34" fmla="*/ 0 w 60"/>
                <a:gd name="T35" fmla="*/ 7 h 63"/>
                <a:gd name="T36" fmla="*/ 5 w 60"/>
                <a:gd name="T37" fmla="*/ 3 h 63"/>
                <a:gd name="T38" fmla="*/ 8 w 60"/>
                <a:gd name="T39" fmla="*/ 0 h 63"/>
                <a:gd name="T40" fmla="*/ 19 w 60"/>
                <a:gd name="T41" fmla="*/ 6 h 63"/>
                <a:gd name="T42" fmla="*/ 24 w 60"/>
                <a:gd name="T43" fmla="*/ 3 h 63"/>
                <a:gd name="T44" fmla="*/ 29 w 60"/>
                <a:gd name="T45" fmla="*/ 5 h 63"/>
                <a:gd name="T46" fmla="*/ 32 w 60"/>
                <a:gd name="T47" fmla="*/ 9 h 63"/>
                <a:gd name="T48" fmla="*/ 37 w 60"/>
                <a:gd name="T49" fmla="*/ 11 h 63"/>
                <a:gd name="T50" fmla="*/ 42 w 60"/>
                <a:gd name="T51" fmla="*/ 6 h 63"/>
                <a:gd name="T52" fmla="*/ 46 w 60"/>
                <a:gd name="T53" fmla="*/ 17 h 63"/>
                <a:gd name="T54" fmla="*/ 52 w 60"/>
                <a:gd name="T55" fmla="*/ 26 h 63"/>
                <a:gd name="T56" fmla="*/ 60 w 60"/>
                <a:gd name="T57" fmla="*/ 35 h 63"/>
                <a:gd name="T58" fmla="*/ 53 w 60"/>
                <a:gd name="T59" fmla="*/ 36 h 63"/>
                <a:gd name="T60" fmla="*/ 53 w 60"/>
                <a:gd name="T61" fmla="*/ 45 h 63"/>
                <a:gd name="T62" fmla="*/ 57 w 60"/>
                <a:gd name="T63" fmla="*/ 48 h 63"/>
                <a:gd name="T64" fmla="*/ 54 w 60"/>
                <a:gd name="T65" fmla="*/ 51 h 63"/>
                <a:gd name="T66" fmla="*/ 54 w 60"/>
                <a:gd name="T67" fmla="*/ 54 h 63"/>
                <a:gd name="T68" fmla="*/ 52 w 60"/>
                <a:gd name="T69" fmla="*/ 58 h 63"/>
                <a:gd name="T70" fmla="*/ 51 w 60"/>
                <a:gd name="T71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63">
                  <a:moveTo>
                    <a:pt x="51" y="63"/>
                  </a:moveTo>
                  <a:lnTo>
                    <a:pt x="41" y="58"/>
                  </a:lnTo>
                  <a:lnTo>
                    <a:pt x="38" y="53"/>
                  </a:lnTo>
                  <a:lnTo>
                    <a:pt x="40" y="50"/>
                  </a:lnTo>
                  <a:lnTo>
                    <a:pt x="40" y="45"/>
                  </a:lnTo>
                  <a:lnTo>
                    <a:pt x="35" y="40"/>
                  </a:lnTo>
                  <a:lnTo>
                    <a:pt x="28" y="36"/>
                  </a:lnTo>
                  <a:lnTo>
                    <a:pt x="22" y="34"/>
                  </a:lnTo>
                  <a:lnTo>
                    <a:pt x="21" y="28"/>
                  </a:lnTo>
                  <a:lnTo>
                    <a:pt x="17" y="24"/>
                  </a:lnTo>
                  <a:lnTo>
                    <a:pt x="18" y="30"/>
                  </a:lnTo>
                  <a:lnTo>
                    <a:pt x="14" y="35"/>
                  </a:lnTo>
                  <a:lnTo>
                    <a:pt x="10" y="29"/>
                  </a:lnTo>
                  <a:lnTo>
                    <a:pt x="4" y="27"/>
                  </a:lnTo>
                  <a:lnTo>
                    <a:pt x="2" y="23"/>
                  </a:lnTo>
                  <a:lnTo>
                    <a:pt x="2" y="17"/>
                  </a:lnTo>
                  <a:lnTo>
                    <a:pt x="5" y="10"/>
                  </a:lnTo>
                  <a:lnTo>
                    <a:pt x="0" y="7"/>
                  </a:lnTo>
                  <a:lnTo>
                    <a:pt x="5" y="3"/>
                  </a:lnTo>
                  <a:lnTo>
                    <a:pt x="8" y="0"/>
                  </a:lnTo>
                  <a:lnTo>
                    <a:pt x="19" y="6"/>
                  </a:lnTo>
                  <a:lnTo>
                    <a:pt x="24" y="3"/>
                  </a:lnTo>
                  <a:lnTo>
                    <a:pt x="29" y="5"/>
                  </a:lnTo>
                  <a:lnTo>
                    <a:pt x="32" y="9"/>
                  </a:lnTo>
                  <a:lnTo>
                    <a:pt x="37" y="11"/>
                  </a:lnTo>
                  <a:lnTo>
                    <a:pt x="42" y="6"/>
                  </a:lnTo>
                  <a:lnTo>
                    <a:pt x="46" y="17"/>
                  </a:lnTo>
                  <a:lnTo>
                    <a:pt x="52" y="26"/>
                  </a:lnTo>
                  <a:lnTo>
                    <a:pt x="60" y="35"/>
                  </a:lnTo>
                  <a:lnTo>
                    <a:pt x="53" y="36"/>
                  </a:lnTo>
                  <a:lnTo>
                    <a:pt x="53" y="45"/>
                  </a:lnTo>
                  <a:lnTo>
                    <a:pt x="57" y="48"/>
                  </a:lnTo>
                  <a:lnTo>
                    <a:pt x="54" y="51"/>
                  </a:lnTo>
                  <a:lnTo>
                    <a:pt x="54" y="54"/>
                  </a:lnTo>
                  <a:lnTo>
                    <a:pt x="52" y="58"/>
                  </a:lnTo>
                  <a:lnTo>
                    <a:pt x="51" y="6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90" name="Freeform 47">
              <a:extLst>
                <a:ext uri="{FF2B5EF4-FFF2-40B4-BE49-F238E27FC236}">
                  <a16:creationId xmlns:a16="http://schemas.microsoft.com/office/drawing/2014/main" id="{F410181B-77FB-4D87-8699-AC1390240BCF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0366" y="2248822"/>
              <a:ext cx="247467" cy="89870"/>
            </a:xfrm>
            <a:custGeom>
              <a:avLst/>
              <a:gdLst>
                <a:gd name="T0" fmla="*/ 53 w 190"/>
                <a:gd name="T1" fmla="*/ 0 h 69"/>
                <a:gd name="T2" fmla="*/ 68 w 190"/>
                <a:gd name="T3" fmla="*/ 1 h 69"/>
                <a:gd name="T4" fmla="*/ 82 w 190"/>
                <a:gd name="T5" fmla="*/ 1 h 69"/>
                <a:gd name="T6" fmla="*/ 98 w 190"/>
                <a:gd name="T7" fmla="*/ 8 h 69"/>
                <a:gd name="T8" fmla="*/ 104 w 190"/>
                <a:gd name="T9" fmla="*/ 16 h 69"/>
                <a:gd name="T10" fmla="*/ 121 w 190"/>
                <a:gd name="T11" fmla="*/ 14 h 69"/>
                <a:gd name="T12" fmla="*/ 127 w 190"/>
                <a:gd name="T13" fmla="*/ 19 h 69"/>
                <a:gd name="T14" fmla="*/ 140 w 190"/>
                <a:gd name="T15" fmla="*/ 31 h 69"/>
                <a:gd name="T16" fmla="*/ 150 w 190"/>
                <a:gd name="T17" fmla="*/ 41 h 69"/>
                <a:gd name="T18" fmla="*/ 156 w 190"/>
                <a:gd name="T19" fmla="*/ 40 h 69"/>
                <a:gd name="T20" fmla="*/ 166 w 190"/>
                <a:gd name="T21" fmla="*/ 45 h 69"/>
                <a:gd name="T22" fmla="*/ 164 w 190"/>
                <a:gd name="T23" fmla="*/ 51 h 69"/>
                <a:gd name="T24" fmla="*/ 177 w 190"/>
                <a:gd name="T25" fmla="*/ 51 h 69"/>
                <a:gd name="T26" fmla="*/ 190 w 190"/>
                <a:gd name="T27" fmla="*/ 60 h 69"/>
                <a:gd name="T28" fmla="*/ 187 w 190"/>
                <a:gd name="T29" fmla="*/ 65 h 69"/>
                <a:gd name="T30" fmla="*/ 175 w 190"/>
                <a:gd name="T31" fmla="*/ 67 h 69"/>
                <a:gd name="T32" fmla="*/ 163 w 190"/>
                <a:gd name="T33" fmla="*/ 68 h 69"/>
                <a:gd name="T34" fmla="*/ 151 w 190"/>
                <a:gd name="T35" fmla="*/ 67 h 69"/>
                <a:gd name="T36" fmla="*/ 124 w 190"/>
                <a:gd name="T37" fmla="*/ 69 h 69"/>
                <a:gd name="T38" fmla="*/ 138 w 190"/>
                <a:gd name="T39" fmla="*/ 57 h 69"/>
                <a:gd name="T40" fmla="*/ 131 w 190"/>
                <a:gd name="T41" fmla="*/ 52 h 69"/>
                <a:gd name="T42" fmla="*/ 120 w 190"/>
                <a:gd name="T43" fmla="*/ 50 h 69"/>
                <a:gd name="T44" fmla="*/ 114 w 190"/>
                <a:gd name="T45" fmla="*/ 45 h 69"/>
                <a:gd name="T46" fmla="*/ 112 w 190"/>
                <a:gd name="T47" fmla="*/ 33 h 69"/>
                <a:gd name="T48" fmla="*/ 101 w 190"/>
                <a:gd name="T49" fmla="*/ 34 h 69"/>
                <a:gd name="T50" fmla="*/ 86 w 190"/>
                <a:gd name="T51" fmla="*/ 28 h 69"/>
                <a:gd name="T52" fmla="*/ 81 w 190"/>
                <a:gd name="T53" fmla="*/ 24 h 69"/>
                <a:gd name="T54" fmla="*/ 58 w 190"/>
                <a:gd name="T55" fmla="*/ 20 h 69"/>
                <a:gd name="T56" fmla="*/ 52 w 190"/>
                <a:gd name="T57" fmla="*/ 16 h 69"/>
                <a:gd name="T58" fmla="*/ 60 w 190"/>
                <a:gd name="T59" fmla="*/ 11 h 69"/>
                <a:gd name="T60" fmla="*/ 42 w 190"/>
                <a:gd name="T61" fmla="*/ 10 h 69"/>
                <a:gd name="T62" fmla="*/ 28 w 190"/>
                <a:gd name="T63" fmla="*/ 21 h 69"/>
                <a:gd name="T64" fmla="*/ 20 w 190"/>
                <a:gd name="T65" fmla="*/ 21 h 69"/>
                <a:gd name="T66" fmla="*/ 17 w 190"/>
                <a:gd name="T67" fmla="*/ 26 h 69"/>
                <a:gd name="T68" fmla="*/ 7 w 190"/>
                <a:gd name="T69" fmla="*/ 28 h 69"/>
                <a:gd name="T70" fmla="*/ 0 w 190"/>
                <a:gd name="T71" fmla="*/ 27 h 69"/>
                <a:gd name="T72" fmla="*/ 11 w 190"/>
                <a:gd name="T73" fmla="*/ 20 h 69"/>
                <a:gd name="T74" fmla="*/ 16 w 190"/>
                <a:gd name="T75" fmla="*/ 13 h 69"/>
                <a:gd name="T76" fmla="*/ 25 w 190"/>
                <a:gd name="T77" fmla="*/ 8 h 69"/>
                <a:gd name="T78" fmla="*/ 34 w 190"/>
                <a:gd name="T79" fmla="*/ 4 h 69"/>
                <a:gd name="T80" fmla="*/ 48 w 190"/>
                <a:gd name="T81" fmla="*/ 2 h 69"/>
                <a:gd name="T82" fmla="*/ 53 w 190"/>
                <a:gd name="T83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0" h="69">
                  <a:moveTo>
                    <a:pt x="53" y="0"/>
                  </a:moveTo>
                  <a:lnTo>
                    <a:pt x="68" y="1"/>
                  </a:lnTo>
                  <a:lnTo>
                    <a:pt x="82" y="1"/>
                  </a:lnTo>
                  <a:lnTo>
                    <a:pt x="98" y="8"/>
                  </a:lnTo>
                  <a:lnTo>
                    <a:pt x="104" y="16"/>
                  </a:lnTo>
                  <a:lnTo>
                    <a:pt x="121" y="14"/>
                  </a:lnTo>
                  <a:lnTo>
                    <a:pt x="127" y="19"/>
                  </a:lnTo>
                  <a:lnTo>
                    <a:pt x="140" y="31"/>
                  </a:lnTo>
                  <a:lnTo>
                    <a:pt x="150" y="41"/>
                  </a:lnTo>
                  <a:lnTo>
                    <a:pt x="156" y="40"/>
                  </a:lnTo>
                  <a:lnTo>
                    <a:pt x="166" y="45"/>
                  </a:lnTo>
                  <a:lnTo>
                    <a:pt x="164" y="51"/>
                  </a:lnTo>
                  <a:lnTo>
                    <a:pt x="177" y="51"/>
                  </a:lnTo>
                  <a:lnTo>
                    <a:pt x="190" y="60"/>
                  </a:lnTo>
                  <a:lnTo>
                    <a:pt x="187" y="65"/>
                  </a:lnTo>
                  <a:lnTo>
                    <a:pt x="175" y="67"/>
                  </a:lnTo>
                  <a:lnTo>
                    <a:pt x="163" y="68"/>
                  </a:lnTo>
                  <a:lnTo>
                    <a:pt x="151" y="67"/>
                  </a:lnTo>
                  <a:lnTo>
                    <a:pt x="124" y="69"/>
                  </a:lnTo>
                  <a:lnTo>
                    <a:pt x="138" y="57"/>
                  </a:lnTo>
                  <a:lnTo>
                    <a:pt x="131" y="52"/>
                  </a:lnTo>
                  <a:lnTo>
                    <a:pt x="120" y="50"/>
                  </a:lnTo>
                  <a:lnTo>
                    <a:pt x="114" y="45"/>
                  </a:lnTo>
                  <a:lnTo>
                    <a:pt x="112" y="33"/>
                  </a:lnTo>
                  <a:lnTo>
                    <a:pt x="101" y="34"/>
                  </a:lnTo>
                  <a:lnTo>
                    <a:pt x="86" y="28"/>
                  </a:lnTo>
                  <a:lnTo>
                    <a:pt x="81" y="24"/>
                  </a:lnTo>
                  <a:lnTo>
                    <a:pt x="58" y="20"/>
                  </a:lnTo>
                  <a:lnTo>
                    <a:pt x="52" y="16"/>
                  </a:lnTo>
                  <a:lnTo>
                    <a:pt x="60" y="11"/>
                  </a:lnTo>
                  <a:lnTo>
                    <a:pt x="42" y="10"/>
                  </a:lnTo>
                  <a:lnTo>
                    <a:pt x="28" y="21"/>
                  </a:lnTo>
                  <a:lnTo>
                    <a:pt x="20" y="21"/>
                  </a:lnTo>
                  <a:lnTo>
                    <a:pt x="17" y="26"/>
                  </a:lnTo>
                  <a:lnTo>
                    <a:pt x="7" y="28"/>
                  </a:lnTo>
                  <a:lnTo>
                    <a:pt x="0" y="27"/>
                  </a:lnTo>
                  <a:lnTo>
                    <a:pt x="11" y="20"/>
                  </a:lnTo>
                  <a:lnTo>
                    <a:pt x="16" y="13"/>
                  </a:lnTo>
                  <a:lnTo>
                    <a:pt x="25" y="8"/>
                  </a:lnTo>
                  <a:lnTo>
                    <a:pt x="34" y="4"/>
                  </a:lnTo>
                  <a:lnTo>
                    <a:pt x="48" y="2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91" name="Freeform 48">
              <a:extLst>
                <a:ext uri="{FF2B5EF4-FFF2-40B4-BE49-F238E27FC236}">
                  <a16:creationId xmlns:a16="http://schemas.microsoft.com/office/drawing/2014/main" id="{819B9BD2-971B-4D3C-87E4-C512FD04575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7716" y="1911486"/>
              <a:ext cx="40377" cy="18234"/>
            </a:xfrm>
            <a:custGeom>
              <a:avLst/>
              <a:gdLst>
                <a:gd name="T0" fmla="*/ 0 w 31"/>
                <a:gd name="T1" fmla="*/ 11 h 14"/>
                <a:gd name="T2" fmla="*/ 1 w 31"/>
                <a:gd name="T3" fmla="*/ 11 h 14"/>
                <a:gd name="T4" fmla="*/ 3 w 31"/>
                <a:gd name="T5" fmla="*/ 6 h 14"/>
                <a:gd name="T6" fmla="*/ 16 w 31"/>
                <a:gd name="T7" fmla="*/ 6 h 14"/>
                <a:gd name="T8" fmla="*/ 31 w 31"/>
                <a:gd name="T9" fmla="*/ 0 h 14"/>
                <a:gd name="T10" fmla="*/ 20 w 31"/>
                <a:gd name="T11" fmla="*/ 9 h 14"/>
                <a:gd name="T12" fmla="*/ 22 w 31"/>
                <a:gd name="T13" fmla="*/ 12 h 14"/>
                <a:gd name="T14" fmla="*/ 20 w 31"/>
                <a:gd name="T15" fmla="*/ 12 h 14"/>
                <a:gd name="T16" fmla="*/ 17 w 31"/>
                <a:gd name="T17" fmla="*/ 13 h 14"/>
                <a:gd name="T18" fmla="*/ 14 w 31"/>
                <a:gd name="T19" fmla="*/ 13 h 14"/>
                <a:gd name="T20" fmla="*/ 13 w 31"/>
                <a:gd name="T21" fmla="*/ 14 h 14"/>
                <a:gd name="T22" fmla="*/ 13 w 31"/>
                <a:gd name="T23" fmla="*/ 12 h 14"/>
                <a:gd name="T24" fmla="*/ 11 w 31"/>
                <a:gd name="T25" fmla="*/ 10 h 14"/>
                <a:gd name="T26" fmla="*/ 8 w 31"/>
                <a:gd name="T27" fmla="*/ 10 h 14"/>
                <a:gd name="T28" fmla="*/ 4 w 31"/>
                <a:gd name="T29" fmla="*/ 12 h 14"/>
                <a:gd name="T30" fmla="*/ 0 w 31"/>
                <a:gd name="T31" fmla="*/ 1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" h="14">
                  <a:moveTo>
                    <a:pt x="0" y="11"/>
                  </a:moveTo>
                  <a:lnTo>
                    <a:pt x="1" y="11"/>
                  </a:lnTo>
                  <a:lnTo>
                    <a:pt x="3" y="6"/>
                  </a:lnTo>
                  <a:lnTo>
                    <a:pt x="16" y="6"/>
                  </a:lnTo>
                  <a:lnTo>
                    <a:pt x="31" y="0"/>
                  </a:lnTo>
                  <a:lnTo>
                    <a:pt x="20" y="9"/>
                  </a:lnTo>
                  <a:lnTo>
                    <a:pt x="22" y="12"/>
                  </a:lnTo>
                  <a:lnTo>
                    <a:pt x="20" y="12"/>
                  </a:lnTo>
                  <a:lnTo>
                    <a:pt x="17" y="13"/>
                  </a:lnTo>
                  <a:lnTo>
                    <a:pt x="14" y="13"/>
                  </a:lnTo>
                  <a:lnTo>
                    <a:pt x="13" y="14"/>
                  </a:lnTo>
                  <a:lnTo>
                    <a:pt x="13" y="12"/>
                  </a:lnTo>
                  <a:lnTo>
                    <a:pt x="11" y="10"/>
                  </a:lnTo>
                  <a:lnTo>
                    <a:pt x="8" y="10"/>
                  </a:lnTo>
                  <a:lnTo>
                    <a:pt x="4" y="12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92" name="Freeform 49">
              <a:extLst>
                <a:ext uri="{FF2B5EF4-FFF2-40B4-BE49-F238E27FC236}">
                  <a16:creationId xmlns:a16="http://schemas.microsoft.com/office/drawing/2014/main" id="{3F43C989-689C-473C-9449-E0CF254075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7297" y="1924510"/>
              <a:ext cx="40377" cy="15630"/>
            </a:xfrm>
            <a:custGeom>
              <a:avLst/>
              <a:gdLst>
                <a:gd name="T0" fmla="*/ 30 w 31"/>
                <a:gd name="T1" fmla="*/ 2 h 12"/>
                <a:gd name="T2" fmla="*/ 31 w 31"/>
                <a:gd name="T3" fmla="*/ 4 h 12"/>
                <a:gd name="T4" fmla="*/ 14 w 31"/>
                <a:gd name="T5" fmla="*/ 12 h 12"/>
                <a:gd name="T6" fmla="*/ 5 w 31"/>
                <a:gd name="T7" fmla="*/ 10 h 12"/>
                <a:gd name="T8" fmla="*/ 0 w 31"/>
                <a:gd name="T9" fmla="*/ 2 h 12"/>
                <a:gd name="T10" fmla="*/ 8 w 31"/>
                <a:gd name="T11" fmla="*/ 1 h 12"/>
                <a:gd name="T12" fmla="*/ 12 w 31"/>
                <a:gd name="T13" fmla="*/ 2 h 12"/>
                <a:gd name="T14" fmla="*/ 16 w 31"/>
                <a:gd name="T15" fmla="*/ 0 h 12"/>
                <a:gd name="T16" fmla="*/ 19 w 31"/>
                <a:gd name="T17" fmla="*/ 0 h 12"/>
                <a:gd name="T18" fmla="*/ 21 w 31"/>
                <a:gd name="T19" fmla="*/ 2 h 12"/>
                <a:gd name="T20" fmla="*/ 21 w 31"/>
                <a:gd name="T21" fmla="*/ 4 h 12"/>
                <a:gd name="T22" fmla="*/ 22 w 31"/>
                <a:gd name="T23" fmla="*/ 3 h 12"/>
                <a:gd name="T24" fmla="*/ 25 w 31"/>
                <a:gd name="T25" fmla="*/ 3 h 12"/>
                <a:gd name="T26" fmla="*/ 28 w 31"/>
                <a:gd name="T27" fmla="*/ 2 h 12"/>
                <a:gd name="T28" fmla="*/ 30 w 31"/>
                <a:gd name="T29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1" h="12">
                  <a:moveTo>
                    <a:pt x="30" y="2"/>
                  </a:moveTo>
                  <a:lnTo>
                    <a:pt x="31" y="4"/>
                  </a:lnTo>
                  <a:lnTo>
                    <a:pt x="14" y="12"/>
                  </a:lnTo>
                  <a:lnTo>
                    <a:pt x="5" y="10"/>
                  </a:lnTo>
                  <a:lnTo>
                    <a:pt x="0" y="2"/>
                  </a:lnTo>
                  <a:lnTo>
                    <a:pt x="8" y="1"/>
                  </a:lnTo>
                  <a:lnTo>
                    <a:pt x="12" y="2"/>
                  </a:lnTo>
                  <a:lnTo>
                    <a:pt x="16" y="0"/>
                  </a:lnTo>
                  <a:lnTo>
                    <a:pt x="19" y="0"/>
                  </a:lnTo>
                  <a:lnTo>
                    <a:pt x="21" y="2"/>
                  </a:lnTo>
                  <a:lnTo>
                    <a:pt x="21" y="4"/>
                  </a:lnTo>
                  <a:lnTo>
                    <a:pt x="22" y="3"/>
                  </a:lnTo>
                  <a:lnTo>
                    <a:pt x="25" y="3"/>
                  </a:lnTo>
                  <a:lnTo>
                    <a:pt x="28" y="2"/>
                  </a:lnTo>
                  <a:lnTo>
                    <a:pt x="30" y="2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93" name="Freeform 50">
              <a:extLst>
                <a:ext uri="{FF2B5EF4-FFF2-40B4-BE49-F238E27FC236}">
                  <a16:creationId xmlns:a16="http://schemas.microsoft.com/office/drawing/2014/main" id="{0A0267A0-5159-4272-B9E1-F65556FACC0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4503" y="1498606"/>
              <a:ext cx="139364" cy="67728"/>
            </a:xfrm>
            <a:custGeom>
              <a:avLst/>
              <a:gdLst>
                <a:gd name="T0" fmla="*/ 79 w 107"/>
                <a:gd name="T1" fmla="*/ 51 h 52"/>
                <a:gd name="T2" fmla="*/ 71 w 107"/>
                <a:gd name="T3" fmla="*/ 48 h 52"/>
                <a:gd name="T4" fmla="*/ 63 w 107"/>
                <a:gd name="T5" fmla="*/ 49 h 52"/>
                <a:gd name="T6" fmla="*/ 50 w 107"/>
                <a:gd name="T7" fmla="*/ 43 h 52"/>
                <a:gd name="T8" fmla="*/ 45 w 107"/>
                <a:gd name="T9" fmla="*/ 44 h 52"/>
                <a:gd name="T10" fmla="*/ 37 w 107"/>
                <a:gd name="T11" fmla="*/ 52 h 52"/>
                <a:gd name="T12" fmla="*/ 24 w 107"/>
                <a:gd name="T13" fmla="*/ 46 h 52"/>
                <a:gd name="T14" fmla="*/ 14 w 107"/>
                <a:gd name="T15" fmla="*/ 37 h 52"/>
                <a:gd name="T16" fmla="*/ 6 w 107"/>
                <a:gd name="T17" fmla="*/ 32 h 52"/>
                <a:gd name="T18" fmla="*/ 4 w 107"/>
                <a:gd name="T19" fmla="*/ 24 h 52"/>
                <a:gd name="T20" fmla="*/ 0 w 107"/>
                <a:gd name="T21" fmla="*/ 18 h 52"/>
                <a:gd name="T22" fmla="*/ 12 w 107"/>
                <a:gd name="T23" fmla="*/ 13 h 52"/>
                <a:gd name="T24" fmla="*/ 17 w 107"/>
                <a:gd name="T25" fmla="*/ 8 h 52"/>
                <a:gd name="T26" fmla="*/ 28 w 107"/>
                <a:gd name="T27" fmla="*/ 4 h 52"/>
                <a:gd name="T28" fmla="*/ 32 w 107"/>
                <a:gd name="T29" fmla="*/ 0 h 52"/>
                <a:gd name="T30" fmla="*/ 36 w 107"/>
                <a:gd name="T31" fmla="*/ 3 h 52"/>
                <a:gd name="T32" fmla="*/ 43 w 107"/>
                <a:gd name="T33" fmla="*/ 1 h 52"/>
                <a:gd name="T34" fmla="*/ 51 w 107"/>
                <a:gd name="T35" fmla="*/ 7 h 52"/>
                <a:gd name="T36" fmla="*/ 63 w 107"/>
                <a:gd name="T37" fmla="*/ 9 h 52"/>
                <a:gd name="T38" fmla="*/ 63 w 107"/>
                <a:gd name="T39" fmla="*/ 15 h 52"/>
                <a:gd name="T40" fmla="*/ 72 w 107"/>
                <a:gd name="T41" fmla="*/ 19 h 52"/>
                <a:gd name="T42" fmla="*/ 74 w 107"/>
                <a:gd name="T43" fmla="*/ 14 h 52"/>
                <a:gd name="T44" fmla="*/ 85 w 107"/>
                <a:gd name="T45" fmla="*/ 16 h 52"/>
                <a:gd name="T46" fmla="*/ 87 w 107"/>
                <a:gd name="T47" fmla="*/ 22 h 52"/>
                <a:gd name="T48" fmla="*/ 99 w 107"/>
                <a:gd name="T49" fmla="*/ 23 h 52"/>
                <a:gd name="T50" fmla="*/ 107 w 107"/>
                <a:gd name="T51" fmla="*/ 33 h 52"/>
                <a:gd name="T52" fmla="*/ 103 w 107"/>
                <a:gd name="T53" fmla="*/ 33 h 52"/>
                <a:gd name="T54" fmla="*/ 100 w 107"/>
                <a:gd name="T55" fmla="*/ 37 h 52"/>
                <a:gd name="T56" fmla="*/ 97 w 107"/>
                <a:gd name="T57" fmla="*/ 38 h 52"/>
                <a:gd name="T58" fmla="*/ 96 w 107"/>
                <a:gd name="T59" fmla="*/ 42 h 52"/>
                <a:gd name="T60" fmla="*/ 93 w 107"/>
                <a:gd name="T61" fmla="*/ 43 h 52"/>
                <a:gd name="T62" fmla="*/ 93 w 107"/>
                <a:gd name="T63" fmla="*/ 45 h 52"/>
                <a:gd name="T64" fmla="*/ 88 w 107"/>
                <a:gd name="T65" fmla="*/ 47 h 52"/>
                <a:gd name="T66" fmla="*/ 80 w 107"/>
                <a:gd name="T67" fmla="*/ 47 h 52"/>
                <a:gd name="T68" fmla="*/ 79 w 107"/>
                <a:gd name="T69" fmla="*/ 5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7" h="52">
                  <a:moveTo>
                    <a:pt x="79" y="51"/>
                  </a:moveTo>
                  <a:lnTo>
                    <a:pt x="71" y="48"/>
                  </a:lnTo>
                  <a:lnTo>
                    <a:pt x="63" y="49"/>
                  </a:lnTo>
                  <a:lnTo>
                    <a:pt x="50" y="43"/>
                  </a:lnTo>
                  <a:lnTo>
                    <a:pt x="45" y="44"/>
                  </a:lnTo>
                  <a:lnTo>
                    <a:pt x="37" y="52"/>
                  </a:lnTo>
                  <a:lnTo>
                    <a:pt x="24" y="46"/>
                  </a:lnTo>
                  <a:lnTo>
                    <a:pt x="14" y="37"/>
                  </a:lnTo>
                  <a:lnTo>
                    <a:pt x="6" y="32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12" y="13"/>
                  </a:lnTo>
                  <a:lnTo>
                    <a:pt x="17" y="8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6" y="3"/>
                  </a:lnTo>
                  <a:lnTo>
                    <a:pt x="43" y="1"/>
                  </a:lnTo>
                  <a:lnTo>
                    <a:pt x="51" y="7"/>
                  </a:lnTo>
                  <a:lnTo>
                    <a:pt x="63" y="9"/>
                  </a:lnTo>
                  <a:lnTo>
                    <a:pt x="63" y="15"/>
                  </a:lnTo>
                  <a:lnTo>
                    <a:pt x="72" y="19"/>
                  </a:lnTo>
                  <a:lnTo>
                    <a:pt x="74" y="14"/>
                  </a:lnTo>
                  <a:lnTo>
                    <a:pt x="85" y="16"/>
                  </a:lnTo>
                  <a:lnTo>
                    <a:pt x="87" y="22"/>
                  </a:lnTo>
                  <a:lnTo>
                    <a:pt x="99" y="23"/>
                  </a:lnTo>
                  <a:lnTo>
                    <a:pt x="107" y="33"/>
                  </a:lnTo>
                  <a:lnTo>
                    <a:pt x="103" y="33"/>
                  </a:lnTo>
                  <a:lnTo>
                    <a:pt x="100" y="37"/>
                  </a:lnTo>
                  <a:lnTo>
                    <a:pt x="97" y="38"/>
                  </a:lnTo>
                  <a:lnTo>
                    <a:pt x="96" y="42"/>
                  </a:lnTo>
                  <a:lnTo>
                    <a:pt x="93" y="43"/>
                  </a:lnTo>
                  <a:lnTo>
                    <a:pt x="93" y="45"/>
                  </a:lnTo>
                  <a:lnTo>
                    <a:pt x="88" y="47"/>
                  </a:lnTo>
                  <a:lnTo>
                    <a:pt x="80" y="47"/>
                  </a:lnTo>
                  <a:lnTo>
                    <a:pt x="79" y="51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94" name="Freeform 51">
              <a:extLst>
                <a:ext uri="{FF2B5EF4-FFF2-40B4-BE49-F238E27FC236}">
                  <a16:creationId xmlns:a16="http://schemas.microsoft.com/office/drawing/2014/main" id="{5C75D0A5-39C0-4E79-B2C9-48AD4D8419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4257" y="1398317"/>
              <a:ext cx="186252" cy="201882"/>
            </a:xfrm>
            <a:custGeom>
              <a:avLst/>
              <a:gdLst>
                <a:gd name="T0" fmla="*/ 58 w 143"/>
                <a:gd name="T1" fmla="*/ 0 h 155"/>
                <a:gd name="T2" fmla="*/ 59 w 143"/>
                <a:gd name="T3" fmla="*/ 8 h 155"/>
                <a:gd name="T4" fmla="*/ 75 w 143"/>
                <a:gd name="T5" fmla="*/ 12 h 155"/>
                <a:gd name="T6" fmla="*/ 75 w 143"/>
                <a:gd name="T7" fmla="*/ 20 h 155"/>
                <a:gd name="T8" fmla="*/ 90 w 143"/>
                <a:gd name="T9" fmla="*/ 16 h 155"/>
                <a:gd name="T10" fmla="*/ 99 w 143"/>
                <a:gd name="T11" fmla="*/ 10 h 155"/>
                <a:gd name="T12" fmla="*/ 117 w 143"/>
                <a:gd name="T13" fmla="*/ 18 h 155"/>
                <a:gd name="T14" fmla="*/ 125 w 143"/>
                <a:gd name="T15" fmla="*/ 25 h 155"/>
                <a:gd name="T16" fmla="*/ 129 w 143"/>
                <a:gd name="T17" fmla="*/ 35 h 155"/>
                <a:gd name="T18" fmla="*/ 125 w 143"/>
                <a:gd name="T19" fmla="*/ 40 h 155"/>
                <a:gd name="T20" fmla="*/ 131 w 143"/>
                <a:gd name="T21" fmla="*/ 47 h 155"/>
                <a:gd name="T22" fmla="*/ 136 w 143"/>
                <a:gd name="T23" fmla="*/ 58 h 155"/>
                <a:gd name="T24" fmla="*/ 136 w 143"/>
                <a:gd name="T25" fmla="*/ 65 h 155"/>
                <a:gd name="T26" fmla="*/ 143 w 143"/>
                <a:gd name="T27" fmla="*/ 78 h 155"/>
                <a:gd name="T28" fmla="*/ 136 w 143"/>
                <a:gd name="T29" fmla="*/ 80 h 155"/>
                <a:gd name="T30" fmla="*/ 132 w 143"/>
                <a:gd name="T31" fmla="*/ 77 h 155"/>
                <a:gd name="T32" fmla="*/ 128 w 143"/>
                <a:gd name="T33" fmla="*/ 81 h 155"/>
                <a:gd name="T34" fmla="*/ 117 w 143"/>
                <a:gd name="T35" fmla="*/ 85 h 155"/>
                <a:gd name="T36" fmla="*/ 112 w 143"/>
                <a:gd name="T37" fmla="*/ 90 h 155"/>
                <a:gd name="T38" fmla="*/ 100 w 143"/>
                <a:gd name="T39" fmla="*/ 95 h 155"/>
                <a:gd name="T40" fmla="*/ 104 w 143"/>
                <a:gd name="T41" fmla="*/ 101 h 155"/>
                <a:gd name="T42" fmla="*/ 106 w 143"/>
                <a:gd name="T43" fmla="*/ 109 h 155"/>
                <a:gd name="T44" fmla="*/ 114 w 143"/>
                <a:gd name="T45" fmla="*/ 114 h 155"/>
                <a:gd name="T46" fmla="*/ 124 w 143"/>
                <a:gd name="T47" fmla="*/ 123 h 155"/>
                <a:gd name="T48" fmla="*/ 119 w 143"/>
                <a:gd name="T49" fmla="*/ 132 h 155"/>
                <a:gd name="T50" fmla="*/ 113 w 143"/>
                <a:gd name="T51" fmla="*/ 135 h 155"/>
                <a:gd name="T52" fmla="*/ 117 w 143"/>
                <a:gd name="T53" fmla="*/ 148 h 155"/>
                <a:gd name="T54" fmla="*/ 115 w 143"/>
                <a:gd name="T55" fmla="*/ 151 h 155"/>
                <a:gd name="T56" fmla="*/ 110 w 143"/>
                <a:gd name="T57" fmla="*/ 147 h 155"/>
                <a:gd name="T58" fmla="*/ 102 w 143"/>
                <a:gd name="T59" fmla="*/ 147 h 155"/>
                <a:gd name="T60" fmla="*/ 91 w 143"/>
                <a:gd name="T61" fmla="*/ 150 h 155"/>
                <a:gd name="T62" fmla="*/ 76 w 143"/>
                <a:gd name="T63" fmla="*/ 149 h 155"/>
                <a:gd name="T64" fmla="*/ 75 w 143"/>
                <a:gd name="T65" fmla="*/ 155 h 155"/>
                <a:gd name="T66" fmla="*/ 66 w 143"/>
                <a:gd name="T67" fmla="*/ 149 h 155"/>
                <a:gd name="T68" fmla="*/ 61 w 143"/>
                <a:gd name="T69" fmla="*/ 150 h 155"/>
                <a:gd name="T70" fmla="*/ 44 w 143"/>
                <a:gd name="T71" fmla="*/ 144 h 155"/>
                <a:gd name="T72" fmla="*/ 40 w 143"/>
                <a:gd name="T73" fmla="*/ 148 h 155"/>
                <a:gd name="T74" fmla="*/ 26 w 143"/>
                <a:gd name="T75" fmla="*/ 148 h 155"/>
                <a:gd name="T76" fmla="*/ 28 w 143"/>
                <a:gd name="T77" fmla="*/ 134 h 155"/>
                <a:gd name="T78" fmla="*/ 35 w 143"/>
                <a:gd name="T79" fmla="*/ 120 h 155"/>
                <a:gd name="T80" fmla="*/ 12 w 143"/>
                <a:gd name="T81" fmla="*/ 116 h 155"/>
                <a:gd name="T82" fmla="*/ 4 w 143"/>
                <a:gd name="T83" fmla="*/ 111 h 155"/>
                <a:gd name="T84" fmla="*/ 5 w 143"/>
                <a:gd name="T85" fmla="*/ 102 h 155"/>
                <a:gd name="T86" fmla="*/ 2 w 143"/>
                <a:gd name="T87" fmla="*/ 97 h 155"/>
                <a:gd name="T88" fmla="*/ 3 w 143"/>
                <a:gd name="T89" fmla="*/ 84 h 155"/>
                <a:gd name="T90" fmla="*/ 0 w 143"/>
                <a:gd name="T91" fmla="*/ 63 h 155"/>
                <a:gd name="T92" fmla="*/ 9 w 143"/>
                <a:gd name="T93" fmla="*/ 63 h 155"/>
                <a:gd name="T94" fmla="*/ 13 w 143"/>
                <a:gd name="T95" fmla="*/ 55 h 155"/>
                <a:gd name="T96" fmla="*/ 16 w 143"/>
                <a:gd name="T97" fmla="*/ 37 h 155"/>
                <a:gd name="T98" fmla="*/ 13 w 143"/>
                <a:gd name="T99" fmla="*/ 30 h 155"/>
                <a:gd name="T100" fmla="*/ 16 w 143"/>
                <a:gd name="T101" fmla="*/ 26 h 155"/>
                <a:gd name="T102" fmla="*/ 29 w 143"/>
                <a:gd name="T103" fmla="*/ 25 h 155"/>
                <a:gd name="T104" fmla="*/ 32 w 143"/>
                <a:gd name="T105" fmla="*/ 29 h 155"/>
                <a:gd name="T106" fmla="*/ 42 w 143"/>
                <a:gd name="T107" fmla="*/ 19 h 155"/>
                <a:gd name="T108" fmla="*/ 38 w 143"/>
                <a:gd name="T109" fmla="*/ 12 h 155"/>
                <a:gd name="T110" fmla="*/ 36 w 143"/>
                <a:gd name="T111" fmla="*/ 1 h 155"/>
                <a:gd name="T112" fmla="*/ 48 w 143"/>
                <a:gd name="T113" fmla="*/ 3 h 155"/>
                <a:gd name="T114" fmla="*/ 58 w 143"/>
                <a:gd name="T115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3" h="155">
                  <a:moveTo>
                    <a:pt x="58" y="0"/>
                  </a:moveTo>
                  <a:lnTo>
                    <a:pt x="59" y="8"/>
                  </a:lnTo>
                  <a:lnTo>
                    <a:pt x="75" y="12"/>
                  </a:lnTo>
                  <a:lnTo>
                    <a:pt x="75" y="20"/>
                  </a:lnTo>
                  <a:lnTo>
                    <a:pt x="90" y="16"/>
                  </a:lnTo>
                  <a:lnTo>
                    <a:pt x="99" y="10"/>
                  </a:lnTo>
                  <a:lnTo>
                    <a:pt x="117" y="18"/>
                  </a:lnTo>
                  <a:lnTo>
                    <a:pt x="125" y="25"/>
                  </a:lnTo>
                  <a:lnTo>
                    <a:pt x="129" y="35"/>
                  </a:lnTo>
                  <a:lnTo>
                    <a:pt x="125" y="40"/>
                  </a:lnTo>
                  <a:lnTo>
                    <a:pt x="131" y="47"/>
                  </a:lnTo>
                  <a:lnTo>
                    <a:pt x="136" y="58"/>
                  </a:lnTo>
                  <a:lnTo>
                    <a:pt x="136" y="65"/>
                  </a:lnTo>
                  <a:lnTo>
                    <a:pt x="143" y="78"/>
                  </a:lnTo>
                  <a:lnTo>
                    <a:pt x="136" y="80"/>
                  </a:lnTo>
                  <a:lnTo>
                    <a:pt x="132" y="77"/>
                  </a:lnTo>
                  <a:lnTo>
                    <a:pt x="128" y="81"/>
                  </a:lnTo>
                  <a:lnTo>
                    <a:pt x="117" y="85"/>
                  </a:lnTo>
                  <a:lnTo>
                    <a:pt x="112" y="90"/>
                  </a:lnTo>
                  <a:lnTo>
                    <a:pt x="100" y="95"/>
                  </a:lnTo>
                  <a:lnTo>
                    <a:pt x="104" y="101"/>
                  </a:lnTo>
                  <a:lnTo>
                    <a:pt x="106" y="109"/>
                  </a:lnTo>
                  <a:lnTo>
                    <a:pt x="114" y="114"/>
                  </a:lnTo>
                  <a:lnTo>
                    <a:pt x="124" y="123"/>
                  </a:lnTo>
                  <a:lnTo>
                    <a:pt x="119" y="132"/>
                  </a:lnTo>
                  <a:lnTo>
                    <a:pt x="113" y="135"/>
                  </a:lnTo>
                  <a:lnTo>
                    <a:pt x="117" y="148"/>
                  </a:lnTo>
                  <a:lnTo>
                    <a:pt x="115" y="151"/>
                  </a:lnTo>
                  <a:lnTo>
                    <a:pt x="110" y="147"/>
                  </a:lnTo>
                  <a:lnTo>
                    <a:pt x="102" y="147"/>
                  </a:lnTo>
                  <a:lnTo>
                    <a:pt x="91" y="150"/>
                  </a:lnTo>
                  <a:lnTo>
                    <a:pt x="76" y="149"/>
                  </a:lnTo>
                  <a:lnTo>
                    <a:pt x="75" y="155"/>
                  </a:lnTo>
                  <a:lnTo>
                    <a:pt x="66" y="149"/>
                  </a:lnTo>
                  <a:lnTo>
                    <a:pt x="61" y="150"/>
                  </a:lnTo>
                  <a:lnTo>
                    <a:pt x="44" y="144"/>
                  </a:lnTo>
                  <a:lnTo>
                    <a:pt x="40" y="148"/>
                  </a:lnTo>
                  <a:lnTo>
                    <a:pt x="26" y="148"/>
                  </a:lnTo>
                  <a:lnTo>
                    <a:pt x="28" y="134"/>
                  </a:lnTo>
                  <a:lnTo>
                    <a:pt x="35" y="120"/>
                  </a:lnTo>
                  <a:lnTo>
                    <a:pt x="12" y="116"/>
                  </a:lnTo>
                  <a:lnTo>
                    <a:pt x="4" y="111"/>
                  </a:lnTo>
                  <a:lnTo>
                    <a:pt x="5" y="102"/>
                  </a:lnTo>
                  <a:lnTo>
                    <a:pt x="2" y="97"/>
                  </a:lnTo>
                  <a:lnTo>
                    <a:pt x="3" y="84"/>
                  </a:lnTo>
                  <a:lnTo>
                    <a:pt x="0" y="63"/>
                  </a:lnTo>
                  <a:lnTo>
                    <a:pt x="9" y="63"/>
                  </a:lnTo>
                  <a:lnTo>
                    <a:pt x="13" y="55"/>
                  </a:lnTo>
                  <a:lnTo>
                    <a:pt x="16" y="37"/>
                  </a:lnTo>
                  <a:lnTo>
                    <a:pt x="13" y="30"/>
                  </a:lnTo>
                  <a:lnTo>
                    <a:pt x="16" y="26"/>
                  </a:lnTo>
                  <a:lnTo>
                    <a:pt x="29" y="25"/>
                  </a:lnTo>
                  <a:lnTo>
                    <a:pt x="32" y="29"/>
                  </a:lnTo>
                  <a:lnTo>
                    <a:pt x="42" y="19"/>
                  </a:lnTo>
                  <a:lnTo>
                    <a:pt x="38" y="12"/>
                  </a:lnTo>
                  <a:lnTo>
                    <a:pt x="36" y="1"/>
                  </a:lnTo>
                  <a:lnTo>
                    <a:pt x="48" y="3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95" name="Freeform 52">
              <a:extLst>
                <a:ext uri="{FF2B5EF4-FFF2-40B4-BE49-F238E27FC236}">
                  <a16:creationId xmlns:a16="http://schemas.microsoft.com/office/drawing/2014/main" id="{9042C309-E341-49B2-ACD2-98A5C82B8AF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1696" y="2532759"/>
              <a:ext cx="39074" cy="46889"/>
            </a:xfrm>
            <a:custGeom>
              <a:avLst/>
              <a:gdLst>
                <a:gd name="T0" fmla="*/ 25 w 30"/>
                <a:gd name="T1" fmla="*/ 0 h 36"/>
                <a:gd name="T2" fmla="*/ 30 w 30"/>
                <a:gd name="T3" fmla="*/ 6 h 36"/>
                <a:gd name="T4" fmla="*/ 30 w 30"/>
                <a:gd name="T5" fmla="*/ 15 h 36"/>
                <a:gd name="T6" fmla="*/ 20 w 30"/>
                <a:gd name="T7" fmla="*/ 20 h 36"/>
                <a:gd name="T8" fmla="*/ 28 w 30"/>
                <a:gd name="T9" fmla="*/ 25 h 36"/>
                <a:gd name="T10" fmla="*/ 21 w 30"/>
                <a:gd name="T11" fmla="*/ 36 h 36"/>
                <a:gd name="T12" fmla="*/ 17 w 30"/>
                <a:gd name="T13" fmla="*/ 33 h 36"/>
                <a:gd name="T14" fmla="*/ 13 w 30"/>
                <a:gd name="T15" fmla="*/ 34 h 36"/>
                <a:gd name="T16" fmla="*/ 3 w 30"/>
                <a:gd name="T17" fmla="*/ 34 h 36"/>
                <a:gd name="T18" fmla="*/ 2 w 30"/>
                <a:gd name="T19" fmla="*/ 28 h 36"/>
                <a:gd name="T20" fmla="*/ 0 w 30"/>
                <a:gd name="T21" fmla="*/ 22 h 36"/>
                <a:gd name="T22" fmla="*/ 6 w 30"/>
                <a:gd name="T23" fmla="*/ 12 h 36"/>
                <a:gd name="T24" fmla="*/ 12 w 30"/>
                <a:gd name="T25" fmla="*/ 3 h 36"/>
                <a:gd name="T26" fmla="*/ 20 w 30"/>
                <a:gd name="T27" fmla="*/ 5 h 36"/>
                <a:gd name="T28" fmla="*/ 25 w 30"/>
                <a:gd name="T2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36">
                  <a:moveTo>
                    <a:pt x="25" y="0"/>
                  </a:moveTo>
                  <a:lnTo>
                    <a:pt x="30" y="6"/>
                  </a:lnTo>
                  <a:lnTo>
                    <a:pt x="30" y="15"/>
                  </a:lnTo>
                  <a:lnTo>
                    <a:pt x="20" y="20"/>
                  </a:lnTo>
                  <a:lnTo>
                    <a:pt x="28" y="25"/>
                  </a:lnTo>
                  <a:lnTo>
                    <a:pt x="21" y="36"/>
                  </a:lnTo>
                  <a:lnTo>
                    <a:pt x="17" y="33"/>
                  </a:lnTo>
                  <a:lnTo>
                    <a:pt x="13" y="34"/>
                  </a:lnTo>
                  <a:lnTo>
                    <a:pt x="3" y="34"/>
                  </a:lnTo>
                  <a:lnTo>
                    <a:pt x="2" y="28"/>
                  </a:lnTo>
                  <a:lnTo>
                    <a:pt x="0" y="22"/>
                  </a:lnTo>
                  <a:lnTo>
                    <a:pt x="6" y="12"/>
                  </a:lnTo>
                  <a:lnTo>
                    <a:pt x="12" y="3"/>
                  </a:lnTo>
                  <a:lnTo>
                    <a:pt x="20" y="5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96" name="Freeform 53">
              <a:extLst>
                <a:ext uri="{FF2B5EF4-FFF2-40B4-BE49-F238E27FC236}">
                  <a16:creationId xmlns:a16="http://schemas.microsoft.com/office/drawing/2014/main" id="{8902408A-C606-4E8E-B1C4-6F4E67F5F4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8035" y="1369662"/>
              <a:ext cx="35167" cy="33864"/>
            </a:xfrm>
            <a:custGeom>
              <a:avLst/>
              <a:gdLst>
                <a:gd name="T0" fmla="*/ 27 w 27"/>
                <a:gd name="T1" fmla="*/ 10 h 26"/>
                <a:gd name="T2" fmla="*/ 20 w 27"/>
                <a:gd name="T3" fmla="*/ 26 h 26"/>
                <a:gd name="T4" fmla="*/ 3 w 27"/>
                <a:gd name="T5" fmla="*/ 15 h 26"/>
                <a:gd name="T6" fmla="*/ 0 w 27"/>
                <a:gd name="T7" fmla="*/ 6 h 26"/>
                <a:gd name="T8" fmla="*/ 22 w 27"/>
                <a:gd name="T9" fmla="*/ 0 h 26"/>
                <a:gd name="T10" fmla="*/ 27 w 27"/>
                <a:gd name="T11" fmla="*/ 1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26">
                  <a:moveTo>
                    <a:pt x="27" y="10"/>
                  </a:moveTo>
                  <a:lnTo>
                    <a:pt x="20" y="26"/>
                  </a:lnTo>
                  <a:lnTo>
                    <a:pt x="3" y="15"/>
                  </a:lnTo>
                  <a:lnTo>
                    <a:pt x="0" y="6"/>
                  </a:lnTo>
                  <a:lnTo>
                    <a:pt x="22" y="0"/>
                  </a:lnTo>
                  <a:lnTo>
                    <a:pt x="27" y="10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97" name="Freeform 54">
              <a:extLst>
                <a:ext uri="{FF2B5EF4-FFF2-40B4-BE49-F238E27FC236}">
                  <a16:creationId xmlns:a16="http://schemas.microsoft.com/office/drawing/2014/main" id="{744B7F16-68B5-4E70-8A9B-B6D6BD2504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0726" y="1327984"/>
              <a:ext cx="56006" cy="74241"/>
            </a:xfrm>
            <a:custGeom>
              <a:avLst/>
              <a:gdLst>
                <a:gd name="T0" fmla="*/ 43 w 43"/>
                <a:gd name="T1" fmla="*/ 25 h 57"/>
                <a:gd name="T2" fmla="*/ 40 w 43"/>
                <a:gd name="T3" fmla="*/ 33 h 57"/>
                <a:gd name="T4" fmla="*/ 35 w 43"/>
                <a:gd name="T5" fmla="*/ 30 h 57"/>
                <a:gd name="T6" fmla="*/ 25 w 43"/>
                <a:gd name="T7" fmla="*/ 44 h 57"/>
                <a:gd name="T8" fmla="*/ 30 w 43"/>
                <a:gd name="T9" fmla="*/ 54 h 57"/>
                <a:gd name="T10" fmla="*/ 20 w 43"/>
                <a:gd name="T11" fmla="*/ 57 h 57"/>
                <a:gd name="T12" fmla="*/ 8 w 43"/>
                <a:gd name="T13" fmla="*/ 55 h 57"/>
                <a:gd name="T14" fmla="*/ 2 w 43"/>
                <a:gd name="T15" fmla="*/ 44 h 57"/>
                <a:gd name="T16" fmla="*/ 0 w 43"/>
                <a:gd name="T17" fmla="*/ 24 h 57"/>
                <a:gd name="T18" fmla="*/ 2 w 43"/>
                <a:gd name="T19" fmla="*/ 18 h 57"/>
                <a:gd name="T20" fmla="*/ 6 w 43"/>
                <a:gd name="T21" fmla="*/ 12 h 57"/>
                <a:gd name="T22" fmla="*/ 20 w 43"/>
                <a:gd name="T23" fmla="*/ 11 h 57"/>
                <a:gd name="T24" fmla="*/ 25 w 43"/>
                <a:gd name="T25" fmla="*/ 6 h 57"/>
                <a:gd name="T26" fmla="*/ 36 w 43"/>
                <a:gd name="T27" fmla="*/ 0 h 57"/>
                <a:gd name="T28" fmla="*/ 37 w 43"/>
                <a:gd name="T29" fmla="*/ 10 h 57"/>
                <a:gd name="T30" fmla="*/ 32 w 43"/>
                <a:gd name="T31" fmla="*/ 16 h 57"/>
                <a:gd name="T32" fmla="*/ 35 w 43"/>
                <a:gd name="T33" fmla="*/ 22 h 57"/>
                <a:gd name="T34" fmla="*/ 43 w 43"/>
                <a:gd name="T35" fmla="*/ 2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" h="57">
                  <a:moveTo>
                    <a:pt x="43" y="25"/>
                  </a:moveTo>
                  <a:lnTo>
                    <a:pt x="40" y="33"/>
                  </a:lnTo>
                  <a:lnTo>
                    <a:pt x="35" y="30"/>
                  </a:lnTo>
                  <a:lnTo>
                    <a:pt x="25" y="44"/>
                  </a:lnTo>
                  <a:lnTo>
                    <a:pt x="30" y="54"/>
                  </a:lnTo>
                  <a:lnTo>
                    <a:pt x="20" y="57"/>
                  </a:lnTo>
                  <a:lnTo>
                    <a:pt x="8" y="55"/>
                  </a:lnTo>
                  <a:lnTo>
                    <a:pt x="2" y="44"/>
                  </a:lnTo>
                  <a:lnTo>
                    <a:pt x="0" y="24"/>
                  </a:lnTo>
                  <a:lnTo>
                    <a:pt x="2" y="18"/>
                  </a:lnTo>
                  <a:lnTo>
                    <a:pt x="6" y="12"/>
                  </a:lnTo>
                  <a:lnTo>
                    <a:pt x="20" y="11"/>
                  </a:lnTo>
                  <a:lnTo>
                    <a:pt x="25" y="6"/>
                  </a:lnTo>
                  <a:lnTo>
                    <a:pt x="36" y="0"/>
                  </a:lnTo>
                  <a:lnTo>
                    <a:pt x="37" y="10"/>
                  </a:lnTo>
                  <a:lnTo>
                    <a:pt x="32" y="16"/>
                  </a:lnTo>
                  <a:lnTo>
                    <a:pt x="35" y="22"/>
                  </a:lnTo>
                  <a:lnTo>
                    <a:pt x="43" y="25"/>
                  </a:lnTo>
                  <a:close/>
                </a:path>
              </a:pathLst>
            </a:custGeom>
            <a:solidFill>
              <a:srgbClr val="FFD606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98" name="Freeform 55">
              <a:extLst>
                <a:ext uri="{FF2B5EF4-FFF2-40B4-BE49-F238E27FC236}">
                  <a16:creationId xmlns:a16="http://schemas.microsoft.com/office/drawing/2014/main" id="{6CC7219E-337A-4CE5-8859-EDA0653B7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4722" y="2337390"/>
              <a:ext cx="85962" cy="62518"/>
            </a:xfrm>
            <a:custGeom>
              <a:avLst/>
              <a:gdLst>
                <a:gd name="T0" fmla="*/ 7 w 66"/>
                <a:gd name="T1" fmla="*/ 4 h 48"/>
                <a:gd name="T2" fmla="*/ 10 w 66"/>
                <a:gd name="T3" fmla="*/ 0 h 48"/>
                <a:gd name="T4" fmla="*/ 24 w 66"/>
                <a:gd name="T5" fmla="*/ 0 h 48"/>
                <a:gd name="T6" fmla="*/ 34 w 66"/>
                <a:gd name="T7" fmla="*/ 6 h 48"/>
                <a:gd name="T8" fmla="*/ 39 w 66"/>
                <a:gd name="T9" fmla="*/ 5 h 48"/>
                <a:gd name="T10" fmla="*/ 41 w 66"/>
                <a:gd name="T11" fmla="*/ 13 h 48"/>
                <a:gd name="T12" fmla="*/ 51 w 66"/>
                <a:gd name="T13" fmla="*/ 12 h 48"/>
                <a:gd name="T14" fmla="*/ 50 w 66"/>
                <a:gd name="T15" fmla="*/ 18 h 48"/>
                <a:gd name="T16" fmla="*/ 58 w 66"/>
                <a:gd name="T17" fmla="*/ 19 h 48"/>
                <a:gd name="T18" fmla="*/ 66 w 66"/>
                <a:gd name="T19" fmla="*/ 27 h 48"/>
                <a:gd name="T20" fmla="*/ 58 w 66"/>
                <a:gd name="T21" fmla="*/ 35 h 48"/>
                <a:gd name="T22" fmla="*/ 50 w 66"/>
                <a:gd name="T23" fmla="*/ 31 h 48"/>
                <a:gd name="T24" fmla="*/ 42 w 66"/>
                <a:gd name="T25" fmla="*/ 31 h 48"/>
                <a:gd name="T26" fmla="*/ 36 w 66"/>
                <a:gd name="T27" fmla="*/ 30 h 48"/>
                <a:gd name="T28" fmla="*/ 32 w 66"/>
                <a:gd name="T29" fmla="*/ 34 h 48"/>
                <a:gd name="T30" fmla="*/ 25 w 66"/>
                <a:gd name="T31" fmla="*/ 36 h 48"/>
                <a:gd name="T32" fmla="*/ 23 w 66"/>
                <a:gd name="T33" fmla="*/ 30 h 48"/>
                <a:gd name="T34" fmla="*/ 17 w 66"/>
                <a:gd name="T35" fmla="*/ 34 h 48"/>
                <a:gd name="T36" fmla="*/ 8 w 66"/>
                <a:gd name="T37" fmla="*/ 48 h 48"/>
                <a:gd name="T38" fmla="*/ 4 w 66"/>
                <a:gd name="T39" fmla="*/ 44 h 48"/>
                <a:gd name="T40" fmla="*/ 3 w 66"/>
                <a:gd name="T41" fmla="*/ 39 h 48"/>
                <a:gd name="T42" fmla="*/ 4 w 66"/>
                <a:gd name="T43" fmla="*/ 33 h 48"/>
                <a:gd name="T44" fmla="*/ 0 w 66"/>
                <a:gd name="T45" fmla="*/ 27 h 48"/>
                <a:gd name="T46" fmla="*/ 5 w 66"/>
                <a:gd name="T47" fmla="*/ 23 h 48"/>
                <a:gd name="T48" fmla="*/ 8 w 66"/>
                <a:gd name="T49" fmla="*/ 15 h 48"/>
                <a:gd name="T50" fmla="*/ 7 w 66"/>
                <a:gd name="T51" fmla="*/ 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6" h="48">
                  <a:moveTo>
                    <a:pt x="7" y="4"/>
                  </a:moveTo>
                  <a:lnTo>
                    <a:pt x="10" y="0"/>
                  </a:lnTo>
                  <a:lnTo>
                    <a:pt x="24" y="0"/>
                  </a:lnTo>
                  <a:lnTo>
                    <a:pt x="34" y="6"/>
                  </a:lnTo>
                  <a:lnTo>
                    <a:pt x="39" y="5"/>
                  </a:lnTo>
                  <a:lnTo>
                    <a:pt x="41" y="13"/>
                  </a:lnTo>
                  <a:lnTo>
                    <a:pt x="51" y="12"/>
                  </a:lnTo>
                  <a:lnTo>
                    <a:pt x="50" y="18"/>
                  </a:lnTo>
                  <a:lnTo>
                    <a:pt x="58" y="19"/>
                  </a:lnTo>
                  <a:lnTo>
                    <a:pt x="66" y="27"/>
                  </a:lnTo>
                  <a:lnTo>
                    <a:pt x="58" y="35"/>
                  </a:lnTo>
                  <a:lnTo>
                    <a:pt x="50" y="31"/>
                  </a:lnTo>
                  <a:lnTo>
                    <a:pt x="42" y="31"/>
                  </a:lnTo>
                  <a:lnTo>
                    <a:pt x="36" y="30"/>
                  </a:lnTo>
                  <a:lnTo>
                    <a:pt x="32" y="34"/>
                  </a:lnTo>
                  <a:lnTo>
                    <a:pt x="25" y="36"/>
                  </a:lnTo>
                  <a:lnTo>
                    <a:pt x="23" y="30"/>
                  </a:lnTo>
                  <a:lnTo>
                    <a:pt x="17" y="34"/>
                  </a:lnTo>
                  <a:lnTo>
                    <a:pt x="8" y="48"/>
                  </a:lnTo>
                  <a:lnTo>
                    <a:pt x="4" y="44"/>
                  </a:lnTo>
                  <a:lnTo>
                    <a:pt x="3" y="39"/>
                  </a:lnTo>
                  <a:lnTo>
                    <a:pt x="4" y="33"/>
                  </a:lnTo>
                  <a:lnTo>
                    <a:pt x="0" y="27"/>
                  </a:lnTo>
                  <a:lnTo>
                    <a:pt x="5" y="23"/>
                  </a:lnTo>
                  <a:lnTo>
                    <a:pt x="8" y="15"/>
                  </a:lnTo>
                  <a:lnTo>
                    <a:pt x="7" y="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299" name="Freeform 56">
              <a:extLst>
                <a:ext uri="{FF2B5EF4-FFF2-40B4-BE49-F238E27FC236}">
                  <a16:creationId xmlns:a16="http://schemas.microsoft.com/office/drawing/2014/main" id="{FB80268A-4B57-4641-BA22-1D62879BA7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9945" y="1872412"/>
              <a:ext cx="480608" cy="488423"/>
            </a:xfrm>
            <a:custGeom>
              <a:avLst/>
              <a:gdLst>
                <a:gd name="T0" fmla="*/ 369 w 369"/>
                <a:gd name="T1" fmla="*/ 283 h 375"/>
                <a:gd name="T2" fmla="*/ 309 w 369"/>
                <a:gd name="T3" fmla="*/ 322 h 375"/>
                <a:gd name="T4" fmla="*/ 257 w 369"/>
                <a:gd name="T5" fmla="*/ 363 h 375"/>
                <a:gd name="T6" fmla="*/ 231 w 369"/>
                <a:gd name="T7" fmla="*/ 372 h 375"/>
                <a:gd name="T8" fmla="*/ 211 w 369"/>
                <a:gd name="T9" fmla="*/ 375 h 375"/>
                <a:gd name="T10" fmla="*/ 211 w 369"/>
                <a:gd name="T11" fmla="*/ 361 h 375"/>
                <a:gd name="T12" fmla="*/ 203 w 369"/>
                <a:gd name="T13" fmla="*/ 358 h 375"/>
                <a:gd name="T14" fmla="*/ 191 w 369"/>
                <a:gd name="T15" fmla="*/ 352 h 375"/>
                <a:gd name="T16" fmla="*/ 187 w 369"/>
                <a:gd name="T17" fmla="*/ 342 h 375"/>
                <a:gd name="T18" fmla="*/ 126 w 369"/>
                <a:gd name="T19" fmla="*/ 297 h 375"/>
                <a:gd name="T20" fmla="*/ 66 w 369"/>
                <a:gd name="T21" fmla="*/ 252 h 375"/>
                <a:gd name="T22" fmla="*/ 0 w 369"/>
                <a:gd name="T23" fmla="*/ 201 h 375"/>
                <a:gd name="T24" fmla="*/ 1 w 369"/>
                <a:gd name="T25" fmla="*/ 197 h 375"/>
                <a:gd name="T26" fmla="*/ 1 w 369"/>
                <a:gd name="T27" fmla="*/ 196 h 375"/>
                <a:gd name="T28" fmla="*/ 1 w 369"/>
                <a:gd name="T29" fmla="*/ 171 h 375"/>
                <a:gd name="T30" fmla="*/ 30 w 369"/>
                <a:gd name="T31" fmla="*/ 156 h 375"/>
                <a:gd name="T32" fmla="*/ 48 w 369"/>
                <a:gd name="T33" fmla="*/ 153 h 375"/>
                <a:gd name="T34" fmla="*/ 62 w 369"/>
                <a:gd name="T35" fmla="*/ 147 h 375"/>
                <a:gd name="T36" fmla="*/ 69 w 369"/>
                <a:gd name="T37" fmla="*/ 137 h 375"/>
                <a:gd name="T38" fmla="*/ 90 w 369"/>
                <a:gd name="T39" fmla="*/ 129 h 375"/>
                <a:gd name="T40" fmla="*/ 91 w 369"/>
                <a:gd name="T41" fmla="*/ 113 h 375"/>
                <a:gd name="T42" fmla="*/ 101 w 369"/>
                <a:gd name="T43" fmla="*/ 112 h 375"/>
                <a:gd name="T44" fmla="*/ 109 w 369"/>
                <a:gd name="T45" fmla="*/ 104 h 375"/>
                <a:gd name="T46" fmla="*/ 132 w 369"/>
                <a:gd name="T47" fmla="*/ 100 h 375"/>
                <a:gd name="T48" fmla="*/ 135 w 369"/>
                <a:gd name="T49" fmla="*/ 92 h 375"/>
                <a:gd name="T50" fmla="*/ 130 w 369"/>
                <a:gd name="T51" fmla="*/ 88 h 375"/>
                <a:gd name="T52" fmla="*/ 124 w 369"/>
                <a:gd name="T53" fmla="*/ 66 h 375"/>
                <a:gd name="T54" fmla="*/ 123 w 369"/>
                <a:gd name="T55" fmla="*/ 53 h 375"/>
                <a:gd name="T56" fmla="*/ 117 w 369"/>
                <a:gd name="T57" fmla="*/ 40 h 375"/>
                <a:gd name="T58" fmla="*/ 134 w 369"/>
                <a:gd name="T59" fmla="*/ 29 h 375"/>
                <a:gd name="T60" fmla="*/ 152 w 369"/>
                <a:gd name="T61" fmla="*/ 25 h 375"/>
                <a:gd name="T62" fmla="*/ 163 w 369"/>
                <a:gd name="T63" fmla="*/ 17 h 375"/>
                <a:gd name="T64" fmla="*/ 179 w 369"/>
                <a:gd name="T65" fmla="*/ 11 h 375"/>
                <a:gd name="T66" fmla="*/ 209 w 369"/>
                <a:gd name="T67" fmla="*/ 7 h 375"/>
                <a:gd name="T68" fmla="*/ 237 w 369"/>
                <a:gd name="T69" fmla="*/ 5 h 375"/>
                <a:gd name="T70" fmla="*/ 246 w 369"/>
                <a:gd name="T71" fmla="*/ 8 h 375"/>
                <a:gd name="T72" fmla="*/ 262 w 369"/>
                <a:gd name="T73" fmla="*/ 0 h 375"/>
                <a:gd name="T74" fmla="*/ 280 w 369"/>
                <a:gd name="T75" fmla="*/ 0 h 375"/>
                <a:gd name="T76" fmla="*/ 287 w 369"/>
                <a:gd name="T77" fmla="*/ 5 h 375"/>
                <a:gd name="T78" fmla="*/ 299 w 369"/>
                <a:gd name="T79" fmla="*/ 3 h 375"/>
                <a:gd name="T80" fmla="*/ 296 w 369"/>
                <a:gd name="T81" fmla="*/ 14 h 375"/>
                <a:gd name="T82" fmla="*/ 299 w 369"/>
                <a:gd name="T83" fmla="*/ 34 h 375"/>
                <a:gd name="T84" fmla="*/ 295 w 369"/>
                <a:gd name="T85" fmla="*/ 51 h 375"/>
                <a:gd name="T86" fmla="*/ 285 w 369"/>
                <a:gd name="T87" fmla="*/ 62 h 375"/>
                <a:gd name="T88" fmla="*/ 287 w 369"/>
                <a:gd name="T89" fmla="*/ 78 h 375"/>
                <a:gd name="T90" fmla="*/ 302 w 369"/>
                <a:gd name="T91" fmla="*/ 90 h 375"/>
                <a:gd name="T92" fmla="*/ 302 w 369"/>
                <a:gd name="T93" fmla="*/ 95 h 375"/>
                <a:gd name="T94" fmla="*/ 313 w 369"/>
                <a:gd name="T95" fmla="*/ 104 h 375"/>
                <a:gd name="T96" fmla="*/ 321 w 369"/>
                <a:gd name="T97" fmla="*/ 141 h 375"/>
                <a:gd name="T98" fmla="*/ 327 w 369"/>
                <a:gd name="T99" fmla="*/ 159 h 375"/>
                <a:gd name="T100" fmla="*/ 329 w 369"/>
                <a:gd name="T101" fmla="*/ 169 h 375"/>
                <a:gd name="T102" fmla="*/ 326 w 369"/>
                <a:gd name="T103" fmla="*/ 186 h 375"/>
                <a:gd name="T104" fmla="*/ 327 w 369"/>
                <a:gd name="T105" fmla="*/ 195 h 375"/>
                <a:gd name="T106" fmla="*/ 325 w 369"/>
                <a:gd name="T107" fmla="*/ 207 h 375"/>
                <a:gd name="T108" fmla="*/ 327 w 369"/>
                <a:gd name="T109" fmla="*/ 220 h 375"/>
                <a:gd name="T110" fmla="*/ 320 w 369"/>
                <a:gd name="T111" fmla="*/ 228 h 375"/>
                <a:gd name="T112" fmla="*/ 331 w 369"/>
                <a:gd name="T113" fmla="*/ 244 h 375"/>
                <a:gd name="T114" fmla="*/ 332 w 369"/>
                <a:gd name="T115" fmla="*/ 252 h 375"/>
                <a:gd name="T116" fmla="*/ 339 w 369"/>
                <a:gd name="T117" fmla="*/ 264 h 375"/>
                <a:gd name="T118" fmla="*/ 347 w 369"/>
                <a:gd name="T119" fmla="*/ 260 h 375"/>
                <a:gd name="T120" fmla="*/ 361 w 369"/>
                <a:gd name="T121" fmla="*/ 270 h 375"/>
                <a:gd name="T122" fmla="*/ 369 w 369"/>
                <a:gd name="T123" fmla="*/ 283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9" h="375">
                  <a:moveTo>
                    <a:pt x="369" y="283"/>
                  </a:moveTo>
                  <a:lnTo>
                    <a:pt x="309" y="322"/>
                  </a:lnTo>
                  <a:lnTo>
                    <a:pt x="257" y="363"/>
                  </a:lnTo>
                  <a:lnTo>
                    <a:pt x="231" y="372"/>
                  </a:lnTo>
                  <a:lnTo>
                    <a:pt x="211" y="375"/>
                  </a:lnTo>
                  <a:lnTo>
                    <a:pt x="211" y="361"/>
                  </a:lnTo>
                  <a:lnTo>
                    <a:pt x="203" y="358"/>
                  </a:lnTo>
                  <a:lnTo>
                    <a:pt x="191" y="352"/>
                  </a:lnTo>
                  <a:lnTo>
                    <a:pt x="187" y="342"/>
                  </a:lnTo>
                  <a:lnTo>
                    <a:pt x="126" y="297"/>
                  </a:lnTo>
                  <a:lnTo>
                    <a:pt x="66" y="252"/>
                  </a:lnTo>
                  <a:lnTo>
                    <a:pt x="0" y="201"/>
                  </a:lnTo>
                  <a:lnTo>
                    <a:pt x="1" y="197"/>
                  </a:lnTo>
                  <a:lnTo>
                    <a:pt x="1" y="196"/>
                  </a:lnTo>
                  <a:lnTo>
                    <a:pt x="1" y="171"/>
                  </a:lnTo>
                  <a:lnTo>
                    <a:pt x="30" y="156"/>
                  </a:lnTo>
                  <a:lnTo>
                    <a:pt x="48" y="153"/>
                  </a:lnTo>
                  <a:lnTo>
                    <a:pt x="62" y="147"/>
                  </a:lnTo>
                  <a:lnTo>
                    <a:pt x="69" y="137"/>
                  </a:lnTo>
                  <a:lnTo>
                    <a:pt x="90" y="129"/>
                  </a:lnTo>
                  <a:lnTo>
                    <a:pt x="91" y="113"/>
                  </a:lnTo>
                  <a:lnTo>
                    <a:pt x="101" y="112"/>
                  </a:lnTo>
                  <a:lnTo>
                    <a:pt x="109" y="104"/>
                  </a:lnTo>
                  <a:lnTo>
                    <a:pt x="132" y="100"/>
                  </a:lnTo>
                  <a:lnTo>
                    <a:pt x="135" y="92"/>
                  </a:lnTo>
                  <a:lnTo>
                    <a:pt x="130" y="88"/>
                  </a:lnTo>
                  <a:lnTo>
                    <a:pt x="124" y="66"/>
                  </a:lnTo>
                  <a:lnTo>
                    <a:pt x="123" y="53"/>
                  </a:lnTo>
                  <a:lnTo>
                    <a:pt x="117" y="40"/>
                  </a:lnTo>
                  <a:lnTo>
                    <a:pt x="134" y="29"/>
                  </a:lnTo>
                  <a:lnTo>
                    <a:pt x="152" y="25"/>
                  </a:lnTo>
                  <a:lnTo>
                    <a:pt x="163" y="17"/>
                  </a:lnTo>
                  <a:lnTo>
                    <a:pt x="179" y="11"/>
                  </a:lnTo>
                  <a:lnTo>
                    <a:pt x="209" y="7"/>
                  </a:lnTo>
                  <a:lnTo>
                    <a:pt x="237" y="5"/>
                  </a:lnTo>
                  <a:lnTo>
                    <a:pt x="246" y="8"/>
                  </a:lnTo>
                  <a:lnTo>
                    <a:pt x="262" y="0"/>
                  </a:lnTo>
                  <a:lnTo>
                    <a:pt x="280" y="0"/>
                  </a:lnTo>
                  <a:lnTo>
                    <a:pt x="287" y="5"/>
                  </a:lnTo>
                  <a:lnTo>
                    <a:pt x="299" y="3"/>
                  </a:lnTo>
                  <a:lnTo>
                    <a:pt x="296" y="14"/>
                  </a:lnTo>
                  <a:lnTo>
                    <a:pt x="299" y="34"/>
                  </a:lnTo>
                  <a:lnTo>
                    <a:pt x="295" y="51"/>
                  </a:lnTo>
                  <a:lnTo>
                    <a:pt x="285" y="62"/>
                  </a:lnTo>
                  <a:lnTo>
                    <a:pt x="287" y="78"/>
                  </a:lnTo>
                  <a:lnTo>
                    <a:pt x="302" y="90"/>
                  </a:lnTo>
                  <a:lnTo>
                    <a:pt x="302" y="95"/>
                  </a:lnTo>
                  <a:lnTo>
                    <a:pt x="313" y="104"/>
                  </a:lnTo>
                  <a:lnTo>
                    <a:pt x="321" y="141"/>
                  </a:lnTo>
                  <a:lnTo>
                    <a:pt x="327" y="159"/>
                  </a:lnTo>
                  <a:lnTo>
                    <a:pt x="329" y="169"/>
                  </a:lnTo>
                  <a:lnTo>
                    <a:pt x="326" y="186"/>
                  </a:lnTo>
                  <a:lnTo>
                    <a:pt x="327" y="195"/>
                  </a:lnTo>
                  <a:lnTo>
                    <a:pt x="325" y="207"/>
                  </a:lnTo>
                  <a:lnTo>
                    <a:pt x="327" y="220"/>
                  </a:lnTo>
                  <a:lnTo>
                    <a:pt x="320" y="228"/>
                  </a:lnTo>
                  <a:lnTo>
                    <a:pt x="331" y="244"/>
                  </a:lnTo>
                  <a:lnTo>
                    <a:pt x="332" y="252"/>
                  </a:lnTo>
                  <a:lnTo>
                    <a:pt x="339" y="264"/>
                  </a:lnTo>
                  <a:lnTo>
                    <a:pt x="347" y="260"/>
                  </a:lnTo>
                  <a:lnTo>
                    <a:pt x="361" y="270"/>
                  </a:lnTo>
                  <a:lnTo>
                    <a:pt x="369" y="28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 dirty="0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00" name="Freeform 57">
              <a:extLst>
                <a:ext uri="{FF2B5EF4-FFF2-40B4-BE49-F238E27FC236}">
                  <a16:creationId xmlns:a16="http://schemas.microsoft.com/office/drawing/2014/main" id="{F2AFA8FA-3E09-4B38-B532-44F7538830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3766" y="2838837"/>
              <a:ext cx="136759" cy="170623"/>
            </a:xfrm>
            <a:custGeom>
              <a:avLst/>
              <a:gdLst>
                <a:gd name="T0" fmla="*/ 13 w 105"/>
                <a:gd name="T1" fmla="*/ 99 h 131"/>
                <a:gd name="T2" fmla="*/ 22 w 105"/>
                <a:gd name="T3" fmla="*/ 84 h 131"/>
                <a:gd name="T4" fmla="*/ 18 w 105"/>
                <a:gd name="T5" fmla="*/ 75 h 131"/>
                <a:gd name="T6" fmla="*/ 11 w 105"/>
                <a:gd name="T7" fmla="*/ 84 h 131"/>
                <a:gd name="T8" fmla="*/ 0 w 105"/>
                <a:gd name="T9" fmla="*/ 75 h 131"/>
                <a:gd name="T10" fmla="*/ 4 w 105"/>
                <a:gd name="T11" fmla="*/ 69 h 131"/>
                <a:gd name="T12" fmla="*/ 0 w 105"/>
                <a:gd name="T13" fmla="*/ 50 h 131"/>
                <a:gd name="T14" fmla="*/ 7 w 105"/>
                <a:gd name="T15" fmla="*/ 47 h 131"/>
                <a:gd name="T16" fmla="*/ 10 w 105"/>
                <a:gd name="T17" fmla="*/ 34 h 131"/>
                <a:gd name="T18" fmla="*/ 17 w 105"/>
                <a:gd name="T19" fmla="*/ 21 h 131"/>
                <a:gd name="T20" fmla="*/ 16 w 105"/>
                <a:gd name="T21" fmla="*/ 12 h 131"/>
                <a:gd name="T22" fmla="*/ 26 w 105"/>
                <a:gd name="T23" fmla="*/ 8 h 131"/>
                <a:gd name="T24" fmla="*/ 39 w 105"/>
                <a:gd name="T25" fmla="*/ 0 h 131"/>
                <a:gd name="T26" fmla="*/ 57 w 105"/>
                <a:gd name="T27" fmla="*/ 12 h 131"/>
                <a:gd name="T28" fmla="*/ 60 w 105"/>
                <a:gd name="T29" fmla="*/ 11 h 131"/>
                <a:gd name="T30" fmla="*/ 65 w 105"/>
                <a:gd name="T31" fmla="*/ 20 h 131"/>
                <a:gd name="T32" fmla="*/ 80 w 105"/>
                <a:gd name="T33" fmla="*/ 23 h 131"/>
                <a:gd name="T34" fmla="*/ 86 w 105"/>
                <a:gd name="T35" fmla="*/ 20 h 131"/>
                <a:gd name="T36" fmla="*/ 95 w 105"/>
                <a:gd name="T37" fmla="*/ 27 h 131"/>
                <a:gd name="T38" fmla="*/ 102 w 105"/>
                <a:gd name="T39" fmla="*/ 31 h 131"/>
                <a:gd name="T40" fmla="*/ 105 w 105"/>
                <a:gd name="T41" fmla="*/ 47 h 131"/>
                <a:gd name="T42" fmla="*/ 99 w 105"/>
                <a:gd name="T43" fmla="*/ 61 h 131"/>
                <a:gd name="T44" fmla="*/ 80 w 105"/>
                <a:gd name="T45" fmla="*/ 83 h 131"/>
                <a:gd name="T46" fmla="*/ 58 w 105"/>
                <a:gd name="T47" fmla="*/ 91 h 131"/>
                <a:gd name="T48" fmla="*/ 47 w 105"/>
                <a:gd name="T49" fmla="*/ 109 h 131"/>
                <a:gd name="T50" fmla="*/ 44 w 105"/>
                <a:gd name="T51" fmla="*/ 123 h 131"/>
                <a:gd name="T52" fmla="*/ 34 w 105"/>
                <a:gd name="T53" fmla="*/ 131 h 131"/>
                <a:gd name="T54" fmla="*/ 26 w 105"/>
                <a:gd name="T55" fmla="*/ 121 h 131"/>
                <a:gd name="T56" fmla="*/ 18 w 105"/>
                <a:gd name="T57" fmla="*/ 119 h 131"/>
                <a:gd name="T58" fmla="*/ 10 w 105"/>
                <a:gd name="T59" fmla="*/ 120 h 131"/>
                <a:gd name="T60" fmla="*/ 10 w 105"/>
                <a:gd name="T61" fmla="*/ 113 h 131"/>
                <a:gd name="T62" fmla="*/ 15 w 105"/>
                <a:gd name="T63" fmla="*/ 108 h 131"/>
                <a:gd name="T64" fmla="*/ 13 w 105"/>
                <a:gd name="T65" fmla="*/ 99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5" h="131">
                  <a:moveTo>
                    <a:pt x="13" y="99"/>
                  </a:moveTo>
                  <a:lnTo>
                    <a:pt x="22" y="84"/>
                  </a:lnTo>
                  <a:lnTo>
                    <a:pt x="18" y="75"/>
                  </a:lnTo>
                  <a:lnTo>
                    <a:pt x="11" y="84"/>
                  </a:lnTo>
                  <a:lnTo>
                    <a:pt x="0" y="75"/>
                  </a:lnTo>
                  <a:lnTo>
                    <a:pt x="4" y="69"/>
                  </a:lnTo>
                  <a:lnTo>
                    <a:pt x="0" y="50"/>
                  </a:lnTo>
                  <a:lnTo>
                    <a:pt x="7" y="47"/>
                  </a:lnTo>
                  <a:lnTo>
                    <a:pt x="10" y="34"/>
                  </a:lnTo>
                  <a:lnTo>
                    <a:pt x="17" y="21"/>
                  </a:lnTo>
                  <a:lnTo>
                    <a:pt x="16" y="12"/>
                  </a:lnTo>
                  <a:lnTo>
                    <a:pt x="26" y="8"/>
                  </a:lnTo>
                  <a:lnTo>
                    <a:pt x="39" y="0"/>
                  </a:lnTo>
                  <a:lnTo>
                    <a:pt x="57" y="12"/>
                  </a:lnTo>
                  <a:lnTo>
                    <a:pt x="60" y="11"/>
                  </a:lnTo>
                  <a:lnTo>
                    <a:pt x="65" y="20"/>
                  </a:lnTo>
                  <a:lnTo>
                    <a:pt x="80" y="23"/>
                  </a:lnTo>
                  <a:lnTo>
                    <a:pt x="86" y="20"/>
                  </a:lnTo>
                  <a:lnTo>
                    <a:pt x="95" y="27"/>
                  </a:lnTo>
                  <a:lnTo>
                    <a:pt x="102" y="31"/>
                  </a:lnTo>
                  <a:lnTo>
                    <a:pt x="105" y="47"/>
                  </a:lnTo>
                  <a:lnTo>
                    <a:pt x="99" y="61"/>
                  </a:lnTo>
                  <a:lnTo>
                    <a:pt x="80" y="83"/>
                  </a:lnTo>
                  <a:lnTo>
                    <a:pt x="58" y="91"/>
                  </a:lnTo>
                  <a:lnTo>
                    <a:pt x="47" y="109"/>
                  </a:lnTo>
                  <a:lnTo>
                    <a:pt x="44" y="123"/>
                  </a:lnTo>
                  <a:lnTo>
                    <a:pt x="34" y="131"/>
                  </a:lnTo>
                  <a:lnTo>
                    <a:pt x="26" y="121"/>
                  </a:lnTo>
                  <a:lnTo>
                    <a:pt x="18" y="119"/>
                  </a:lnTo>
                  <a:lnTo>
                    <a:pt x="10" y="120"/>
                  </a:lnTo>
                  <a:lnTo>
                    <a:pt x="10" y="113"/>
                  </a:lnTo>
                  <a:lnTo>
                    <a:pt x="15" y="108"/>
                  </a:lnTo>
                  <a:lnTo>
                    <a:pt x="13" y="9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01" name="Freeform 58">
              <a:extLst>
                <a:ext uri="{FF2B5EF4-FFF2-40B4-BE49-F238E27FC236}">
                  <a16:creationId xmlns:a16="http://schemas.microsoft.com/office/drawing/2014/main" id="{2264E233-C048-497D-90BF-15862AB4165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7094" y="2020892"/>
              <a:ext cx="296961" cy="259190"/>
            </a:xfrm>
            <a:custGeom>
              <a:avLst/>
              <a:gdLst>
                <a:gd name="T0" fmla="*/ 181 w 228"/>
                <a:gd name="T1" fmla="*/ 44 h 199"/>
                <a:gd name="T2" fmla="*/ 177 w 228"/>
                <a:gd name="T3" fmla="*/ 52 h 199"/>
                <a:gd name="T4" fmla="*/ 175 w 228"/>
                <a:gd name="T5" fmla="*/ 68 h 199"/>
                <a:gd name="T6" fmla="*/ 171 w 228"/>
                <a:gd name="T7" fmla="*/ 79 h 199"/>
                <a:gd name="T8" fmla="*/ 167 w 228"/>
                <a:gd name="T9" fmla="*/ 82 h 199"/>
                <a:gd name="T10" fmla="*/ 160 w 228"/>
                <a:gd name="T11" fmla="*/ 75 h 199"/>
                <a:gd name="T12" fmla="*/ 152 w 228"/>
                <a:gd name="T13" fmla="*/ 66 h 199"/>
                <a:gd name="T14" fmla="*/ 137 w 228"/>
                <a:gd name="T15" fmla="*/ 36 h 199"/>
                <a:gd name="T16" fmla="*/ 135 w 228"/>
                <a:gd name="T17" fmla="*/ 38 h 199"/>
                <a:gd name="T18" fmla="*/ 144 w 228"/>
                <a:gd name="T19" fmla="*/ 60 h 199"/>
                <a:gd name="T20" fmla="*/ 157 w 228"/>
                <a:gd name="T21" fmla="*/ 81 h 199"/>
                <a:gd name="T22" fmla="*/ 173 w 228"/>
                <a:gd name="T23" fmla="*/ 113 h 199"/>
                <a:gd name="T24" fmla="*/ 180 w 228"/>
                <a:gd name="T25" fmla="*/ 125 h 199"/>
                <a:gd name="T26" fmla="*/ 187 w 228"/>
                <a:gd name="T27" fmla="*/ 136 h 199"/>
                <a:gd name="T28" fmla="*/ 204 w 228"/>
                <a:gd name="T29" fmla="*/ 159 h 199"/>
                <a:gd name="T30" fmla="*/ 201 w 228"/>
                <a:gd name="T31" fmla="*/ 163 h 199"/>
                <a:gd name="T32" fmla="*/ 203 w 228"/>
                <a:gd name="T33" fmla="*/ 176 h 199"/>
                <a:gd name="T34" fmla="*/ 225 w 228"/>
                <a:gd name="T35" fmla="*/ 195 h 199"/>
                <a:gd name="T36" fmla="*/ 228 w 228"/>
                <a:gd name="T37" fmla="*/ 199 h 199"/>
                <a:gd name="T38" fmla="*/ 157 w 228"/>
                <a:gd name="T39" fmla="*/ 199 h 199"/>
                <a:gd name="T40" fmla="*/ 87 w 228"/>
                <a:gd name="T41" fmla="*/ 199 h 199"/>
                <a:gd name="T42" fmla="*/ 15 w 228"/>
                <a:gd name="T43" fmla="*/ 199 h 199"/>
                <a:gd name="T44" fmla="*/ 11 w 228"/>
                <a:gd name="T45" fmla="*/ 123 h 199"/>
                <a:gd name="T46" fmla="*/ 6 w 228"/>
                <a:gd name="T47" fmla="*/ 49 h 199"/>
                <a:gd name="T48" fmla="*/ 0 w 228"/>
                <a:gd name="T49" fmla="*/ 32 h 199"/>
                <a:gd name="T50" fmla="*/ 4 w 228"/>
                <a:gd name="T51" fmla="*/ 19 h 199"/>
                <a:gd name="T52" fmla="*/ 1 w 228"/>
                <a:gd name="T53" fmla="*/ 11 h 199"/>
                <a:gd name="T54" fmla="*/ 6 w 228"/>
                <a:gd name="T55" fmla="*/ 1 h 199"/>
                <a:gd name="T56" fmla="*/ 29 w 228"/>
                <a:gd name="T57" fmla="*/ 0 h 199"/>
                <a:gd name="T58" fmla="*/ 47 w 228"/>
                <a:gd name="T59" fmla="*/ 6 h 199"/>
                <a:gd name="T60" fmla="*/ 65 w 228"/>
                <a:gd name="T61" fmla="*/ 12 h 199"/>
                <a:gd name="T62" fmla="*/ 73 w 228"/>
                <a:gd name="T63" fmla="*/ 15 h 199"/>
                <a:gd name="T64" fmla="*/ 86 w 228"/>
                <a:gd name="T65" fmla="*/ 9 h 199"/>
                <a:gd name="T66" fmla="*/ 93 w 228"/>
                <a:gd name="T67" fmla="*/ 3 h 199"/>
                <a:gd name="T68" fmla="*/ 108 w 228"/>
                <a:gd name="T69" fmla="*/ 1 h 199"/>
                <a:gd name="T70" fmla="*/ 121 w 228"/>
                <a:gd name="T71" fmla="*/ 4 h 199"/>
                <a:gd name="T72" fmla="*/ 126 w 228"/>
                <a:gd name="T73" fmla="*/ 14 h 199"/>
                <a:gd name="T74" fmla="*/ 130 w 228"/>
                <a:gd name="T75" fmla="*/ 7 h 199"/>
                <a:gd name="T76" fmla="*/ 144 w 228"/>
                <a:gd name="T77" fmla="*/ 12 h 199"/>
                <a:gd name="T78" fmla="*/ 158 w 228"/>
                <a:gd name="T79" fmla="*/ 13 h 199"/>
                <a:gd name="T80" fmla="*/ 166 w 228"/>
                <a:gd name="T81" fmla="*/ 8 h 199"/>
                <a:gd name="T82" fmla="*/ 181 w 228"/>
                <a:gd name="T83" fmla="*/ 44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28" h="199">
                  <a:moveTo>
                    <a:pt x="181" y="44"/>
                  </a:moveTo>
                  <a:lnTo>
                    <a:pt x="177" y="52"/>
                  </a:lnTo>
                  <a:lnTo>
                    <a:pt x="175" y="68"/>
                  </a:lnTo>
                  <a:lnTo>
                    <a:pt x="171" y="79"/>
                  </a:lnTo>
                  <a:lnTo>
                    <a:pt x="167" y="82"/>
                  </a:lnTo>
                  <a:lnTo>
                    <a:pt x="160" y="75"/>
                  </a:lnTo>
                  <a:lnTo>
                    <a:pt x="152" y="66"/>
                  </a:lnTo>
                  <a:lnTo>
                    <a:pt x="137" y="36"/>
                  </a:lnTo>
                  <a:lnTo>
                    <a:pt x="135" y="38"/>
                  </a:lnTo>
                  <a:lnTo>
                    <a:pt x="144" y="60"/>
                  </a:lnTo>
                  <a:lnTo>
                    <a:pt x="157" y="81"/>
                  </a:lnTo>
                  <a:lnTo>
                    <a:pt x="173" y="113"/>
                  </a:lnTo>
                  <a:lnTo>
                    <a:pt x="180" y="125"/>
                  </a:lnTo>
                  <a:lnTo>
                    <a:pt x="187" y="136"/>
                  </a:lnTo>
                  <a:lnTo>
                    <a:pt x="204" y="159"/>
                  </a:lnTo>
                  <a:lnTo>
                    <a:pt x="201" y="163"/>
                  </a:lnTo>
                  <a:lnTo>
                    <a:pt x="203" y="176"/>
                  </a:lnTo>
                  <a:lnTo>
                    <a:pt x="225" y="195"/>
                  </a:lnTo>
                  <a:lnTo>
                    <a:pt x="228" y="199"/>
                  </a:lnTo>
                  <a:lnTo>
                    <a:pt x="157" y="199"/>
                  </a:lnTo>
                  <a:lnTo>
                    <a:pt x="87" y="199"/>
                  </a:lnTo>
                  <a:lnTo>
                    <a:pt x="15" y="199"/>
                  </a:lnTo>
                  <a:lnTo>
                    <a:pt x="11" y="123"/>
                  </a:lnTo>
                  <a:lnTo>
                    <a:pt x="6" y="49"/>
                  </a:lnTo>
                  <a:lnTo>
                    <a:pt x="0" y="32"/>
                  </a:lnTo>
                  <a:lnTo>
                    <a:pt x="4" y="19"/>
                  </a:lnTo>
                  <a:lnTo>
                    <a:pt x="1" y="11"/>
                  </a:lnTo>
                  <a:lnTo>
                    <a:pt x="6" y="1"/>
                  </a:lnTo>
                  <a:lnTo>
                    <a:pt x="29" y="0"/>
                  </a:lnTo>
                  <a:lnTo>
                    <a:pt x="47" y="6"/>
                  </a:lnTo>
                  <a:lnTo>
                    <a:pt x="65" y="12"/>
                  </a:lnTo>
                  <a:lnTo>
                    <a:pt x="73" y="15"/>
                  </a:lnTo>
                  <a:lnTo>
                    <a:pt x="86" y="9"/>
                  </a:lnTo>
                  <a:lnTo>
                    <a:pt x="93" y="3"/>
                  </a:lnTo>
                  <a:lnTo>
                    <a:pt x="108" y="1"/>
                  </a:lnTo>
                  <a:lnTo>
                    <a:pt x="121" y="4"/>
                  </a:lnTo>
                  <a:lnTo>
                    <a:pt x="126" y="14"/>
                  </a:lnTo>
                  <a:lnTo>
                    <a:pt x="130" y="7"/>
                  </a:lnTo>
                  <a:lnTo>
                    <a:pt x="144" y="12"/>
                  </a:lnTo>
                  <a:lnTo>
                    <a:pt x="158" y="13"/>
                  </a:lnTo>
                  <a:lnTo>
                    <a:pt x="166" y="8"/>
                  </a:lnTo>
                  <a:lnTo>
                    <a:pt x="181" y="44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02" name="Freeform 59">
              <a:extLst>
                <a:ext uri="{FF2B5EF4-FFF2-40B4-BE49-F238E27FC236}">
                  <a16:creationId xmlns:a16="http://schemas.microsoft.com/office/drawing/2014/main" id="{3367B390-D05A-40FE-BE7E-508D647890E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1450" y="2389488"/>
              <a:ext cx="162808" cy="149783"/>
            </a:xfrm>
            <a:custGeom>
              <a:avLst/>
              <a:gdLst>
                <a:gd name="T0" fmla="*/ 112 w 125"/>
                <a:gd name="T1" fmla="*/ 113 h 115"/>
                <a:gd name="T2" fmla="*/ 106 w 125"/>
                <a:gd name="T3" fmla="*/ 106 h 115"/>
                <a:gd name="T4" fmla="*/ 98 w 125"/>
                <a:gd name="T5" fmla="*/ 94 h 115"/>
                <a:gd name="T6" fmla="*/ 89 w 125"/>
                <a:gd name="T7" fmla="*/ 87 h 115"/>
                <a:gd name="T8" fmla="*/ 84 w 125"/>
                <a:gd name="T9" fmla="*/ 80 h 115"/>
                <a:gd name="T10" fmla="*/ 68 w 125"/>
                <a:gd name="T11" fmla="*/ 72 h 115"/>
                <a:gd name="T12" fmla="*/ 56 w 125"/>
                <a:gd name="T13" fmla="*/ 71 h 115"/>
                <a:gd name="T14" fmla="*/ 51 w 125"/>
                <a:gd name="T15" fmla="*/ 67 h 115"/>
                <a:gd name="T16" fmla="*/ 41 w 125"/>
                <a:gd name="T17" fmla="*/ 72 h 115"/>
                <a:gd name="T18" fmla="*/ 29 w 125"/>
                <a:gd name="T19" fmla="*/ 63 h 115"/>
                <a:gd name="T20" fmla="*/ 24 w 125"/>
                <a:gd name="T21" fmla="*/ 78 h 115"/>
                <a:gd name="T22" fmla="*/ 3 w 125"/>
                <a:gd name="T23" fmla="*/ 74 h 115"/>
                <a:gd name="T24" fmla="*/ 0 w 125"/>
                <a:gd name="T25" fmla="*/ 65 h 115"/>
                <a:gd name="T26" fmla="*/ 7 w 125"/>
                <a:gd name="T27" fmla="*/ 35 h 115"/>
                <a:gd name="T28" fmla="*/ 8 w 125"/>
                <a:gd name="T29" fmla="*/ 21 h 115"/>
                <a:gd name="T30" fmla="*/ 13 w 125"/>
                <a:gd name="T31" fmla="*/ 15 h 115"/>
                <a:gd name="T32" fmla="*/ 27 w 125"/>
                <a:gd name="T33" fmla="*/ 11 h 115"/>
                <a:gd name="T34" fmla="*/ 35 w 125"/>
                <a:gd name="T35" fmla="*/ 0 h 115"/>
                <a:gd name="T36" fmla="*/ 47 w 125"/>
                <a:gd name="T37" fmla="*/ 23 h 115"/>
                <a:gd name="T38" fmla="*/ 53 w 125"/>
                <a:gd name="T39" fmla="*/ 43 h 115"/>
                <a:gd name="T40" fmla="*/ 63 w 125"/>
                <a:gd name="T41" fmla="*/ 53 h 115"/>
                <a:gd name="T42" fmla="*/ 89 w 125"/>
                <a:gd name="T43" fmla="*/ 72 h 115"/>
                <a:gd name="T44" fmla="*/ 100 w 125"/>
                <a:gd name="T45" fmla="*/ 84 h 115"/>
                <a:gd name="T46" fmla="*/ 110 w 125"/>
                <a:gd name="T47" fmla="*/ 96 h 115"/>
                <a:gd name="T48" fmla="*/ 116 w 125"/>
                <a:gd name="T49" fmla="*/ 103 h 115"/>
                <a:gd name="T50" fmla="*/ 125 w 125"/>
                <a:gd name="T51" fmla="*/ 110 h 115"/>
                <a:gd name="T52" fmla="*/ 120 w 125"/>
                <a:gd name="T53" fmla="*/ 115 h 115"/>
                <a:gd name="T54" fmla="*/ 112 w 125"/>
                <a:gd name="T55" fmla="*/ 113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5" h="115">
                  <a:moveTo>
                    <a:pt x="112" y="113"/>
                  </a:moveTo>
                  <a:lnTo>
                    <a:pt x="106" y="106"/>
                  </a:lnTo>
                  <a:lnTo>
                    <a:pt x="98" y="94"/>
                  </a:lnTo>
                  <a:lnTo>
                    <a:pt x="89" y="87"/>
                  </a:lnTo>
                  <a:lnTo>
                    <a:pt x="84" y="80"/>
                  </a:lnTo>
                  <a:lnTo>
                    <a:pt x="68" y="72"/>
                  </a:lnTo>
                  <a:lnTo>
                    <a:pt x="56" y="71"/>
                  </a:lnTo>
                  <a:lnTo>
                    <a:pt x="51" y="67"/>
                  </a:lnTo>
                  <a:lnTo>
                    <a:pt x="41" y="72"/>
                  </a:lnTo>
                  <a:lnTo>
                    <a:pt x="29" y="63"/>
                  </a:lnTo>
                  <a:lnTo>
                    <a:pt x="24" y="78"/>
                  </a:lnTo>
                  <a:lnTo>
                    <a:pt x="3" y="74"/>
                  </a:lnTo>
                  <a:lnTo>
                    <a:pt x="0" y="65"/>
                  </a:lnTo>
                  <a:lnTo>
                    <a:pt x="7" y="35"/>
                  </a:lnTo>
                  <a:lnTo>
                    <a:pt x="8" y="21"/>
                  </a:lnTo>
                  <a:lnTo>
                    <a:pt x="13" y="15"/>
                  </a:lnTo>
                  <a:lnTo>
                    <a:pt x="27" y="11"/>
                  </a:lnTo>
                  <a:lnTo>
                    <a:pt x="35" y="0"/>
                  </a:lnTo>
                  <a:lnTo>
                    <a:pt x="47" y="23"/>
                  </a:lnTo>
                  <a:lnTo>
                    <a:pt x="53" y="43"/>
                  </a:lnTo>
                  <a:lnTo>
                    <a:pt x="63" y="53"/>
                  </a:lnTo>
                  <a:lnTo>
                    <a:pt x="89" y="72"/>
                  </a:lnTo>
                  <a:lnTo>
                    <a:pt x="100" y="84"/>
                  </a:lnTo>
                  <a:lnTo>
                    <a:pt x="110" y="96"/>
                  </a:lnTo>
                  <a:lnTo>
                    <a:pt x="116" y="103"/>
                  </a:lnTo>
                  <a:lnTo>
                    <a:pt x="125" y="110"/>
                  </a:lnTo>
                  <a:lnTo>
                    <a:pt x="120" y="115"/>
                  </a:lnTo>
                  <a:lnTo>
                    <a:pt x="112" y="11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03" name="Freeform 60">
              <a:extLst>
                <a:ext uri="{FF2B5EF4-FFF2-40B4-BE49-F238E27FC236}">
                  <a16:creationId xmlns:a16="http://schemas.microsoft.com/office/drawing/2014/main" id="{F472D215-CDBA-49AE-A106-BC70AFE448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341" y="1693975"/>
              <a:ext cx="269610" cy="209696"/>
            </a:xfrm>
            <a:custGeom>
              <a:avLst/>
              <a:gdLst>
                <a:gd name="T0" fmla="*/ 5 w 207"/>
                <a:gd name="T1" fmla="*/ 39 h 161"/>
                <a:gd name="T2" fmla="*/ 6 w 207"/>
                <a:gd name="T3" fmla="*/ 24 h 161"/>
                <a:gd name="T4" fmla="*/ 0 w 207"/>
                <a:gd name="T5" fmla="*/ 15 h 161"/>
                <a:gd name="T6" fmla="*/ 24 w 207"/>
                <a:gd name="T7" fmla="*/ 0 h 161"/>
                <a:gd name="T8" fmla="*/ 44 w 207"/>
                <a:gd name="T9" fmla="*/ 4 h 161"/>
                <a:gd name="T10" fmla="*/ 66 w 207"/>
                <a:gd name="T11" fmla="*/ 4 h 161"/>
                <a:gd name="T12" fmla="*/ 84 w 207"/>
                <a:gd name="T13" fmla="*/ 7 h 161"/>
                <a:gd name="T14" fmla="*/ 98 w 207"/>
                <a:gd name="T15" fmla="*/ 6 h 161"/>
                <a:gd name="T16" fmla="*/ 125 w 207"/>
                <a:gd name="T17" fmla="*/ 7 h 161"/>
                <a:gd name="T18" fmla="*/ 131 w 207"/>
                <a:gd name="T19" fmla="*/ 15 h 161"/>
                <a:gd name="T20" fmla="*/ 162 w 207"/>
                <a:gd name="T21" fmla="*/ 24 h 161"/>
                <a:gd name="T22" fmla="*/ 168 w 207"/>
                <a:gd name="T23" fmla="*/ 20 h 161"/>
                <a:gd name="T24" fmla="*/ 187 w 207"/>
                <a:gd name="T25" fmla="*/ 29 h 161"/>
                <a:gd name="T26" fmla="*/ 206 w 207"/>
                <a:gd name="T27" fmla="*/ 27 h 161"/>
                <a:gd name="T28" fmla="*/ 207 w 207"/>
                <a:gd name="T29" fmla="*/ 38 h 161"/>
                <a:gd name="T30" fmla="*/ 191 w 207"/>
                <a:gd name="T31" fmla="*/ 52 h 161"/>
                <a:gd name="T32" fmla="*/ 170 w 207"/>
                <a:gd name="T33" fmla="*/ 57 h 161"/>
                <a:gd name="T34" fmla="*/ 169 w 207"/>
                <a:gd name="T35" fmla="*/ 63 h 161"/>
                <a:gd name="T36" fmla="*/ 158 w 207"/>
                <a:gd name="T37" fmla="*/ 75 h 161"/>
                <a:gd name="T38" fmla="*/ 152 w 207"/>
                <a:gd name="T39" fmla="*/ 92 h 161"/>
                <a:gd name="T40" fmla="*/ 158 w 207"/>
                <a:gd name="T41" fmla="*/ 103 h 161"/>
                <a:gd name="T42" fmla="*/ 148 w 207"/>
                <a:gd name="T43" fmla="*/ 113 h 161"/>
                <a:gd name="T44" fmla="*/ 145 w 207"/>
                <a:gd name="T45" fmla="*/ 126 h 161"/>
                <a:gd name="T46" fmla="*/ 132 w 207"/>
                <a:gd name="T47" fmla="*/ 130 h 161"/>
                <a:gd name="T48" fmla="*/ 119 w 207"/>
                <a:gd name="T49" fmla="*/ 146 h 161"/>
                <a:gd name="T50" fmla="*/ 98 w 207"/>
                <a:gd name="T51" fmla="*/ 146 h 161"/>
                <a:gd name="T52" fmla="*/ 81 w 207"/>
                <a:gd name="T53" fmla="*/ 146 h 161"/>
                <a:gd name="T54" fmla="*/ 70 w 207"/>
                <a:gd name="T55" fmla="*/ 153 h 161"/>
                <a:gd name="T56" fmla="*/ 64 w 207"/>
                <a:gd name="T57" fmla="*/ 161 h 161"/>
                <a:gd name="T58" fmla="*/ 55 w 207"/>
                <a:gd name="T59" fmla="*/ 159 h 161"/>
                <a:gd name="T60" fmla="*/ 49 w 207"/>
                <a:gd name="T61" fmla="*/ 152 h 161"/>
                <a:gd name="T62" fmla="*/ 44 w 207"/>
                <a:gd name="T63" fmla="*/ 140 h 161"/>
                <a:gd name="T64" fmla="*/ 29 w 207"/>
                <a:gd name="T65" fmla="*/ 137 h 161"/>
                <a:gd name="T66" fmla="*/ 27 w 207"/>
                <a:gd name="T67" fmla="*/ 130 h 161"/>
                <a:gd name="T68" fmla="*/ 34 w 207"/>
                <a:gd name="T69" fmla="*/ 123 h 161"/>
                <a:gd name="T70" fmla="*/ 36 w 207"/>
                <a:gd name="T71" fmla="*/ 117 h 161"/>
                <a:gd name="T72" fmla="*/ 31 w 207"/>
                <a:gd name="T73" fmla="*/ 111 h 161"/>
                <a:gd name="T74" fmla="*/ 36 w 207"/>
                <a:gd name="T75" fmla="*/ 98 h 161"/>
                <a:gd name="T76" fmla="*/ 29 w 207"/>
                <a:gd name="T77" fmla="*/ 85 h 161"/>
                <a:gd name="T78" fmla="*/ 37 w 207"/>
                <a:gd name="T79" fmla="*/ 83 h 161"/>
                <a:gd name="T80" fmla="*/ 37 w 207"/>
                <a:gd name="T81" fmla="*/ 74 h 161"/>
                <a:gd name="T82" fmla="*/ 40 w 207"/>
                <a:gd name="T83" fmla="*/ 71 h 161"/>
                <a:gd name="T84" fmla="*/ 41 w 207"/>
                <a:gd name="T85" fmla="*/ 55 h 161"/>
                <a:gd name="T86" fmla="*/ 49 w 207"/>
                <a:gd name="T87" fmla="*/ 49 h 161"/>
                <a:gd name="T88" fmla="*/ 44 w 207"/>
                <a:gd name="T89" fmla="*/ 39 h 161"/>
                <a:gd name="T90" fmla="*/ 35 w 207"/>
                <a:gd name="T91" fmla="*/ 38 h 161"/>
                <a:gd name="T92" fmla="*/ 32 w 207"/>
                <a:gd name="T93" fmla="*/ 40 h 161"/>
                <a:gd name="T94" fmla="*/ 22 w 207"/>
                <a:gd name="T95" fmla="*/ 40 h 161"/>
                <a:gd name="T96" fmla="*/ 18 w 207"/>
                <a:gd name="T97" fmla="*/ 30 h 161"/>
                <a:gd name="T98" fmla="*/ 11 w 207"/>
                <a:gd name="T99" fmla="*/ 33 h 161"/>
                <a:gd name="T100" fmla="*/ 5 w 207"/>
                <a:gd name="T101" fmla="*/ 39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07" h="161">
                  <a:moveTo>
                    <a:pt x="5" y="39"/>
                  </a:moveTo>
                  <a:lnTo>
                    <a:pt x="6" y="24"/>
                  </a:lnTo>
                  <a:lnTo>
                    <a:pt x="0" y="15"/>
                  </a:lnTo>
                  <a:lnTo>
                    <a:pt x="24" y="0"/>
                  </a:lnTo>
                  <a:lnTo>
                    <a:pt x="44" y="4"/>
                  </a:lnTo>
                  <a:lnTo>
                    <a:pt x="66" y="4"/>
                  </a:lnTo>
                  <a:lnTo>
                    <a:pt x="84" y="7"/>
                  </a:lnTo>
                  <a:lnTo>
                    <a:pt x="98" y="6"/>
                  </a:lnTo>
                  <a:lnTo>
                    <a:pt x="125" y="7"/>
                  </a:lnTo>
                  <a:lnTo>
                    <a:pt x="131" y="15"/>
                  </a:lnTo>
                  <a:lnTo>
                    <a:pt x="162" y="24"/>
                  </a:lnTo>
                  <a:lnTo>
                    <a:pt x="168" y="20"/>
                  </a:lnTo>
                  <a:lnTo>
                    <a:pt x="187" y="29"/>
                  </a:lnTo>
                  <a:lnTo>
                    <a:pt x="206" y="27"/>
                  </a:lnTo>
                  <a:lnTo>
                    <a:pt x="207" y="38"/>
                  </a:lnTo>
                  <a:lnTo>
                    <a:pt x="191" y="52"/>
                  </a:lnTo>
                  <a:lnTo>
                    <a:pt x="170" y="57"/>
                  </a:lnTo>
                  <a:lnTo>
                    <a:pt x="169" y="63"/>
                  </a:lnTo>
                  <a:lnTo>
                    <a:pt x="158" y="75"/>
                  </a:lnTo>
                  <a:lnTo>
                    <a:pt x="152" y="92"/>
                  </a:lnTo>
                  <a:lnTo>
                    <a:pt x="158" y="103"/>
                  </a:lnTo>
                  <a:lnTo>
                    <a:pt x="148" y="113"/>
                  </a:lnTo>
                  <a:lnTo>
                    <a:pt x="145" y="126"/>
                  </a:lnTo>
                  <a:lnTo>
                    <a:pt x="132" y="130"/>
                  </a:lnTo>
                  <a:lnTo>
                    <a:pt x="119" y="146"/>
                  </a:lnTo>
                  <a:lnTo>
                    <a:pt x="98" y="146"/>
                  </a:lnTo>
                  <a:lnTo>
                    <a:pt x="81" y="146"/>
                  </a:lnTo>
                  <a:lnTo>
                    <a:pt x="70" y="153"/>
                  </a:lnTo>
                  <a:lnTo>
                    <a:pt x="64" y="161"/>
                  </a:lnTo>
                  <a:lnTo>
                    <a:pt x="55" y="159"/>
                  </a:lnTo>
                  <a:lnTo>
                    <a:pt x="49" y="152"/>
                  </a:lnTo>
                  <a:lnTo>
                    <a:pt x="44" y="140"/>
                  </a:lnTo>
                  <a:lnTo>
                    <a:pt x="29" y="137"/>
                  </a:lnTo>
                  <a:lnTo>
                    <a:pt x="27" y="130"/>
                  </a:lnTo>
                  <a:lnTo>
                    <a:pt x="34" y="123"/>
                  </a:lnTo>
                  <a:lnTo>
                    <a:pt x="36" y="117"/>
                  </a:lnTo>
                  <a:lnTo>
                    <a:pt x="31" y="111"/>
                  </a:lnTo>
                  <a:lnTo>
                    <a:pt x="36" y="98"/>
                  </a:lnTo>
                  <a:lnTo>
                    <a:pt x="29" y="85"/>
                  </a:lnTo>
                  <a:lnTo>
                    <a:pt x="37" y="83"/>
                  </a:lnTo>
                  <a:lnTo>
                    <a:pt x="37" y="74"/>
                  </a:lnTo>
                  <a:lnTo>
                    <a:pt x="40" y="71"/>
                  </a:lnTo>
                  <a:lnTo>
                    <a:pt x="41" y="55"/>
                  </a:lnTo>
                  <a:lnTo>
                    <a:pt x="49" y="49"/>
                  </a:lnTo>
                  <a:lnTo>
                    <a:pt x="44" y="39"/>
                  </a:lnTo>
                  <a:lnTo>
                    <a:pt x="35" y="38"/>
                  </a:lnTo>
                  <a:lnTo>
                    <a:pt x="32" y="40"/>
                  </a:lnTo>
                  <a:lnTo>
                    <a:pt x="22" y="40"/>
                  </a:lnTo>
                  <a:lnTo>
                    <a:pt x="18" y="30"/>
                  </a:lnTo>
                  <a:lnTo>
                    <a:pt x="11" y="33"/>
                  </a:lnTo>
                  <a:lnTo>
                    <a:pt x="5" y="39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04" name="Freeform 61">
              <a:extLst>
                <a:ext uri="{FF2B5EF4-FFF2-40B4-BE49-F238E27FC236}">
                  <a16:creationId xmlns:a16="http://schemas.microsoft.com/office/drawing/2014/main" id="{DC2FC3D1-29F2-41A9-9F54-619DFE2EB64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1175" y="1279792"/>
              <a:ext cx="92475" cy="54703"/>
            </a:xfrm>
            <a:custGeom>
              <a:avLst/>
              <a:gdLst>
                <a:gd name="T0" fmla="*/ 19 w 71"/>
                <a:gd name="T1" fmla="*/ 36 h 42"/>
                <a:gd name="T2" fmla="*/ 19 w 71"/>
                <a:gd name="T3" fmla="*/ 24 h 42"/>
                <a:gd name="T4" fmla="*/ 14 w 71"/>
                <a:gd name="T5" fmla="*/ 27 h 42"/>
                <a:gd name="T6" fmla="*/ 3 w 71"/>
                <a:gd name="T7" fmla="*/ 20 h 42"/>
                <a:gd name="T8" fmla="*/ 0 w 71"/>
                <a:gd name="T9" fmla="*/ 9 h 42"/>
                <a:gd name="T10" fmla="*/ 18 w 71"/>
                <a:gd name="T11" fmla="*/ 3 h 42"/>
                <a:gd name="T12" fmla="*/ 36 w 71"/>
                <a:gd name="T13" fmla="*/ 0 h 42"/>
                <a:gd name="T14" fmla="*/ 53 w 71"/>
                <a:gd name="T15" fmla="*/ 4 h 42"/>
                <a:gd name="T16" fmla="*/ 68 w 71"/>
                <a:gd name="T17" fmla="*/ 3 h 42"/>
                <a:gd name="T18" fmla="*/ 71 w 71"/>
                <a:gd name="T19" fmla="*/ 7 h 42"/>
                <a:gd name="T20" fmla="*/ 62 w 71"/>
                <a:gd name="T21" fmla="*/ 18 h 42"/>
                <a:gd name="T22" fmla="*/ 70 w 71"/>
                <a:gd name="T23" fmla="*/ 36 h 42"/>
                <a:gd name="T24" fmla="*/ 65 w 71"/>
                <a:gd name="T25" fmla="*/ 42 h 42"/>
                <a:gd name="T26" fmla="*/ 53 w 71"/>
                <a:gd name="T27" fmla="*/ 42 h 42"/>
                <a:gd name="T28" fmla="*/ 38 w 71"/>
                <a:gd name="T29" fmla="*/ 35 h 42"/>
                <a:gd name="T30" fmla="*/ 31 w 71"/>
                <a:gd name="T31" fmla="*/ 32 h 42"/>
                <a:gd name="T32" fmla="*/ 19 w 71"/>
                <a:gd name="T33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1" h="42">
                  <a:moveTo>
                    <a:pt x="19" y="36"/>
                  </a:moveTo>
                  <a:lnTo>
                    <a:pt x="19" y="24"/>
                  </a:lnTo>
                  <a:lnTo>
                    <a:pt x="14" y="27"/>
                  </a:lnTo>
                  <a:lnTo>
                    <a:pt x="3" y="20"/>
                  </a:lnTo>
                  <a:lnTo>
                    <a:pt x="0" y="9"/>
                  </a:lnTo>
                  <a:lnTo>
                    <a:pt x="18" y="3"/>
                  </a:lnTo>
                  <a:lnTo>
                    <a:pt x="36" y="0"/>
                  </a:lnTo>
                  <a:lnTo>
                    <a:pt x="53" y="4"/>
                  </a:lnTo>
                  <a:lnTo>
                    <a:pt x="68" y="3"/>
                  </a:lnTo>
                  <a:lnTo>
                    <a:pt x="71" y="7"/>
                  </a:lnTo>
                  <a:lnTo>
                    <a:pt x="62" y="18"/>
                  </a:lnTo>
                  <a:lnTo>
                    <a:pt x="70" y="36"/>
                  </a:lnTo>
                  <a:lnTo>
                    <a:pt x="65" y="42"/>
                  </a:lnTo>
                  <a:lnTo>
                    <a:pt x="53" y="42"/>
                  </a:lnTo>
                  <a:lnTo>
                    <a:pt x="38" y="35"/>
                  </a:lnTo>
                  <a:lnTo>
                    <a:pt x="31" y="32"/>
                  </a:lnTo>
                  <a:lnTo>
                    <a:pt x="19" y="36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05" name="Freeform 62">
              <a:extLst>
                <a:ext uri="{FF2B5EF4-FFF2-40B4-BE49-F238E27FC236}">
                  <a16:creationId xmlns:a16="http://schemas.microsoft.com/office/drawing/2014/main" id="{6EE1471D-1E3C-4AC1-A154-C67CF343F80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7210" y="2471544"/>
              <a:ext cx="354269" cy="311288"/>
            </a:xfrm>
            <a:custGeom>
              <a:avLst/>
              <a:gdLst>
                <a:gd name="T0" fmla="*/ 86 w 272"/>
                <a:gd name="T1" fmla="*/ 0 h 239"/>
                <a:gd name="T2" fmla="*/ 98 w 272"/>
                <a:gd name="T3" fmla="*/ 9 h 239"/>
                <a:gd name="T4" fmla="*/ 108 w 272"/>
                <a:gd name="T5" fmla="*/ 4 h 239"/>
                <a:gd name="T6" fmla="*/ 113 w 272"/>
                <a:gd name="T7" fmla="*/ 8 h 239"/>
                <a:gd name="T8" fmla="*/ 125 w 272"/>
                <a:gd name="T9" fmla="*/ 9 h 239"/>
                <a:gd name="T10" fmla="*/ 141 w 272"/>
                <a:gd name="T11" fmla="*/ 17 h 239"/>
                <a:gd name="T12" fmla="*/ 146 w 272"/>
                <a:gd name="T13" fmla="*/ 24 h 239"/>
                <a:gd name="T14" fmla="*/ 155 w 272"/>
                <a:gd name="T15" fmla="*/ 31 h 239"/>
                <a:gd name="T16" fmla="*/ 163 w 272"/>
                <a:gd name="T17" fmla="*/ 43 h 239"/>
                <a:gd name="T18" fmla="*/ 169 w 272"/>
                <a:gd name="T19" fmla="*/ 50 h 239"/>
                <a:gd name="T20" fmla="*/ 163 w 272"/>
                <a:gd name="T21" fmla="*/ 59 h 239"/>
                <a:gd name="T22" fmla="*/ 157 w 272"/>
                <a:gd name="T23" fmla="*/ 69 h 239"/>
                <a:gd name="T24" fmla="*/ 159 w 272"/>
                <a:gd name="T25" fmla="*/ 75 h 239"/>
                <a:gd name="T26" fmla="*/ 160 w 272"/>
                <a:gd name="T27" fmla="*/ 81 h 239"/>
                <a:gd name="T28" fmla="*/ 170 w 272"/>
                <a:gd name="T29" fmla="*/ 81 h 239"/>
                <a:gd name="T30" fmla="*/ 174 w 272"/>
                <a:gd name="T31" fmla="*/ 80 h 239"/>
                <a:gd name="T32" fmla="*/ 178 w 272"/>
                <a:gd name="T33" fmla="*/ 83 h 239"/>
                <a:gd name="T34" fmla="*/ 175 w 272"/>
                <a:gd name="T35" fmla="*/ 91 h 239"/>
                <a:gd name="T36" fmla="*/ 182 w 272"/>
                <a:gd name="T37" fmla="*/ 102 h 239"/>
                <a:gd name="T38" fmla="*/ 189 w 272"/>
                <a:gd name="T39" fmla="*/ 112 h 239"/>
                <a:gd name="T40" fmla="*/ 196 w 272"/>
                <a:gd name="T41" fmla="*/ 119 h 239"/>
                <a:gd name="T42" fmla="*/ 257 w 272"/>
                <a:gd name="T43" fmla="*/ 144 h 239"/>
                <a:gd name="T44" fmla="*/ 272 w 272"/>
                <a:gd name="T45" fmla="*/ 144 h 239"/>
                <a:gd name="T46" fmla="*/ 222 w 272"/>
                <a:gd name="T47" fmla="*/ 207 h 239"/>
                <a:gd name="T48" fmla="*/ 198 w 272"/>
                <a:gd name="T49" fmla="*/ 207 h 239"/>
                <a:gd name="T50" fmla="*/ 182 w 272"/>
                <a:gd name="T51" fmla="*/ 222 h 239"/>
                <a:gd name="T52" fmla="*/ 170 w 272"/>
                <a:gd name="T53" fmla="*/ 222 h 239"/>
                <a:gd name="T54" fmla="*/ 165 w 272"/>
                <a:gd name="T55" fmla="*/ 229 h 239"/>
                <a:gd name="T56" fmla="*/ 152 w 272"/>
                <a:gd name="T57" fmla="*/ 229 h 239"/>
                <a:gd name="T58" fmla="*/ 145 w 272"/>
                <a:gd name="T59" fmla="*/ 222 h 239"/>
                <a:gd name="T60" fmla="*/ 128 w 272"/>
                <a:gd name="T61" fmla="*/ 231 h 239"/>
                <a:gd name="T62" fmla="*/ 123 w 272"/>
                <a:gd name="T63" fmla="*/ 239 h 239"/>
                <a:gd name="T64" fmla="*/ 111 w 272"/>
                <a:gd name="T65" fmla="*/ 238 h 239"/>
                <a:gd name="T66" fmla="*/ 107 w 272"/>
                <a:gd name="T67" fmla="*/ 235 h 239"/>
                <a:gd name="T68" fmla="*/ 102 w 272"/>
                <a:gd name="T69" fmla="*/ 236 h 239"/>
                <a:gd name="T70" fmla="*/ 96 w 272"/>
                <a:gd name="T71" fmla="*/ 236 h 239"/>
                <a:gd name="T72" fmla="*/ 73 w 272"/>
                <a:gd name="T73" fmla="*/ 218 h 239"/>
                <a:gd name="T74" fmla="*/ 60 w 272"/>
                <a:gd name="T75" fmla="*/ 218 h 239"/>
                <a:gd name="T76" fmla="*/ 54 w 272"/>
                <a:gd name="T77" fmla="*/ 211 h 239"/>
                <a:gd name="T78" fmla="*/ 54 w 272"/>
                <a:gd name="T79" fmla="*/ 200 h 239"/>
                <a:gd name="T80" fmla="*/ 44 w 272"/>
                <a:gd name="T81" fmla="*/ 196 h 239"/>
                <a:gd name="T82" fmla="*/ 33 w 272"/>
                <a:gd name="T83" fmla="*/ 173 h 239"/>
                <a:gd name="T84" fmla="*/ 25 w 272"/>
                <a:gd name="T85" fmla="*/ 169 h 239"/>
                <a:gd name="T86" fmla="*/ 21 w 272"/>
                <a:gd name="T87" fmla="*/ 160 h 239"/>
                <a:gd name="T88" fmla="*/ 12 w 272"/>
                <a:gd name="T89" fmla="*/ 150 h 239"/>
                <a:gd name="T90" fmla="*/ 0 w 272"/>
                <a:gd name="T91" fmla="*/ 149 h 239"/>
                <a:gd name="T92" fmla="*/ 6 w 272"/>
                <a:gd name="T93" fmla="*/ 137 h 239"/>
                <a:gd name="T94" fmla="*/ 16 w 272"/>
                <a:gd name="T95" fmla="*/ 136 h 239"/>
                <a:gd name="T96" fmla="*/ 19 w 272"/>
                <a:gd name="T97" fmla="*/ 130 h 239"/>
                <a:gd name="T98" fmla="*/ 18 w 272"/>
                <a:gd name="T99" fmla="*/ 111 h 239"/>
                <a:gd name="T100" fmla="*/ 23 w 272"/>
                <a:gd name="T101" fmla="*/ 89 h 239"/>
                <a:gd name="T102" fmla="*/ 31 w 272"/>
                <a:gd name="T103" fmla="*/ 84 h 239"/>
                <a:gd name="T104" fmla="*/ 33 w 272"/>
                <a:gd name="T105" fmla="*/ 75 h 239"/>
                <a:gd name="T106" fmla="*/ 40 w 272"/>
                <a:gd name="T107" fmla="*/ 59 h 239"/>
                <a:gd name="T108" fmla="*/ 51 w 272"/>
                <a:gd name="T109" fmla="*/ 49 h 239"/>
                <a:gd name="T110" fmla="*/ 57 w 272"/>
                <a:gd name="T111" fmla="*/ 28 h 239"/>
                <a:gd name="T112" fmla="*/ 60 w 272"/>
                <a:gd name="T113" fmla="*/ 11 h 239"/>
                <a:gd name="T114" fmla="*/ 81 w 272"/>
                <a:gd name="T115" fmla="*/ 15 h 239"/>
                <a:gd name="T116" fmla="*/ 86 w 272"/>
                <a:gd name="T117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72" h="239">
                  <a:moveTo>
                    <a:pt x="86" y="0"/>
                  </a:moveTo>
                  <a:lnTo>
                    <a:pt x="98" y="9"/>
                  </a:lnTo>
                  <a:lnTo>
                    <a:pt x="108" y="4"/>
                  </a:lnTo>
                  <a:lnTo>
                    <a:pt x="113" y="8"/>
                  </a:lnTo>
                  <a:lnTo>
                    <a:pt x="125" y="9"/>
                  </a:lnTo>
                  <a:lnTo>
                    <a:pt x="141" y="17"/>
                  </a:lnTo>
                  <a:lnTo>
                    <a:pt x="146" y="24"/>
                  </a:lnTo>
                  <a:lnTo>
                    <a:pt x="155" y="31"/>
                  </a:lnTo>
                  <a:lnTo>
                    <a:pt x="163" y="43"/>
                  </a:lnTo>
                  <a:lnTo>
                    <a:pt x="169" y="50"/>
                  </a:lnTo>
                  <a:lnTo>
                    <a:pt x="163" y="59"/>
                  </a:lnTo>
                  <a:lnTo>
                    <a:pt x="157" y="69"/>
                  </a:lnTo>
                  <a:lnTo>
                    <a:pt x="159" y="75"/>
                  </a:lnTo>
                  <a:lnTo>
                    <a:pt x="160" y="81"/>
                  </a:lnTo>
                  <a:lnTo>
                    <a:pt x="170" y="81"/>
                  </a:lnTo>
                  <a:lnTo>
                    <a:pt x="174" y="80"/>
                  </a:lnTo>
                  <a:lnTo>
                    <a:pt x="178" y="83"/>
                  </a:lnTo>
                  <a:lnTo>
                    <a:pt x="175" y="91"/>
                  </a:lnTo>
                  <a:lnTo>
                    <a:pt x="182" y="102"/>
                  </a:lnTo>
                  <a:lnTo>
                    <a:pt x="189" y="112"/>
                  </a:lnTo>
                  <a:lnTo>
                    <a:pt x="196" y="119"/>
                  </a:lnTo>
                  <a:lnTo>
                    <a:pt x="257" y="144"/>
                  </a:lnTo>
                  <a:lnTo>
                    <a:pt x="272" y="144"/>
                  </a:lnTo>
                  <a:lnTo>
                    <a:pt x="222" y="207"/>
                  </a:lnTo>
                  <a:lnTo>
                    <a:pt x="198" y="207"/>
                  </a:lnTo>
                  <a:lnTo>
                    <a:pt x="182" y="222"/>
                  </a:lnTo>
                  <a:lnTo>
                    <a:pt x="170" y="222"/>
                  </a:lnTo>
                  <a:lnTo>
                    <a:pt x="165" y="229"/>
                  </a:lnTo>
                  <a:lnTo>
                    <a:pt x="152" y="229"/>
                  </a:lnTo>
                  <a:lnTo>
                    <a:pt x="145" y="222"/>
                  </a:lnTo>
                  <a:lnTo>
                    <a:pt x="128" y="231"/>
                  </a:lnTo>
                  <a:lnTo>
                    <a:pt x="123" y="239"/>
                  </a:lnTo>
                  <a:lnTo>
                    <a:pt x="111" y="238"/>
                  </a:lnTo>
                  <a:lnTo>
                    <a:pt x="107" y="235"/>
                  </a:lnTo>
                  <a:lnTo>
                    <a:pt x="102" y="236"/>
                  </a:lnTo>
                  <a:lnTo>
                    <a:pt x="96" y="236"/>
                  </a:lnTo>
                  <a:lnTo>
                    <a:pt x="73" y="218"/>
                  </a:lnTo>
                  <a:lnTo>
                    <a:pt x="60" y="218"/>
                  </a:lnTo>
                  <a:lnTo>
                    <a:pt x="54" y="211"/>
                  </a:lnTo>
                  <a:lnTo>
                    <a:pt x="54" y="200"/>
                  </a:lnTo>
                  <a:lnTo>
                    <a:pt x="44" y="196"/>
                  </a:lnTo>
                  <a:lnTo>
                    <a:pt x="33" y="173"/>
                  </a:lnTo>
                  <a:lnTo>
                    <a:pt x="25" y="169"/>
                  </a:lnTo>
                  <a:lnTo>
                    <a:pt x="21" y="160"/>
                  </a:lnTo>
                  <a:lnTo>
                    <a:pt x="12" y="150"/>
                  </a:lnTo>
                  <a:lnTo>
                    <a:pt x="0" y="149"/>
                  </a:lnTo>
                  <a:lnTo>
                    <a:pt x="6" y="137"/>
                  </a:lnTo>
                  <a:lnTo>
                    <a:pt x="16" y="136"/>
                  </a:lnTo>
                  <a:lnTo>
                    <a:pt x="19" y="130"/>
                  </a:lnTo>
                  <a:lnTo>
                    <a:pt x="18" y="111"/>
                  </a:lnTo>
                  <a:lnTo>
                    <a:pt x="23" y="89"/>
                  </a:lnTo>
                  <a:lnTo>
                    <a:pt x="31" y="84"/>
                  </a:lnTo>
                  <a:lnTo>
                    <a:pt x="33" y="75"/>
                  </a:lnTo>
                  <a:lnTo>
                    <a:pt x="40" y="59"/>
                  </a:lnTo>
                  <a:lnTo>
                    <a:pt x="51" y="49"/>
                  </a:lnTo>
                  <a:lnTo>
                    <a:pt x="57" y="28"/>
                  </a:lnTo>
                  <a:lnTo>
                    <a:pt x="60" y="11"/>
                  </a:lnTo>
                  <a:lnTo>
                    <a:pt x="81" y="15"/>
                  </a:lnTo>
                  <a:lnTo>
                    <a:pt x="86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06" name="Freeform 63">
              <a:extLst>
                <a:ext uri="{FF2B5EF4-FFF2-40B4-BE49-F238E27FC236}">
                  <a16:creationId xmlns:a16="http://schemas.microsoft.com/office/drawing/2014/main" id="{C3DFF48B-A80D-41B0-9864-1A31F936421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8700" y="1028418"/>
              <a:ext cx="229233" cy="246165"/>
            </a:xfrm>
            <a:custGeom>
              <a:avLst/>
              <a:gdLst>
                <a:gd name="T0" fmla="*/ 106 w 176"/>
                <a:gd name="T1" fmla="*/ 19 h 189"/>
                <a:gd name="T2" fmla="*/ 107 w 176"/>
                <a:gd name="T3" fmla="*/ 31 h 189"/>
                <a:gd name="T4" fmla="*/ 131 w 176"/>
                <a:gd name="T5" fmla="*/ 43 h 189"/>
                <a:gd name="T6" fmla="*/ 122 w 176"/>
                <a:gd name="T7" fmla="*/ 56 h 189"/>
                <a:gd name="T8" fmla="*/ 144 w 176"/>
                <a:gd name="T9" fmla="*/ 77 h 189"/>
                <a:gd name="T10" fmla="*/ 138 w 176"/>
                <a:gd name="T11" fmla="*/ 93 h 189"/>
                <a:gd name="T12" fmla="*/ 154 w 176"/>
                <a:gd name="T13" fmla="*/ 106 h 189"/>
                <a:gd name="T14" fmla="*/ 151 w 176"/>
                <a:gd name="T15" fmla="*/ 119 h 189"/>
                <a:gd name="T16" fmla="*/ 176 w 176"/>
                <a:gd name="T17" fmla="*/ 132 h 189"/>
                <a:gd name="T18" fmla="*/ 173 w 176"/>
                <a:gd name="T19" fmla="*/ 141 h 189"/>
                <a:gd name="T20" fmla="*/ 162 w 176"/>
                <a:gd name="T21" fmla="*/ 152 h 189"/>
                <a:gd name="T22" fmla="*/ 136 w 176"/>
                <a:gd name="T23" fmla="*/ 176 h 189"/>
                <a:gd name="T24" fmla="*/ 110 w 176"/>
                <a:gd name="T25" fmla="*/ 178 h 189"/>
                <a:gd name="T26" fmla="*/ 85 w 176"/>
                <a:gd name="T27" fmla="*/ 185 h 189"/>
                <a:gd name="T28" fmla="*/ 62 w 176"/>
                <a:gd name="T29" fmla="*/ 189 h 189"/>
                <a:gd name="T30" fmla="*/ 52 w 176"/>
                <a:gd name="T31" fmla="*/ 179 h 189"/>
                <a:gd name="T32" fmla="*/ 37 w 176"/>
                <a:gd name="T33" fmla="*/ 172 h 189"/>
                <a:gd name="T34" fmla="*/ 37 w 176"/>
                <a:gd name="T35" fmla="*/ 153 h 189"/>
                <a:gd name="T36" fmla="*/ 27 w 176"/>
                <a:gd name="T37" fmla="*/ 136 h 189"/>
                <a:gd name="T38" fmla="*/ 32 w 176"/>
                <a:gd name="T39" fmla="*/ 125 h 189"/>
                <a:gd name="T40" fmla="*/ 43 w 176"/>
                <a:gd name="T41" fmla="*/ 114 h 189"/>
                <a:gd name="T42" fmla="*/ 71 w 176"/>
                <a:gd name="T43" fmla="*/ 93 h 189"/>
                <a:gd name="T44" fmla="*/ 80 w 176"/>
                <a:gd name="T45" fmla="*/ 90 h 189"/>
                <a:gd name="T46" fmla="*/ 76 w 176"/>
                <a:gd name="T47" fmla="*/ 82 h 189"/>
                <a:gd name="T48" fmla="*/ 55 w 176"/>
                <a:gd name="T49" fmla="*/ 73 h 189"/>
                <a:gd name="T50" fmla="*/ 49 w 176"/>
                <a:gd name="T51" fmla="*/ 66 h 189"/>
                <a:gd name="T52" fmla="*/ 43 w 176"/>
                <a:gd name="T53" fmla="*/ 39 h 189"/>
                <a:gd name="T54" fmla="*/ 20 w 176"/>
                <a:gd name="T55" fmla="*/ 27 h 189"/>
                <a:gd name="T56" fmla="*/ 0 w 176"/>
                <a:gd name="T57" fmla="*/ 18 h 189"/>
                <a:gd name="T58" fmla="*/ 7 w 176"/>
                <a:gd name="T59" fmla="*/ 13 h 189"/>
                <a:gd name="T60" fmla="*/ 24 w 176"/>
                <a:gd name="T61" fmla="*/ 22 h 189"/>
                <a:gd name="T62" fmla="*/ 41 w 176"/>
                <a:gd name="T63" fmla="*/ 22 h 189"/>
                <a:gd name="T64" fmla="*/ 56 w 176"/>
                <a:gd name="T65" fmla="*/ 26 h 189"/>
                <a:gd name="T66" fmla="*/ 67 w 176"/>
                <a:gd name="T67" fmla="*/ 18 h 189"/>
                <a:gd name="T68" fmla="*/ 71 w 176"/>
                <a:gd name="T69" fmla="*/ 5 h 189"/>
                <a:gd name="T70" fmla="*/ 90 w 176"/>
                <a:gd name="T71" fmla="*/ 0 h 189"/>
                <a:gd name="T72" fmla="*/ 108 w 176"/>
                <a:gd name="T73" fmla="*/ 6 h 189"/>
                <a:gd name="T74" fmla="*/ 106 w 176"/>
                <a:gd name="T75" fmla="*/ 1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76" h="189">
                  <a:moveTo>
                    <a:pt x="106" y="19"/>
                  </a:moveTo>
                  <a:lnTo>
                    <a:pt x="107" y="31"/>
                  </a:lnTo>
                  <a:lnTo>
                    <a:pt x="131" y="43"/>
                  </a:lnTo>
                  <a:lnTo>
                    <a:pt x="122" y="56"/>
                  </a:lnTo>
                  <a:lnTo>
                    <a:pt x="144" y="77"/>
                  </a:lnTo>
                  <a:lnTo>
                    <a:pt x="138" y="93"/>
                  </a:lnTo>
                  <a:lnTo>
                    <a:pt x="154" y="106"/>
                  </a:lnTo>
                  <a:lnTo>
                    <a:pt x="151" y="119"/>
                  </a:lnTo>
                  <a:lnTo>
                    <a:pt x="176" y="132"/>
                  </a:lnTo>
                  <a:lnTo>
                    <a:pt x="173" y="141"/>
                  </a:lnTo>
                  <a:lnTo>
                    <a:pt x="162" y="152"/>
                  </a:lnTo>
                  <a:lnTo>
                    <a:pt x="136" y="176"/>
                  </a:lnTo>
                  <a:lnTo>
                    <a:pt x="110" y="178"/>
                  </a:lnTo>
                  <a:lnTo>
                    <a:pt x="85" y="185"/>
                  </a:lnTo>
                  <a:lnTo>
                    <a:pt x="62" y="189"/>
                  </a:lnTo>
                  <a:lnTo>
                    <a:pt x="52" y="179"/>
                  </a:lnTo>
                  <a:lnTo>
                    <a:pt x="37" y="172"/>
                  </a:lnTo>
                  <a:lnTo>
                    <a:pt x="37" y="153"/>
                  </a:lnTo>
                  <a:lnTo>
                    <a:pt x="27" y="136"/>
                  </a:lnTo>
                  <a:lnTo>
                    <a:pt x="32" y="125"/>
                  </a:lnTo>
                  <a:lnTo>
                    <a:pt x="43" y="114"/>
                  </a:lnTo>
                  <a:lnTo>
                    <a:pt x="71" y="93"/>
                  </a:lnTo>
                  <a:lnTo>
                    <a:pt x="80" y="90"/>
                  </a:lnTo>
                  <a:lnTo>
                    <a:pt x="76" y="82"/>
                  </a:lnTo>
                  <a:lnTo>
                    <a:pt x="55" y="73"/>
                  </a:lnTo>
                  <a:lnTo>
                    <a:pt x="49" y="66"/>
                  </a:lnTo>
                  <a:lnTo>
                    <a:pt x="43" y="39"/>
                  </a:lnTo>
                  <a:lnTo>
                    <a:pt x="20" y="27"/>
                  </a:lnTo>
                  <a:lnTo>
                    <a:pt x="0" y="18"/>
                  </a:lnTo>
                  <a:lnTo>
                    <a:pt x="7" y="13"/>
                  </a:lnTo>
                  <a:lnTo>
                    <a:pt x="24" y="22"/>
                  </a:lnTo>
                  <a:lnTo>
                    <a:pt x="41" y="22"/>
                  </a:lnTo>
                  <a:lnTo>
                    <a:pt x="56" y="26"/>
                  </a:lnTo>
                  <a:lnTo>
                    <a:pt x="67" y="18"/>
                  </a:lnTo>
                  <a:lnTo>
                    <a:pt x="71" y="5"/>
                  </a:lnTo>
                  <a:lnTo>
                    <a:pt x="90" y="0"/>
                  </a:lnTo>
                  <a:lnTo>
                    <a:pt x="108" y="6"/>
                  </a:lnTo>
                  <a:lnTo>
                    <a:pt x="106" y="19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07" name="Freeform 64">
              <a:extLst>
                <a:ext uri="{FF2B5EF4-FFF2-40B4-BE49-F238E27FC236}">
                  <a16:creationId xmlns:a16="http://schemas.microsoft.com/office/drawing/2014/main" id="{8F007FB1-8AD7-41A2-AB23-5E3A3CE7C4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4953" y="4252007"/>
              <a:ext cx="69031" cy="31259"/>
            </a:xfrm>
            <a:custGeom>
              <a:avLst/>
              <a:gdLst>
                <a:gd name="T0" fmla="*/ 0 w 53"/>
                <a:gd name="T1" fmla="*/ 15 h 24"/>
                <a:gd name="T2" fmla="*/ 15 w 53"/>
                <a:gd name="T3" fmla="*/ 3 h 24"/>
                <a:gd name="T4" fmla="*/ 30 w 53"/>
                <a:gd name="T5" fmla="*/ 8 h 24"/>
                <a:gd name="T6" fmla="*/ 37 w 53"/>
                <a:gd name="T7" fmla="*/ 0 h 24"/>
                <a:gd name="T8" fmla="*/ 53 w 53"/>
                <a:gd name="T9" fmla="*/ 9 h 24"/>
                <a:gd name="T10" fmla="*/ 50 w 53"/>
                <a:gd name="T11" fmla="*/ 16 h 24"/>
                <a:gd name="T12" fmla="*/ 31 w 53"/>
                <a:gd name="T13" fmla="*/ 22 h 24"/>
                <a:gd name="T14" fmla="*/ 21 w 53"/>
                <a:gd name="T15" fmla="*/ 15 h 24"/>
                <a:gd name="T16" fmla="*/ 11 w 53"/>
                <a:gd name="T17" fmla="*/ 24 h 24"/>
                <a:gd name="T18" fmla="*/ 0 w 53"/>
                <a:gd name="T19" fmla="*/ 1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24">
                  <a:moveTo>
                    <a:pt x="0" y="15"/>
                  </a:moveTo>
                  <a:lnTo>
                    <a:pt x="15" y="3"/>
                  </a:lnTo>
                  <a:lnTo>
                    <a:pt x="30" y="8"/>
                  </a:lnTo>
                  <a:lnTo>
                    <a:pt x="37" y="0"/>
                  </a:lnTo>
                  <a:lnTo>
                    <a:pt x="53" y="9"/>
                  </a:lnTo>
                  <a:lnTo>
                    <a:pt x="50" y="16"/>
                  </a:lnTo>
                  <a:lnTo>
                    <a:pt x="31" y="22"/>
                  </a:lnTo>
                  <a:lnTo>
                    <a:pt x="21" y="15"/>
                  </a:lnTo>
                  <a:lnTo>
                    <a:pt x="11" y="24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08" name="Freeform 65">
              <a:extLst>
                <a:ext uri="{FF2B5EF4-FFF2-40B4-BE49-F238E27FC236}">
                  <a16:creationId xmlns:a16="http://schemas.microsoft.com/office/drawing/2014/main" id="{AF22BBC6-6AB2-4099-B363-97BFBAAF98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6762" y="2720314"/>
              <a:ext cx="69031" cy="100290"/>
            </a:xfrm>
            <a:custGeom>
              <a:avLst/>
              <a:gdLst>
                <a:gd name="T0" fmla="*/ 36 w 53"/>
                <a:gd name="T1" fmla="*/ 67 h 77"/>
                <a:gd name="T2" fmla="*/ 29 w 53"/>
                <a:gd name="T3" fmla="*/ 75 h 77"/>
                <a:gd name="T4" fmla="*/ 20 w 53"/>
                <a:gd name="T5" fmla="*/ 77 h 77"/>
                <a:gd name="T6" fmla="*/ 18 w 53"/>
                <a:gd name="T7" fmla="*/ 71 h 77"/>
                <a:gd name="T8" fmla="*/ 13 w 53"/>
                <a:gd name="T9" fmla="*/ 70 h 77"/>
                <a:gd name="T10" fmla="*/ 8 w 53"/>
                <a:gd name="T11" fmla="*/ 76 h 77"/>
                <a:gd name="T12" fmla="*/ 0 w 53"/>
                <a:gd name="T13" fmla="*/ 71 h 77"/>
                <a:gd name="T14" fmla="*/ 4 w 53"/>
                <a:gd name="T15" fmla="*/ 62 h 77"/>
                <a:gd name="T16" fmla="*/ 6 w 53"/>
                <a:gd name="T17" fmla="*/ 53 h 77"/>
                <a:gd name="T18" fmla="*/ 10 w 53"/>
                <a:gd name="T19" fmla="*/ 44 h 77"/>
                <a:gd name="T20" fmla="*/ 2 w 53"/>
                <a:gd name="T21" fmla="*/ 32 h 77"/>
                <a:gd name="T22" fmla="*/ 1 w 53"/>
                <a:gd name="T23" fmla="*/ 18 h 77"/>
                <a:gd name="T24" fmla="*/ 11 w 53"/>
                <a:gd name="T25" fmla="*/ 0 h 77"/>
                <a:gd name="T26" fmla="*/ 17 w 53"/>
                <a:gd name="T27" fmla="*/ 2 h 77"/>
                <a:gd name="T28" fmla="*/ 31 w 53"/>
                <a:gd name="T29" fmla="*/ 7 h 77"/>
                <a:gd name="T30" fmla="*/ 50 w 53"/>
                <a:gd name="T31" fmla="*/ 25 h 77"/>
                <a:gd name="T32" fmla="*/ 53 w 53"/>
                <a:gd name="T33" fmla="*/ 33 h 77"/>
                <a:gd name="T34" fmla="*/ 42 w 53"/>
                <a:gd name="T35" fmla="*/ 52 h 77"/>
                <a:gd name="T36" fmla="*/ 36 w 53"/>
                <a:gd name="T37" fmla="*/ 6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3" h="77">
                  <a:moveTo>
                    <a:pt x="36" y="67"/>
                  </a:moveTo>
                  <a:lnTo>
                    <a:pt x="29" y="75"/>
                  </a:lnTo>
                  <a:lnTo>
                    <a:pt x="20" y="77"/>
                  </a:lnTo>
                  <a:lnTo>
                    <a:pt x="18" y="71"/>
                  </a:lnTo>
                  <a:lnTo>
                    <a:pt x="13" y="70"/>
                  </a:lnTo>
                  <a:lnTo>
                    <a:pt x="8" y="76"/>
                  </a:lnTo>
                  <a:lnTo>
                    <a:pt x="0" y="71"/>
                  </a:lnTo>
                  <a:lnTo>
                    <a:pt x="4" y="62"/>
                  </a:lnTo>
                  <a:lnTo>
                    <a:pt x="6" y="53"/>
                  </a:lnTo>
                  <a:lnTo>
                    <a:pt x="10" y="44"/>
                  </a:lnTo>
                  <a:lnTo>
                    <a:pt x="2" y="32"/>
                  </a:lnTo>
                  <a:lnTo>
                    <a:pt x="1" y="18"/>
                  </a:lnTo>
                  <a:lnTo>
                    <a:pt x="11" y="0"/>
                  </a:lnTo>
                  <a:lnTo>
                    <a:pt x="17" y="2"/>
                  </a:lnTo>
                  <a:lnTo>
                    <a:pt x="31" y="7"/>
                  </a:lnTo>
                  <a:lnTo>
                    <a:pt x="50" y="25"/>
                  </a:lnTo>
                  <a:lnTo>
                    <a:pt x="53" y="33"/>
                  </a:lnTo>
                  <a:lnTo>
                    <a:pt x="42" y="52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09" name="Freeform 66">
              <a:extLst>
                <a:ext uri="{FF2B5EF4-FFF2-40B4-BE49-F238E27FC236}">
                  <a16:creationId xmlns:a16="http://schemas.microsoft.com/office/drawing/2014/main" id="{0DCEBE6C-0927-4394-A9CB-6AD9F6B2CDB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6776" y="1714814"/>
              <a:ext cx="22142" cy="42982"/>
            </a:xfrm>
            <a:custGeom>
              <a:avLst/>
              <a:gdLst>
                <a:gd name="T0" fmla="*/ 17 w 17"/>
                <a:gd name="T1" fmla="*/ 17 h 33"/>
                <a:gd name="T2" fmla="*/ 13 w 17"/>
                <a:gd name="T3" fmla="*/ 33 h 33"/>
                <a:gd name="T4" fmla="*/ 5 w 17"/>
                <a:gd name="T5" fmla="*/ 29 h 33"/>
                <a:gd name="T6" fmla="*/ 0 w 17"/>
                <a:gd name="T7" fmla="*/ 15 h 33"/>
                <a:gd name="T8" fmla="*/ 3 w 17"/>
                <a:gd name="T9" fmla="*/ 7 h 33"/>
                <a:gd name="T10" fmla="*/ 14 w 17"/>
                <a:gd name="T11" fmla="*/ 0 h 33"/>
                <a:gd name="T12" fmla="*/ 17 w 17"/>
                <a:gd name="T13" fmla="*/ 1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33">
                  <a:moveTo>
                    <a:pt x="17" y="17"/>
                  </a:moveTo>
                  <a:lnTo>
                    <a:pt x="13" y="33"/>
                  </a:lnTo>
                  <a:lnTo>
                    <a:pt x="5" y="29"/>
                  </a:lnTo>
                  <a:lnTo>
                    <a:pt x="0" y="15"/>
                  </a:lnTo>
                  <a:lnTo>
                    <a:pt x="3" y="7"/>
                  </a:lnTo>
                  <a:lnTo>
                    <a:pt x="14" y="0"/>
                  </a:lnTo>
                  <a:lnTo>
                    <a:pt x="17" y="17"/>
                  </a:lnTo>
                  <a:close/>
                </a:path>
              </a:pathLst>
            </a:custGeom>
            <a:solidFill>
              <a:srgbClr val="FFD606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10" name="Freeform 67">
              <a:extLst>
                <a:ext uri="{FF2B5EF4-FFF2-40B4-BE49-F238E27FC236}">
                  <a16:creationId xmlns:a16="http://schemas.microsoft.com/office/drawing/2014/main" id="{BD28B4FF-8A2F-4D12-B350-1F0F28BB7F2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4142" y="1498606"/>
              <a:ext cx="265702" cy="233141"/>
            </a:xfrm>
            <a:custGeom>
              <a:avLst/>
              <a:gdLst>
                <a:gd name="T0" fmla="*/ 131 w 204"/>
                <a:gd name="T1" fmla="*/ 15 h 179"/>
                <a:gd name="T2" fmla="*/ 143 w 204"/>
                <a:gd name="T3" fmla="*/ 25 h 179"/>
                <a:gd name="T4" fmla="*/ 151 w 204"/>
                <a:gd name="T5" fmla="*/ 23 h 179"/>
                <a:gd name="T6" fmla="*/ 165 w 204"/>
                <a:gd name="T7" fmla="*/ 33 h 179"/>
                <a:gd name="T8" fmla="*/ 169 w 204"/>
                <a:gd name="T9" fmla="*/ 34 h 179"/>
                <a:gd name="T10" fmla="*/ 173 w 204"/>
                <a:gd name="T11" fmla="*/ 34 h 179"/>
                <a:gd name="T12" fmla="*/ 181 w 204"/>
                <a:gd name="T13" fmla="*/ 39 h 179"/>
                <a:gd name="T14" fmla="*/ 204 w 204"/>
                <a:gd name="T15" fmla="*/ 43 h 179"/>
                <a:gd name="T16" fmla="*/ 197 w 204"/>
                <a:gd name="T17" fmla="*/ 57 h 179"/>
                <a:gd name="T18" fmla="*/ 195 w 204"/>
                <a:gd name="T19" fmla="*/ 71 h 179"/>
                <a:gd name="T20" fmla="*/ 191 w 204"/>
                <a:gd name="T21" fmla="*/ 75 h 179"/>
                <a:gd name="T22" fmla="*/ 184 w 204"/>
                <a:gd name="T23" fmla="*/ 73 h 179"/>
                <a:gd name="T24" fmla="*/ 184 w 204"/>
                <a:gd name="T25" fmla="*/ 78 h 179"/>
                <a:gd name="T26" fmla="*/ 173 w 204"/>
                <a:gd name="T27" fmla="*/ 89 h 179"/>
                <a:gd name="T28" fmla="*/ 173 w 204"/>
                <a:gd name="T29" fmla="*/ 99 h 179"/>
                <a:gd name="T30" fmla="*/ 181 w 204"/>
                <a:gd name="T31" fmla="*/ 96 h 179"/>
                <a:gd name="T32" fmla="*/ 186 w 204"/>
                <a:gd name="T33" fmla="*/ 105 h 179"/>
                <a:gd name="T34" fmla="*/ 186 w 204"/>
                <a:gd name="T35" fmla="*/ 110 h 179"/>
                <a:gd name="T36" fmla="*/ 191 w 204"/>
                <a:gd name="T37" fmla="*/ 118 h 179"/>
                <a:gd name="T38" fmla="*/ 186 w 204"/>
                <a:gd name="T39" fmla="*/ 124 h 179"/>
                <a:gd name="T40" fmla="*/ 190 w 204"/>
                <a:gd name="T41" fmla="*/ 140 h 179"/>
                <a:gd name="T42" fmla="*/ 199 w 204"/>
                <a:gd name="T43" fmla="*/ 143 h 179"/>
                <a:gd name="T44" fmla="*/ 198 w 204"/>
                <a:gd name="T45" fmla="*/ 151 h 179"/>
                <a:gd name="T46" fmla="*/ 183 w 204"/>
                <a:gd name="T47" fmla="*/ 163 h 179"/>
                <a:gd name="T48" fmla="*/ 150 w 204"/>
                <a:gd name="T49" fmla="*/ 157 h 179"/>
                <a:gd name="T50" fmla="*/ 126 w 204"/>
                <a:gd name="T51" fmla="*/ 164 h 179"/>
                <a:gd name="T52" fmla="*/ 124 w 204"/>
                <a:gd name="T53" fmla="*/ 177 h 179"/>
                <a:gd name="T54" fmla="*/ 105 w 204"/>
                <a:gd name="T55" fmla="*/ 179 h 179"/>
                <a:gd name="T56" fmla="*/ 86 w 204"/>
                <a:gd name="T57" fmla="*/ 170 h 179"/>
                <a:gd name="T58" fmla="*/ 80 w 204"/>
                <a:gd name="T59" fmla="*/ 174 h 179"/>
                <a:gd name="T60" fmla="*/ 49 w 204"/>
                <a:gd name="T61" fmla="*/ 165 h 179"/>
                <a:gd name="T62" fmla="*/ 43 w 204"/>
                <a:gd name="T63" fmla="*/ 157 h 179"/>
                <a:gd name="T64" fmla="*/ 51 w 204"/>
                <a:gd name="T65" fmla="*/ 145 h 179"/>
                <a:gd name="T66" fmla="*/ 55 w 204"/>
                <a:gd name="T67" fmla="*/ 104 h 179"/>
                <a:gd name="T68" fmla="*/ 38 w 204"/>
                <a:gd name="T69" fmla="*/ 83 h 179"/>
                <a:gd name="T70" fmla="*/ 26 w 204"/>
                <a:gd name="T71" fmla="*/ 72 h 179"/>
                <a:gd name="T72" fmla="*/ 2 w 204"/>
                <a:gd name="T73" fmla="*/ 65 h 179"/>
                <a:gd name="T74" fmla="*/ 0 w 204"/>
                <a:gd name="T75" fmla="*/ 50 h 179"/>
                <a:gd name="T76" fmla="*/ 21 w 204"/>
                <a:gd name="T77" fmla="*/ 45 h 179"/>
                <a:gd name="T78" fmla="*/ 48 w 204"/>
                <a:gd name="T79" fmla="*/ 50 h 179"/>
                <a:gd name="T80" fmla="*/ 44 w 204"/>
                <a:gd name="T81" fmla="*/ 27 h 179"/>
                <a:gd name="T82" fmla="*/ 58 w 204"/>
                <a:gd name="T83" fmla="*/ 36 h 179"/>
                <a:gd name="T84" fmla="*/ 96 w 204"/>
                <a:gd name="T85" fmla="*/ 20 h 179"/>
                <a:gd name="T86" fmla="*/ 100 w 204"/>
                <a:gd name="T87" fmla="*/ 4 h 179"/>
                <a:gd name="T88" fmla="*/ 114 w 204"/>
                <a:gd name="T89" fmla="*/ 0 h 179"/>
                <a:gd name="T90" fmla="*/ 117 w 204"/>
                <a:gd name="T91" fmla="*/ 7 h 179"/>
                <a:gd name="T92" fmla="*/ 124 w 204"/>
                <a:gd name="T93" fmla="*/ 7 h 179"/>
                <a:gd name="T94" fmla="*/ 131 w 204"/>
                <a:gd name="T95" fmla="*/ 1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4" h="179">
                  <a:moveTo>
                    <a:pt x="131" y="15"/>
                  </a:moveTo>
                  <a:lnTo>
                    <a:pt x="143" y="25"/>
                  </a:lnTo>
                  <a:lnTo>
                    <a:pt x="151" y="23"/>
                  </a:lnTo>
                  <a:lnTo>
                    <a:pt x="165" y="33"/>
                  </a:lnTo>
                  <a:lnTo>
                    <a:pt x="169" y="34"/>
                  </a:lnTo>
                  <a:lnTo>
                    <a:pt x="173" y="34"/>
                  </a:lnTo>
                  <a:lnTo>
                    <a:pt x="181" y="39"/>
                  </a:lnTo>
                  <a:lnTo>
                    <a:pt x="204" y="43"/>
                  </a:lnTo>
                  <a:lnTo>
                    <a:pt x="197" y="57"/>
                  </a:lnTo>
                  <a:lnTo>
                    <a:pt x="195" y="71"/>
                  </a:lnTo>
                  <a:lnTo>
                    <a:pt x="191" y="75"/>
                  </a:lnTo>
                  <a:lnTo>
                    <a:pt x="184" y="73"/>
                  </a:lnTo>
                  <a:lnTo>
                    <a:pt x="184" y="78"/>
                  </a:lnTo>
                  <a:lnTo>
                    <a:pt x="173" y="89"/>
                  </a:lnTo>
                  <a:lnTo>
                    <a:pt x="173" y="99"/>
                  </a:lnTo>
                  <a:lnTo>
                    <a:pt x="181" y="96"/>
                  </a:lnTo>
                  <a:lnTo>
                    <a:pt x="186" y="105"/>
                  </a:lnTo>
                  <a:lnTo>
                    <a:pt x="186" y="110"/>
                  </a:lnTo>
                  <a:lnTo>
                    <a:pt x="191" y="118"/>
                  </a:lnTo>
                  <a:lnTo>
                    <a:pt x="186" y="124"/>
                  </a:lnTo>
                  <a:lnTo>
                    <a:pt x="190" y="140"/>
                  </a:lnTo>
                  <a:lnTo>
                    <a:pt x="199" y="143"/>
                  </a:lnTo>
                  <a:lnTo>
                    <a:pt x="198" y="151"/>
                  </a:lnTo>
                  <a:lnTo>
                    <a:pt x="183" y="163"/>
                  </a:lnTo>
                  <a:lnTo>
                    <a:pt x="150" y="157"/>
                  </a:lnTo>
                  <a:lnTo>
                    <a:pt x="126" y="164"/>
                  </a:lnTo>
                  <a:lnTo>
                    <a:pt x="124" y="177"/>
                  </a:lnTo>
                  <a:lnTo>
                    <a:pt x="105" y="179"/>
                  </a:lnTo>
                  <a:lnTo>
                    <a:pt x="86" y="170"/>
                  </a:lnTo>
                  <a:lnTo>
                    <a:pt x="80" y="174"/>
                  </a:lnTo>
                  <a:lnTo>
                    <a:pt x="49" y="165"/>
                  </a:lnTo>
                  <a:lnTo>
                    <a:pt x="43" y="157"/>
                  </a:lnTo>
                  <a:lnTo>
                    <a:pt x="51" y="145"/>
                  </a:lnTo>
                  <a:lnTo>
                    <a:pt x="55" y="104"/>
                  </a:lnTo>
                  <a:lnTo>
                    <a:pt x="38" y="83"/>
                  </a:lnTo>
                  <a:lnTo>
                    <a:pt x="26" y="72"/>
                  </a:lnTo>
                  <a:lnTo>
                    <a:pt x="2" y="65"/>
                  </a:lnTo>
                  <a:lnTo>
                    <a:pt x="0" y="50"/>
                  </a:lnTo>
                  <a:lnTo>
                    <a:pt x="21" y="45"/>
                  </a:lnTo>
                  <a:lnTo>
                    <a:pt x="48" y="50"/>
                  </a:lnTo>
                  <a:lnTo>
                    <a:pt x="44" y="27"/>
                  </a:lnTo>
                  <a:lnTo>
                    <a:pt x="58" y="36"/>
                  </a:lnTo>
                  <a:lnTo>
                    <a:pt x="96" y="20"/>
                  </a:lnTo>
                  <a:lnTo>
                    <a:pt x="100" y="4"/>
                  </a:lnTo>
                  <a:lnTo>
                    <a:pt x="114" y="0"/>
                  </a:lnTo>
                  <a:lnTo>
                    <a:pt x="117" y="7"/>
                  </a:lnTo>
                  <a:lnTo>
                    <a:pt x="124" y="7"/>
                  </a:lnTo>
                  <a:lnTo>
                    <a:pt x="131" y="15"/>
                  </a:lnTo>
                  <a:close/>
                </a:path>
              </a:pathLst>
            </a:custGeom>
            <a:solidFill>
              <a:srgbClr val="FFD606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11" name="Freeform 68">
              <a:extLst>
                <a:ext uri="{FF2B5EF4-FFF2-40B4-BE49-F238E27FC236}">
                  <a16:creationId xmlns:a16="http://schemas.microsoft.com/office/drawing/2014/main" id="{80D9F356-D676-418B-AD83-3A20201DA2A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1523" y="2812788"/>
              <a:ext cx="134154" cy="170623"/>
            </a:xfrm>
            <a:custGeom>
              <a:avLst/>
              <a:gdLst>
                <a:gd name="T0" fmla="*/ 42 w 103"/>
                <a:gd name="T1" fmla="*/ 131 h 131"/>
                <a:gd name="T2" fmla="*/ 23 w 103"/>
                <a:gd name="T3" fmla="*/ 110 h 131"/>
                <a:gd name="T4" fmla="*/ 11 w 103"/>
                <a:gd name="T5" fmla="*/ 93 h 131"/>
                <a:gd name="T6" fmla="*/ 0 w 103"/>
                <a:gd name="T7" fmla="*/ 71 h 131"/>
                <a:gd name="T8" fmla="*/ 1 w 103"/>
                <a:gd name="T9" fmla="*/ 65 h 131"/>
                <a:gd name="T10" fmla="*/ 5 w 103"/>
                <a:gd name="T11" fmla="*/ 58 h 131"/>
                <a:gd name="T12" fmla="*/ 9 w 103"/>
                <a:gd name="T13" fmla="*/ 43 h 131"/>
                <a:gd name="T14" fmla="*/ 13 w 103"/>
                <a:gd name="T15" fmla="*/ 27 h 131"/>
                <a:gd name="T16" fmla="*/ 19 w 103"/>
                <a:gd name="T17" fmla="*/ 26 h 131"/>
                <a:gd name="T18" fmla="*/ 46 w 103"/>
                <a:gd name="T19" fmla="*/ 26 h 131"/>
                <a:gd name="T20" fmla="*/ 46 w 103"/>
                <a:gd name="T21" fmla="*/ 1 h 131"/>
                <a:gd name="T22" fmla="*/ 54 w 103"/>
                <a:gd name="T23" fmla="*/ 0 h 131"/>
                <a:gd name="T24" fmla="*/ 65 w 103"/>
                <a:gd name="T25" fmla="*/ 3 h 131"/>
                <a:gd name="T26" fmla="*/ 76 w 103"/>
                <a:gd name="T27" fmla="*/ 0 h 131"/>
                <a:gd name="T28" fmla="*/ 79 w 103"/>
                <a:gd name="T29" fmla="*/ 1 h 131"/>
                <a:gd name="T30" fmla="*/ 77 w 103"/>
                <a:gd name="T31" fmla="*/ 10 h 131"/>
                <a:gd name="T32" fmla="*/ 82 w 103"/>
                <a:gd name="T33" fmla="*/ 21 h 131"/>
                <a:gd name="T34" fmla="*/ 96 w 103"/>
                <a:gd name="T35" fmla="*/ 19 h 131"/>
                <a:gd name="T36" fmla="*/ 101 w 103"/>
                <a:gd name="T37" fmla="*/ 24 h 131"/>
                <a:gd name="T38" fmla="*/ 93 w 103"/>
                <a:gd name="T39" fmla="*/ 48 h 131"/>
                <a:gd name="T40" fmla="*/ 102 w 103"/>
                <a:gd name="T41" fmla="*/ 60 h 131"/>
                <a:gd name="T42" fmla="*/ 103 w 103"/>
                <a:gd name="T43" fmla="*/ 76 h 131"/>
                <a:gd name="T44" fmla="*/ 101 w 103"/>
                <a:gd name="T45" fmla="*/ 90 h 131"/>
                <a:gd name="T46" fmla="*/ 95 w 103"/>
                <a:gd name="T47" fmla="*/ 100 h 131"/>
                <a:gd name="T48" fmla="*/ 79 w 103"/>
                <a:gd name="T49" fmla="*/ 99 h 131"/>
                <a:gd name="T50" fmla="*/ 69 w 103"/>
                <a:gd name="T51" fmla="*/ 89 h 131"/>
                <a:gd name="T52" fmla="*/ 68 w 103"/>
                <a:gd name="T53" fmla="*/ 98 h 131"/>
                <a:gd name="T54" fmla="*/ 56 w 103"/>
                <a:gd name="T55" fmla="*/ 101 h 131"/>
                <a:gd name="T56" fmla="*/ 49 w 103"/>
                <a:gd name="T57" fmla="*/ 106 h 131"/>
                <a:gd name="T58" fmla="*/ 56 w 103"/>
                <a:gd name="T59" fmla="*/ 120 h 131"/>
                <a:gd name="T60" fmla="*/ 42 w 103"/>
                <a:gd name="T61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3" h="131">
                  <a:moveTo>
                    <a:pt x="42" y="131"/>
                  </a:moveTo>
                  <a:lnTo>
                    <a:pt x="23" y="110"/>
                  </a:lnTo>
                  <a:lnTo>
                    <a:pt x="11" y="93"/>
                  </a:lnTo>
                  <a:lnTo>
                    <a:pt x="0" y="71"/>
                  </a:lnTo>
                  <a:lnTo>
                    <a:pt x="1" y="65"/>
                  </a:lnTo>
                  <a:lnTo>
                    <a:pt x="5" y="58"/>
                  </a:lnTo>
                  <a:lnTo>
                    <a:pt x="9" y="43"/>
                  </a:lnTo>
                  <a:lnTo>
                    <a:pt x="13" y="27"/>
                  </a:lnTo>
                  <a:lnTo>
                    <a:pt x="19" y="26"/>
                  </a:lnTo>
                  <a:lnTo>
                    <a:pt x="46" y="26"/>
                  </a:lnTo>
                  <a:lnTo>
                    <a:pt x="46" y="1"/>
                  </a:lnTo>
                  <a:lnTo>
                    <a:pt x="54" y="0"/>
                  </a:lnTo>
                  <a:lnTo>
                    <a:pt x="65" y="3"/>
                  </a:lnTo>
                  <a:lnTo>
                    <a:pt x="76" y="0"/>
                  </a:lnTo>
                  <a:lnTo>
                    <a:pt x="79" y="1"/>
                  </a:lnTo>
                  <a:lnTo>
                    <a:pt x="77" y="10"/>
                  </a:lnTo>
                  <a:lnTo>
                    <a:pt x="82" y="21"/>
                  </a:lnTo>
                  <a:lnTo>
                    <a:pt x="96" y="19"/>
                  </a:lnTo>
                  <a:lnTo>
                    <a:pt x="101" y="24"/>
                  </a:lnTo>
                  <a:lnTo>
                    <a:pt x="93" y="48"/>
                  </a:lnTo>
                  <a:lnTo>
                    <a:pt x="102" y="60"/>
                  </a:lnTo>
                  <a:lnTo>
                    <a:pt x="103" y="76"/>
                  </a:lnTo>
                  <a:lnTo>
                    <a:pt x="101" y="90"/>
                  </a:lnTo>
                  <a:lnTo>
                    <a:pt x="95" y="100"/>
                  </a:lnTo>
                  <a:lnTo>
                    <a:pt x="79" y="99"/>
                  </a:lnTo>
                  <a:lnTo>
                    <a:pt x="69" y="89"/>
                  </a:lnTo>
                  <a:lnTo>
                    <a:pt x="68" y="98"/>
                  </a:lnTo>
                  <a:lnTo>
                    <a:pt x="56" y="101"/>
                  </a:lnTo>
                  <a:lnTo>
                    <a:pt x="49" y="106"/>
                  </a:lnTo>
                  <a:lnTo>
                    <a:pt x="56" y="120"/>
                  </a:lnTo>
                  <a:lnTo>
                    <a:pt x="42" y="13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12" name="Freeform 69">
              <a:extLst>
                <a:ext uri="{FF2B5EF4-FFF2-40B4-BE49-F238E27FC236}">
                  <a16:creationId xmlns:a16="http://schemas.microsoft.com/office/drawing/2014/main" id="{0677ADD5-5C69-457A-B6A6-CECE8D4BB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8136" y="1393107"/>
              <a:ext cx="39074" cy="33864"/>
            </a:xfrm>
            <a:custGeom>
              <a:avLst/>
              <a:gdLst>
                <a:gd name="T0" fmla="*/ 30 w 30"/>
                <a:gd name="T1" fmla="*/ 13 h 26"/>
                <a:gd name="T2" fmla="*/ 21 w 30"/>
                <a:gd name="T3" fmla="*/ 26 h 26"/>
                <a:gd name="T4" fmla="*/ 10 w 30"/>
                <a:gd name="T5" fmla="*/ 22 h 26"/>
                <a:gd name="T6" fmla="*/ 0 w 30"/>
                <a:gd name="T7" fmla="*/ 23 h 26"/>
                <a:gd name="T8" fmla="*/ 4 w 30"/>
                <a:gd name="T9" fmla="*/ 12 h 26"/>
                <a:gd name="T10" fmla="*/ 1 w 30"/>
                <a:gd name="T11" fmla="*/ 1 h 26"/>
                <a:gd name="T12" fmla="*/ 14 w 30"/>
                <a:gd name="T13" fmla="*/ 0 h 26"/>
                <a:gd name="T14" fmla="*/ 30 w 30"/>
                <a:gd name="T15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26">
                  <a:moveTo>
                    <a:pt x="30" y="13"/>
                  </a:moveTo>
                  <a:lnTo>
                    <a:pt x="21" y="26"/>
                  </a:lnTo>
                  <a:lnTo>
                    <a:pt x="10" y="22"/>
                  </a:lnTo>
                  <a:lnTo>
                    <a:pt x="0" y="23"/>
                  </a:lnTo>
                  <a:lnTo>
                    <a:pt x="4" y="12"/>
                  </a:lnTo>
                  <a:lnTo>
                    <a:pt x="1" y="1"/>
                  </a:lnTo>
                  <a:lnTo>
                    <a:pt x="14" y="0"/>
                  </a:lnTo>
                  <a:lnTo>
                    <a:pt x="30" y="13"/>
                  </a:lnTo>
                  <a:close/>
                </a:path>
              </a:pathLst>
            </a:custGeom>
            <a:solidFill>
              <a:srgbClr val="FFD606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13" name="Freeform 70">
              <a:extLst>
                <a:ext uri="{FF2B5EF4-FFF2-40B4-BE49-F238E27FC236}">
                  <a16:creationId xmlns:a16="http://schemas.microsoft.com/office/drawing/2014/main" id="{E65D585D-72E2-47CF-A192-08D09457635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9395" y="1305841"/>
              <a:ext cx="156295" cy="224023"/>
            </a:xfrm>
            <a:custGeom>
              <a:avLst/>
              <a:gdLst>
                <a:gd name="T0" fmla="*/ 49 w 120"/>
                <a:gd name="T1" fmla="*/ 0 h 172"/>
                <a:gd name="T2" fmla="*/ 32 w 120"/>
                <a:gd name="T3" fmla="*/ 21 h 172"/>
                <a:gd name="T4" fmla="*/ 47 w 120"/>
                <a:gd name="T5" fmla="*/ 18 h 172"/>
                <a:gd name="T6" fmla="*/ 64 w 120"/>
                <a:gd name="T7" fmla="*/ 18 h 172"/>
                <a:gd name="T8" fmla="*/ 60 w 120"/>
                <a:gd name="T9" fmla="*/ 34 h 172"/>
                <a:gd name="T10" fmla="*/ 46 w 120"/>
                <a:gd name="T11" fmla="*/ 51 h 172"/>
                <a:gd name="T12" fmla="*/ 62 w 120"/>
                <a:gd name="T13" fmla="*/ 53 h 172"/>
                <a:gd name="T14" fmla="*/ 63 w 120"/>
                <a:gd name="T15" fmla="*/ 55 h 172"/>
                <a:gd name="T16" fmla="*/ 76 w 120"/>
                <a:gd name="T17" fmla="*/ 78 h 172"/>
                <a:gd name="T18" fmla="*/ 87 w 120"/>
                <a:gd name="T19" fmla="*/ 82 h 172"/>
                <a:gd name="T20" fmla="*/ 96 w 120"/>
                <a:gd name="T21" fmla="*/ 104 h 172"/>
                <a:gd name="T22" fmla="*/ 101 w 120"/>
                <a:gd name="T23" fmla="*/ 112 h 172"/>
                <a:gd name="T24" fmla="*/ 120 w 120"/>
                <a:gd name="T25" fmla="*/ 116 h 172"/>
                <a:gd name="T26" fmla="*/ 118 w 120"/>
                <a:gd name="T27" fmla="*/ 129 h 172"/>
                <a:gd name="T28" fmla="*/ 110 w 120"/>
                <a:gd name="T29" fmla="*/ 135 h 172"/>
                <a:gd name="T30" fmla="*/ 116 w 120"/>
                <a:gd name="T31" fmla="*/ 145 h 172"/>
                <a:gd name="T32" fmla="*/ 102 w 120"/>
                <a:gd name="T33" fmla="*/ 155 h 172"/>
                <a:gd name="T34" fmla="*/ 81 w 120"/>
                <a:gd name="T35" fmla="*/ 155 h 172"/>
                <a:gd name="T36" fmla="*/ 54 w 120"/>
                <a:gd name="T37" fmla="*/ 161 h 172"/>
                <a:gd name="T38" fmla="*/ 46 w 120"/>
                <a:gd name="T39" fmla="*/ 157 h 172"/>
                <a:gd name="T40" fmla="*/ 36 w 120"/>
                <a:gd name="T41" fmla="*/ 166 h 172"/>
                <a:gd name="T42" fmla="*/ 21 w 120"/>
                <a:gd name="T43" fmla="*/ 164 h 172"/>
                <a:gd name="T44" fmla="*/ 10 w 120"/>
                <a:gd name="T45" fmla="*/ 172 h 172"/>
                <a:gd name="T46" fmla="*/ 1 w 120"/>
                <a:gd name="T47" fmla="*/ 168 h 172"/>
                <a:gd name="T48" fmla="*/ 25 w 120"/>
                <a:gd name="T49" fmla="*/ 147 h 172"/>
                <a:gd name="T50" fmla="*/ 39 w 120"/>
                <a:gd name="T51" fmla="*/ 142 h 172"/>
                <a:gd name="T52" fmla="*/ 39 w 120"/>
                <a:gd name="T53" fmla="*/ 142 h 172"/>
                <a:gd name="T54" fmla="*/ 15 w 120"/>
                <a:gd name="T55" fmla="*/ 139 h 172"/>
                <a:gd name="T56" fmla="*/ 11 w 120"/>
                <a:gd name="T57" fmla="*/ 131 h 172"/>
                <a:gd name="T58" fmla="*/ 27 w 120"/>
                <a:gd name="T59" fmla="*/ 125 h 172"/>
                <a:gd name="T60" fmla="*/ 19 w 120"/>
                <a:gd name="T61" fmla="*/ 114 h 172"/>
                <a:gd name="T62" fmla="*/ 22 w 120"/>
                <a:gd name="T63" fmla="*/ 101 h 172"/>
                <a:gd name="T64" fmla="*/ 45 w 120"/>
                <a:gd name="T65" fmla="*/ 102 h 172"/>
                <a:gd name="T66" fmla="*/ 45 w 120"/>
                <a:gd name="T67" fmla="*/ 102 h 172"/>
                <a:gd name="T68" fmla="*/ 48 w 120"/>
                <a:gd name="T69" fmla="*/ 91 h 172"/>
                <a:gd name="T70" fmla="*/ 38 w 120"/>
                <a:gd name="T71" fmla="*/ 79 h 172"/>
                <a:gd name="T72" fmla="*/ 37 w 120"/>
                <a:gd name="T73" fmla="*/ 79 h 172"/>
                <a:gd name="T74" fmla="*/ 19 w 120"/>
                <a:gd name="T75" fmla="*/ 75 h 172"/>
                <a:gd name="T76" fmla="*/ 15 w 120"/>
                <a:gd name="T77" fmla="*/ 70 h 172"/>
                <a:gd name="T78" fmla="*/ 21 w 120"/>
                <a:gd name="T79" fmla="*/ 61 h 172"/>
                <a:gd name="T80" fmla="*/ 16 w 120"/>
                <a:gd name="T81" fmla="*/ 55 h 172"/>
                <a:gd name="T82" fmla="*/ 8 w 120"/>
                <a:gd name="T83" fmla="*/ 65 h 172"/>
                <a:gd name="T84" fmla="*/ 8 w 120"/>
                <a:gd name="T85" fmla="*/ 46 h 172"/>
                <a:gd name="T86" fmla="*/ 0 w 120"/>
                <a:gd name="T87" fmla="*/ 36 h 172"/>
                <a:gd name="T88" fmla="*/ 7 w 120"/>
                <a:gd name="T89" fmla="*/ 15 h 172"/>
                <a:gd name="T90" fmla="*/ 19 w 120"/>
                <a:gd name="T91" fmla="*/ 0 h 172"/>
                <a:gd name="T92" fmla="*/ 31 w 120"/>
                <a:gd name="T93" fmla="*/ 1 h 172"/>
                <a:gd name="T94" fmla="*/ 49 w 120"/>
                <a:gd name="T95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0" h="172">
                  <a:moveTo>
                    <a:pt x="49" y="0"/>
                  </a:moveTo>
                  <a:lnTo>
                    <a:pt x="32" y="21"/>
                  </a:lnTo>
                  <a:lnTo>
                    <a:pt x="47" y="18"/>
                  </a:lnTo>
                  <a:lnTo>
                    <a:pt x="64" y="18"/>
                  </a:lnTo>
                  <a:lnTo>
                    <a:pt x="60" y="34"/>
                  </a:lnTo>
                  <a:lnTo>
                    <a:pt x="46" y="51"/>
                  </a:lnTo>
                  <a:lnTo>
                    <a:pt x="62" y="53"/>
                  </a:lnTo>
                  <a:lnTo>
                    <a:pt x="63" y="55"/>
                  </a:lnTo>
                  <a:lnTo>
                    <a:pt x="76" y="78"/>
                  </a:lnTo>
                  <a:lnTo>
                    <a:pt x="87" y="82"/>
                  </a:lnTo>
                  <a:lnTo>
                    <a:pt x="96" y="104"/>
                  </a:lnTo>
                  <a:lnTo>
                    <a:pt x="101" y="112"/>
                  </a:lnTo>
                  <a:lnTo>
                    <a:pt x="120" y="116"/>
                  </a:lnTo>
                  <a:lnTo>
                    <a:pt x="118" y="129"/>
                  </a:lnTo>
                  <a:lnTo>
                    <a:pt x="110" y="135"/>
                  </a:lnTo>
                  <a:lnTo>
                    <a:pt x="116" y="145"/>
                  </a:lnTo>
                  <a:lnTo>
                    <a:pt x="102" y="155"/>
                  </a:lnTo>
                  <a:lnTo>
                    <a:pt x="81" y="155"/>
                  </a:lnTo>
                  <a:lnTo>
                    <a:pt x="54" y="161"/>
                  </a:lnTo>
                  <a:lnTo>
                    <a:pt x="46" y="157"/>
                  </a:lnTo>
                  <a:lnTo>
                    <a:pt x="36" y="166"/>
                  </a:lnTo>
                  <a:lnTo>
                    <a:pt x="21" y="164"/>
                  </a:lnTo>
                  <a:lnTo>
                    <a:pt x="10" y="172"/>
                  </a:lnTo>
                  <a:lnTo>
                    <a:pt x="1" y="168"/>
                  </a:lnTo>
                  <a:lnTo>
                    <a:pt x="25" y="147"/>
                  </a:lnTo>
                  <a:lnTo>
                    <a:pt x="39" y="142"/>
                  </a:lnTo>
                  <a:lnTo>
                    <a:pt x="39" y="142"/>
                  </a:lnTo>
                  <a:lnTo>
                    <a:pt x="15" y="139"/>
                  </a:lnTo>
                  <a:lnTo>
                    <a:pt x="11" y="131"/>
                  </a:lnTo>
                  <a:lnTo>
                    <a:pt x="27" y="125"/>
                  </a:lnTo>
                  <a:lnTo>
                    <a:pt x="19" y="114"/>
                  </a:lnTo>
                  <a:lnTo>
                    <a:pt x="22" y="101"/>
                  </a:lnTo>
                  <a:lnTo>
                    <a:pt x="45" y="102"/>
                  </a:lnTo>
                  <a:lnTo>
                    <a:pt x="45" y="102"/>
                  </a:lnTo>
                  <a:lnTo>
                    <a:pt x="48" y="91"/>
                  </a:lnTo>
                  <a:lnTo>
                    <a:pt x="38" y="79"/>
                  </a:lnTo>
                  <a:lnTo>
                    <a:pt x="37" y="79"/>
                  </a:lnTo>
                  <a:lnTo>
                    <a:pt x="19" y="75"/>
                  </a:lnTo>
                  <a:lnTo>
                    <a:pt x="15" y="70"/>
                  </a:lnTo>
                  <a:lnTo>
                    <a:pt x="21" y="61"/>
                  </a:lnTo>
                  <a:lnTo>
                    <a:pt x="16" y="55"/>
                  </a:lnTo>
                  <a:lnTo>
                    <a:pt x="8" y="65"/>
                  </a:lnTo>
                  <a:lnTo>
                    <a:pt x="8" y="46"/>
                  </a:lnTo>
                  <a:lnTo>
                    <a:pt x="0" y="36"/>
                  </a:lnTo>
                  <a:lnTo>
                    <a:pt x="7" y="15"/>
                  </a:lnTo>
                  <a:lnTo>
                    <a:pt x="19" y="0"/>
                  </a:lnTo>
                  <a:lnTo>
                    <a:pt x="31" y="1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FFD606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14" name="Freeform 71">
              <a:extLst>
                <a:ext uri="{FF2B5EF4-FFF2-40B4-BE49-F238E27FC236}">
                  <a16:creationId xmlns:a16="http://schemas.microsoft.com/office/drawing/2014/main" id="{52AC5324-6A04-401D-9D5E-69DAFBBAAF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6659" y="1699184"/>
              <a:ext cx="156295" cy="67728"/>
            </a:xfrm>
            <a:custGeom>
              <a:avLst/>
              <a:gdLst>
                <a:gd name="T0" fmla="*/ 33 w 120"/>
                <a:gd name="T1" fmla="*/ 42 h 52"/>
                <a:gd name="T2" fmla="*/ 34 w 120"/>
                <a:gd name="T3" fmla="*/ 33 h 52"/>
                <a:gd name="T4" fmla="*/ 28 w 120"/>
                <a:gd name="T5" fmla="*/ 19 h 52"/>
                <a:gd name="T6" fmla="*/ 17 w 120"/>
                <a:gd name="T7" fmla="*/ 11 h 52"/>
                <a:gd name="T8" fmla="*/ 7 w 120"/>
                <a:gd name="T9" fmla="*/ 9 h 52"/>
                <a:gd name="T10" fmla="*/ 0 w 120"/>
                <a:gd name="T11" fmla="*/ 3 h 52"/>
                <a:gd name="T12" fmla="*/ 1 w 120"/>
                <a:gd name="T13" fmla="*/ 0 h 52"/>
                <a:gd name="T14" fmla="*/ 16 w 120"/>
                <a:gd name="T15" fmla="*/ 4 h 52"/>
                <a:gd name="T16" fmla="*/ 41 w 120"/>
                <a:gd name="T17" fmla="*/ 7 h 52"/>
                <a:gd name="T18" fmla="*/ 66 w 120"/>
                <a:gd name="T19" fmla="*/ 17 h 52"/>
                <a:gd name="T20" fmla="*/ 69 w 120"/>
                <a:gd name="T21" fmla="*/ 21 h 52"/>
                <a:gd name="T22" fmla="*/ 79 w 120"/>
                <a:gd name="T23" fmla="*/ 18 h 52"/>
                <a:gd name="T24" fmla="*/ 95 w 120"/>
                <a:gd name="T25" fmla="*/ 22 h 52"/>
                <a:gd name="T26" fmla="*/ 102 w 120"/>
                <a:gd name="T27" fmla="*/ 30 h 52"/>
                <a:gd name="T28" fmla="*/ 113 w 120"/>
                <a:gd name="T29" fmla="*/ 35 h 52"/>
                <a:gd name="T30" fmla="*/ 110 w 120"/>
                <a:gd name="T31" fmla="*/ 38 h 52"/>
                <a:gd name="T32" fmla="*/ 120 w 120"/>
                <a:gd name="T33" fmla="*/ 49 h 52"/>
                <a:gd name="T34" fmla="*/ 118 w 120"/>
                <a:gd name="T35" fmla="*/ 52 h 52"/>
                <a:gd name="T36" fmla="*/ 109 w 120"/>
                <a:gd name="T37" fmla="*/ 50 h 52"/>
                <a:gd name="T38" fmla="*/ 95 w 120"/>
                <a:gd name="T39" fmla="*/ 44 h 52"/>
                <a:gd name="T40" fmla="*/ 92 w 120"/>
                <a:gd name="T41" fmla="*/ 48 h 52"/>
                <a:gd name="T42" fmla="*/ 69 w 120"/>
                <a:gd name="T43" fmla="*/ 51 h 52"/>
                <a:gd name="T44" fmla="*/ 51 w 120"/>
                <a:gd name="T45" fmla="*/ 41 h 52"/>
                <a:gd name="T46" fmla="*/ 33 w 120"/>
                <a:gd name="T47" fmla="*/ 4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20" h="52">
                  <a:moveTo>
                    <a:pt x="33" y="42"/>
                  </a:moveTo>
                  <a:lnTo>
                    <a:pt x="34" y="33"/>
                  </a:lnTo>
                  <a:lnTo>
                    <a:pt x="28" y="19"/>
                  </a:lnTo>
                  <a:lnTo>
                    <a:pt x="17" y="11"/>
                  </a:lnTo>
                  <a:lnTo>
                    <a:pt x="7" y="9"/>
                  </a:lnTo>
                  <a:lnTo>
                    <a:pt x="0" y="3"/>
                  </a:lnTo>
                  <a:lnTo>
                    <a:pt x="1" y="0"/>
                  </a:lnTo>
                  <a:lnTo>
                    <a:pt x="16" y="4"/>
                  </a:lnTo>
                  <a:lnTo>
                    <a:pt x="41" y="7"/>
                  </a:lnTo>
                  <a:lnTo>
                    <a:pt x="66" y="17"/>
                  </a:lnTo>
                  <a:lnTo>
                    <a:pt x="69" y="21"/>
                  </a:lnTo>
                  <a:lnTo>
                    <a:pt x="79" y="18"/>
                  </a:lnTo>
                  <a:lnTo>
                    <a:pt x="95" y="22"/>
                  </a:lnTo>
                  <a:lnTo>
                    <a:pt x="102" y="30"/>
                  </a:lnTo>
                  <a:lnTo>
                    <a:pt x="113" y="35"/>
                  </a:lnTo>
                  <a:lnTo>
                    <a:pt x="110" y="38"/>
                  </a:lnTo>
                  <a:lnTo>
                    <a:pt x="120" y="49"/>
                  </a:lnTo>
                  <a:lnTo>
                    <a:pt x="118" y="52"/>
                  </a:lnTo>
                  <a:lnTo>
                    <a:pt x="109" y="50"/>
                  </a:lnTo>
                  <a:lnTo>
                    <a:pt x="95" y="44"/>
                  </a:lnTo>
                  <a:lnTo>
                    <a:pt x="92" y="48"/>
                  </a:lnTo>
                  <a:lnTo>
                    <a:pt x="69" y="51"/>
                  </a:lnTo>
                  <a:lnTo>
                    <a:pt x="51" y="41"/>
                  </a:lnTo>
                  <a:lnTo>
                    <a:pt x="33" y="42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15" name="Freeform 72">
              <a:extLst>
                <a:ext uri="{FF2B5EF4-FFF2-40B4-BE49-F238E27FC236}">
                  <a16:creationId xmlns:a16="http://schemas.microsoft.com/office/drawing/2014/main" id="{EF75D4D9-3E8D-4E06-B606-7C8303958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3679" y="2575740"/>
              <a:ext cx="102895" cy="171925"/>
            </a:xfrm>
            <a:custGeom>
              <a:avLst/>
              <a:gdLst>
                <a:gd name="T0" fmla="*/ 79 w 79"/>
                <a:gd name="T1" fmla="*/ 107 h 132"/>
                <a:gd name="T2" fmla="*/ 50 w 79"/>
                <a:gd name="T3" fmla="*/ 119 h 132"/>
                <a:gd name="T4" fmla="*/ 40 w 79"/>
                <a:gd name="T5" fmla="*/ 127 h 132"/>
                <a:gd name="T6" fmla="*/ 23 w 79"/>
                <a:gd name="T7" fmla="*/ 132 h 132"/>
                <a:gd name="T8" fmla="*/ 7 w 79"/>
                <a:gd name="T9" fmla="*/ 127 h 132"/>
                <a:gd name="T10" fmla="*/ 8 w 79"/>
                <a:gd name="T11" fmla="*/ 119 h 132"/>
                <a:gd name="T12" fmla="*/ 0 w 79"/>
                <a:gd name="T13" fmla="*/ 100 h 132"/>
                <a:gd name="T14" fmla="*/ 5 w 79"/>
                <a:gd name="T15" fmla="*/ 77 h 132"/>
                <a:gd name="T16" fmla="*/ 12 w 79"/>
                <a:gd name="T17" fmla="*/ 60 h 132"/>
                <a:gd name="T18" fmla="*/ 8 w 79"/>
                <a:gd name="T19" fmla="*/ 30 h 132"/>
                <a:gd name="T20" fmla="*/ 5 w 79"/>
                <a:gd name="T21" fmla="*/ 14 h 132"/>
                <a:gd name="T22" fmla="*/ 6 w 79"/>
                <a:gd name="T23" fmla="*/ 3 h 132"/>
                <a:gd name="T24" fmla="*/ 37 w 79"/>
                <a:gd name="T25" fmla="*/ 2 h 132"/>
                <a:gd name="T26" fmla="*/ 45 w 79"/>
                <a:gd name="T27" fmla="*/ 3 h 132"/>
                <a:gd name="T28" fmla="*/ 51 w 79"/>
                <a:gd name="T29" fmla="*/ 0 h 132"/>
                <a:gd name="T30" fmla="*/ 60 w 79"/>
                <a:gd name="T31" fmla="*/ 1 h 132"/>
                <a:gd name="T32" fmla="*/ 58 w 79"/>
                <a:gd name="T33" fmla="*/ 8 h 132"/>
                <a:gd name="T34" fmla="*/ 66 w 79"/>
                <a:gd name="T35" fmla="*/ 19 h 132"/>
                <a:gd name="T36" fmla="*/ 66 w 79"/>
                <a:gd name="T37" fmla="*/ 34 h 132"/>
                <a:gd name="T38" fmla="*/ 68 w 79"/>
                <a:gd name="T39" fmla="*/ 50 h 132"/>
                <a:gd name="T40" fmla="*/ 72 w 79"/>
                <a:gd name="T41" fmla="*/ 58 h 132"/>
                <a:gd name="T42" fmla="*/ 68 w 79"/>
                <a:gd name="T43" fmla="*/ 76 h 132"/>
                <a:gd name="T44" fmla="*/ 70 w 79"/>
                <a:gd name="T45" fmla="*/ 87 h 132"/>
                <a:gd name="T46" fmla="*/ 75 w 79"/>
                <a:gd name="T47" fmla="*/ 100 h 132"/>
                <a:gd name="T48" fmla="*/ 79 w 79"/>
                <a:gd name="T49" fmla="*/ 107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132">
                  <a:moveTo>
                    <a:pt x="79" y="107"/>
                  </a:moveTo>
                  <a:lnTo>
                    <a:pt x="50" y="119"/>
                  </a:lnTo>
                  <a:lnTo>
                    <a:pt x="40" y="127"/>
                  </a:lnTo>
                  <a:lnTo>
                    <a:pt x="23" y="132"/>
                  </a:lnTo>
                  <a:lnTo>
                    <a:pt x="7" y="127"/>
                  </a:lnTo>
                  <a:lnTo>
                    <a:pt x="8" y="119"/>
                  </a:lnTo>
                  <a:lnTo>
                    <a:pt x="0" y="100"/>
                  </a:lnTo>
                  <a:lnTo>
                    <a:pt x="5" y="77"/>
                  </a:lnTo>
                  <a:lnTo>
                    <a:pt x="12" y="60"/>
                  </a:lnTo>
                  <a:lnTo>
                    <a:pt x="8" y="30"/>
                  </a:lnTo>
                  <a:lnTo>
                    <a:pt x="5" y="14"/>
                  </a:lnTo>
                  <a:lnTo>
                    <a:pt x="6" y="3"/>
                  </a:lnTo>
                  <a:lnTo>
                    <a:pt x="37" y="2"/>
                  </a:lnTo>
                  <a:lnTo>
                    <a:pt x="45" y="3"/>
                  </a:lnTo>
                  <a:lnTo>
                    <a:pt x="51" y="0"/>
                  </a:lnTo>
                  <a:lnTo>
                    <a:pt x="60" y="1"/>
                  </a:lnTo>
                  <a:lnTo>
                    <a:pt x="58" y="8"/>
                  </a:lnTo>
                  <a:lnTo>
                    <a:pt x="66" y="19"/>
                  </a:lnTo>
                  <a:lnTo>
                    <a:pt x="66" y="34"/>
                  </a:lnTo>
                  <a:lnTo>
                    <a:pt x="68" y="50"/>
                  </a:lnTo>
                  <a:lnTo>
                    <a:pt x="72" y="58"/>
                  </a:lnTo>
                  <a:lnTo>
                    <a:pt x="68" y="76"/>
                  </a:lnTo>
                  <a:lnTo>
                    <a:pt x="70" y="87"/>
                  </a:lnTo>
                  <a:lnTo>
                    <a:pt x="75" y="100"/>
                  </a:lnTo>
                  <a:lnTo>
                    <a:pt x="79" y="10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16" name="Freeform 73">
              <a:extLst>
                <a:ext uri="{FF2B5EF4-FFF2-40B4-BE49-F238E27FC236}">
                  <a16:creationId xmlns:a16="http://schemas.microsoft.com/office/drawing/2014/main" id="{66800128-0FE2-433E-95AA-8488596B4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1045" y="2535364"/>
              <a:ext cx="173228" cy="143271"/>
            </a:xfrm>
            <a:custGeom>
              <a:avLst/>
              <a:gdLst>
                <a:gd name="T0" fmla="*/ 116 w 133"/>
                <a:gd name="T1" fmla="*/ 101 h 110"/>
                <a:gd name="T2" fmla="*/ 108 w 133"/>
                <a:gd name="T3" fmla="*/ 110 h 110"/>
                <a:gd name="T4" fmla="*/ 105 w 133"/>
                <a:gd name="T5" fmla="*/ 97 h 110"/>
                <a:gd name="T6" fmla="*/ 93 w 133"/>
                <a:gd name="T7" fmla="*/ 86 h 110"/>
                <a:gd name="T8" fmla="*/ 84 w 133"/>
                <a:gd name="T9" fmla="*/ 88 h 110"/>
                <a:gd name="T10" fmla="*/ 81 w 133"/>
                <a:gd name="T11" fmla="*/ 75 h 110"/>
                <a:gd name="T12" fmla="*/ 78 w 133"/>
                <a:gd name="T13" fmla="*/ 60 h 110"/>
                <a:gd name="T14" fmla="*/ 58 w 133"/>
                <a:gd name="T15" fmla="*/ 53 h 110"/>
                <a:gd name="T16" fmla="*/ 49 w 133"/>
                <a:gd name="T17" fmla="*/ 57 h 110"/>
                <a:gd name="T18" fmla="*/ 44 w 133"/>
                <a:gd name="T19" fmla="*/ 67 h 110"/>
                <a:gd name="T20" fmla="*/ 26 w 133"/>
                <a:gd name="T21" fmla="*/ 64 h 110"/>
                <a:gd name="T22" fmla="*/ 14 w 133"/>
                <a:gd name="T23" fmla="*/ 53 h 110"/>
                <a:gd name="T24" fmla="*/ 8 w 133"/>
                <a:gd name="T25" fmla="*/ 40 h 110"/>
                <a:gd name="T26" fmla="*/ 0 w 133"/>
                <a:gd name="T27" fmla="*/ 32 h 110"/>
                <a:gd name="T28" fmla="*/ 14 w 133"/>
                <a:gd name="T29" fmla="*/ 22 h 110"/>
                <a:gd name="T30" fmla="*/ 22 w 133"/>
                <a:gd name="T31" fmla="*/ 19 h 110"/>
                <a:gd name="T32" fmla="*/ 24 w 133"/>
                <a:gd name="T33" fmla="*/ 9 h 110"/>
                <a:gd name="T34" fmla="*/ 26 w 133"/>
                <a:gd name="T35" fmla="*/ 0 h 110"/>
                <a:gd name="T36" fmla="*/ 48 w 133"/>
                <a:gd name="T37" fmla="*/ 5 h 110"/>
                <a:gd name="T38" fmla="*/ 54 w 133"/>
                <a:gd name="T39" fmla="*/ 2 h 110"/>
                <a:gd name="T40" fmla="*/ 66 w 133"/>
                <a:gd name="T41" fmla="*/ 3 h 110"/>
                <a:gd name="T42" fmla="*/ 70 w 133"/>
                <a:gd name="T43" fmla="*/ 10 h 110"/>
                <a:gd name="T44" fmla="*/ 78 w 133"/>
                <a:gd name="T45" fmla="*/ 8 h 110"/>
                <a:gd name="T46" fmla="*/ 91 w 133"/>
                <a:gd name="T47" fmla="*/ 15 h 110"/>
                <a:gd name="T48" fmla="*/ 102 w 133"/>
                <a:gd name="T49" fmla="*/ 8 h 110"/>
                <a:gd name="T50" fmla="*/ 110 w 133"/>
                <a:gd name="T51" fmla="*/ 6 h 110"/>
                <a:gd name="T52" fmla="*/ 116 w 133"/>
                <a:gd name="T53" fmla="*/ 16 h 110"/>
                <a:gd name="T54" fmla="*/ 120 w 133"/>
                <a:gd name="T55" fmla="*/ 30 h 110"/>
                <a:gd name="T56" fmla="*/ 123 w 133"/>
                <a:gd name="T57" fmla="*/ 35 h 110"/>
                <a:gd name="T58" fmla="*/ 124 w 133"/>
                <a:gd name="T59" fmla="*/ 43 h 110"/>
                <a:gd name="T60" fmla="*/ 126 w 133"/>
                <a:gd name="T61" fmla="*/ 51 h 110"/>
                <a:gd name="T62" fmla="*/ 128 w 133"/>
                <a:gd name="T63" fmla="*/ 67 h 110"/>
                <a:gd name="T64" fmla="*/ 126 w 133"/>
                <a:gd name="T65" fmla="*/ 86 h 110"/>
                <a:gd name="T66" fmla="*/ 126 w 133"/>
                <a:gd name="T67" fmla="*/ 93 h 110"/>
                <a:gd name="T68" fmla="*/ 122 w 133"/>
                <a:gd name="T69" fmla="*/ 102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3" h="110">
                  <a:moveTo>
                    <a:pt x="122" y="102"/>
                  </a:moveTo>
                  <a:lnTo>
                    <a:pt x="116" y="101"/>
                  </a:lnTo>
                  <a:lnTo>
                    <a:pt x="113" y="110"/>
                  </a:lnTo>
                  <a:lnTo>
                    <a:pt x="108" y="110"/>
                  </a:lnTo>
                  <a:lnTo>
                    <a:pt x="104" y="105"/>
                  </a:lnTo>
                  <a:lnTo>
                    <a:pt x="105" y="97"/>
                  </a:lnTo>
                  <a:lnTo>
                    <a:pt x="98" y="84"/>
                  </a:lnTo>
                  <a:lnTo>
                    <a:pt x="93" y="86"/>
                  </a:lnTo>
                  <a:lnTo>
                    <a:pt x="89" y="87"/>
                  </a:lnTo>
                  <a:lnTo>
                    <a:pt x="84" y="88"/>
                  </a:lnTo>
                  <a:lnTo>
                    <a:pt x="84" y="80"/>
                  </a:lnTo>
                  <a:lnTo>
                    <a:pt x="81" y="75"/>
                  </a:lnTo>
                  <a:lnTo>
                    <a:pt x="82" y="69"/>
                  </a:lnTo>
                  <a:lnTo>
                    <a:pt x="78" y="60"/>
                  </a:lnTo>
                  <a:lnTo>
                    <a:pt x="73" y="53"/>
                  </a:lnTo>
                  <a:lnTo>
                    <a:pt x="58" y="53"/>
                  </a:lnTo>
                  <a:lnTo>
                    <a:pt x="54" y="57"/>
                  </a:lnTo>
                  <a:lnTo>
                    <a:pt x="49" y="57"/>
                  </a:lnTo>
                  <a:lnTo>
                    <a:pt x="46" y="61"/>
                  </a:lnTo>
                  <a:lnTo>
                    <a:pt x="44" y="67"/>
                  </a:lnTo>
                  <a:lnTo>
                    <a:pt x="34" y="76"/>
                  </a:lnTo>
                  <a:lnTo>
                    <a:pt x="26" y="64"/>
                  </a:lnTo>
                  <a:lnTo>
                    <a:pt x="19" y="56"/>
                  </a:lnTo>
                  <a:lnTo>
                    <a:pt x="14" y="53"/>
                  </a:lnTo>
                  <a:lnTo>
                    <a:pt x="10" y="49"/>
                  </a:lnTo>
                  <a:lnTo>
                    <a:pt x="8" y="40"/>
                  </a:lnTo>
                  <a:lnTo>
                    <a:pt x="5" y="35"/>
                  </a:lnTo>
                  <a:lnTo>
                    <a:pt x="0" y="32"/>
                  </a:lnTo>
                  <a:lnTo>
                    <a:pt x="8" y="22"/>
                  </a:lnTo>
                  <a:lnTo>
                    <a:pt x="14" y="22"/>
                  </a:lnTo>
                  <a:lnTo>
                    <a:pt x="18" y="19"/>
                  </a:lnTo>
                  <a:lnTo>
                    <a:pt x="22" y="19"/>
                  </a:lnTo>
                  <a:lnTo>
                    <a:pt x="25" y="16"/>
                  </a:lnTo>
                  <a:lnTo>
                    <a:pt x="24" y="9"/>
                  </a:lnTo>
                  <a:lnTo>
                    <a:pt x="26" y="7"/>
                  </a:lnTo>
                  <a:lnTo>
                    <a:pt x="26" y="0"/>
                  </a:lnTo>
                  <a:lnTo>
                    <a:pt x="35" y="0"/>
                  </a:lnTo>
                  <a:lnTo>
                    <a:pt x="48" y="5"/>
                  </a:lnTo>
                  <a:lnTo>
                    <a:pt x="52" y="5"/>
                  </a:lnTo>
                  <a:lnTo>
                    <a:pt x="54" y="2"/>
                  </a:lnTo>
                  <a:lnTo>
                    <a:pt x="64" y="4"/>
                  </a:lnTo>
                  <a:lnTo>
                    <a:pt x="66" y="3"/>
                  </a:lnTo>
                  <a:lnTo>
                    <a:pt x="67" y="10"/>
                  </a:lnTo>
                  <a:lnTo>
                    <a:pt x="70" y="10"/>
                  </a:lnTo>
                  <a:lnTo>
                    <a:pt x="75" y="8"/>
                  </a:lnTo>
                  <a:lnTo>
                    <a:pt x="78" y="8"/>
                  </a:lnTo>
                  <a:lnTo>
                    <a:pt x="83" y="14"/>
                  </a:lnTo>
                  <a:lnTo>
                    <a:pt x="91" y="15"/>
                  </a:lnTo>
                  <a:lnTo>
                    <a:pt x="96" y="11"/>
                  </a:lnTo>
                  <a:lnTo>
                    <a:pt x="102" y="8"/>
                  </a:lnTo>
                  <a:lnTo>
                    <a:pt x="106" y="5"/>
                  </a:lnTo>
                  <a:lnTo>
                    <a:pt x="110" y="6"/>
                  </a:lnTo>
                  <a:lnTo>
                    <a:pt x="114" y="10"/>
                  </a:lnTo>
                  <a:lnTo>
                    <a:pt x="116" y="16"/>
                  </a:lnTo>
                  <a:lnTo>
                    <a:pt x="123" y="25"/>
                  </a:lnTo>
                  <a:lnTo>
                    <a:pt x="120" y="30"/>
                  </a:lnTo>
                  <a:lnTo>
                    <a:pt x="119" y="37"/>
                  </a:lnTo>
                  <a:lnTo>
                    <a:pt x="123" y="35"/>
                  </a:lnTo>
                  <a:lnTo>
                    <a:pt x="125" y="37"/>
                  </a:lnTo>
                  <a:lnTo>
                    <a:pt x="124" y="43"/>
                  </a:lnTo>
                  <a:lnTo>
                    <a:pt x="130" y="49"/>
                  </a:lnTo>
                  <a:lnTo>
                    <a:pt x="126" y="51"/>
                  </a:lnTo>
                  <a:lnTo>
                    <a:pt x="124" y="58"/>
                  </a:lnTo>
                  <a:lnTo>
                    <a:pt x="128" y="67"/>
                  </a:lnTo>
                  <a:lnTo>
                    <a:pt x="133" y="83"/>
                  </a:lnTo>
                  <a:lnTo>
                    <a:pt x="126" y="86"/>
                  </a:lnTo>
                  <a:lnTo>
                    <a:pt x="124" y="89"/>
                  </a:lnTo>
                  <a:lnTo>
                    <a:pt x="126" y="93"/>
                  </a:lnTo>
                  <a:lnTo>
                    <a:pt x="125" y="102"/>
                  </a:lnTo>
                  <a:lnTo>
                    <a:pt x="122" y="10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17" name="Freeform 74">
              <a:extLst>
                <a:ext uri="{FF2B5EF4-FFF2-40B4-BE49-F238E27FC236}">
                  <a16:creationId xmlns:a16="http://schemas.microsoft.com/office/drawing/2014/main" id="{CCABF94B-9112-4A98-B5B4-F5DCBE668E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0669" y="2500198"/>
              <a:ext cx="71636" cy="20839"/>
            </a:xfrm>
            <a:custGeom>
              <a:avLst/>
              <a:gdLst>
                <a:gd name="T0" fmla="*/ 0 w 55"/>
                <a:gd name="T1" fmla="*/ 15 h 16"/>
                <a:gd name="T2" fmla="*/ 3 w 55"/>
                <a:gd name="T3" fmla="*/ 6 h 16"/>
                <a:gd name="T4" fmla="*/ 23 w 55"/>
                <a:gd name="T5" fmla="*/ 5 h 16"/>
                <a:gd name="T6" fmla="*/ 27 w 55"/>
                <a:gd name="T7" fmla="*/ 0 h 16"/>
                <a:gd name="T8" fmla="*/ 33 w 55"/>
                <a:gd name="T9" fmla="*/ 0 h 16"/>
                <a:gd name="T10" fmla="*/ 40 w 55"/>
                <a:gd name="T11" fmla="*/ 5 h 16"/>
                <a:gd name="T12" fmla="*/ 45 w 55"/>
                <a:gd name="T13" fmla="*/ 5 h 16"/>
                <a:gd name="T14" fmla="*/ 51 w 55"/>
                <a:gd name="T15" fmla="*/ 2 h 16"/>
                <a:gd name="T16" fmla="*/ 55 w 55"/>
                <a:gd name="T17" fmla="*/ 8 h 16"/>
                <a:gd name="T18" fmla="*/ 47 w 55"/>
                <a:gd name="T19" fmla="*/ 13 h 16"/>
                <a:gd name="T20" fmla="*/ 39 w 55"/>
                <a:gd name="T21" fmla="*/ 12 h 16"/>
                <a:gd name="T22" fmla="*/ 31 w 55"/>
                <a:gd name="T23" fmla="*/ 8 h 16"/>
                <a:gd name="T24" fmla="*/ 25 w 55"/>
                <a:gd name="T25" fmla="*/ 13 h 16"/>
                <a:gd name="T26" fmla="*/ 21 w 55"/>
                <a:gd name="T27" fmla="*/ 13 h 16"/>
                <a:gd name="T28" fmla="*/ 17 w 55"/>
                <a:gd name="T29" fmla="*/ 16 h 16"/>
                <a:gd name="T30" fmla="*/ 0 w 55"/>
                <a:gd name="T31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5" h="16">
                  <a:moveTo>
                    <a:pt x="0" y="15"/>
                  </a:moveTo>
                  <a:lnTo>
                    <a:pt x="3" y="6"/>
                  </a:lnTo>
                  <a:lnTo>
                    <a:pt x="23" y="5"/>
                  </a:lnTo>
                  <a:lnTo>
                    <a:pt x="27" y="0"/>
                  </a:lnTo>
                  <a:lnTo>
                    <a:pt x="33" y="0"/>
                  </a:lnTo>
                  <a:lnTo>
                    <a:pt x="40" y="5"/>
                  </a:lnTo>
                  <a:lnTo>
                    <a:pt x="45" y="5"/>
                  </a:lnTo>
                  <a:lnTo>
                    <a:pt x="51" y="2"/>
                  </a:lnTo>
                  <a:lnTo>
                    <a:pt x="55" y="8"/>
                  </a:lnTo>
                  <a:lnTo>
                    <a:pt x="47" y="13"/>
                  </a:lnTo>
                  <a:lnTo>
                    <a:pt x="39" y="12"/>
                  </a:lnTo>
                  <a:lnTo>
                    <a:pt x="31" y="8"/>
                  </a:lnTo>
                  <a:lnTo>
                    <a:pt x="25" y="13"/>
                  </a:lnTo>
                  <a:lnTo>
                    <a:pt x="21" y="13"/>
                  </a:lnTo>
                  <a:lnTo>
                    <a:pt x="17" y="16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18" name="Freeform 75">
              <a:extLst>
                <a:ext uri="{FF2B5EF4-FFF2-40B4-BE49-F238E27FC236}">
                  <a16:creationId xmlns:a16="http://schemas.microsoft.com/office/drawing/2014/main" id="{F5BE5DEF-2DB6-4963-96AB-D0601A856B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4576" y="2534062"/>
              <a:ext cx="70333" cy="42982"/>
            </a:xfrm>
            <a:custGeom>
              <a:avLst/>
              <a:gdLst>
                <a:gd name="T0" fmla="*/ 28 w 54"/>
                <a:gd name="T1" fmla="*/ 33 h 33"/>
                <a:gd name="T2" fmla="*/ 18 w 54"/>
                <a:gd name="T3" fmla="*/ 24 h 33"/>
                <a:gd name="T4" fmla="*/ 10 w 54"/>
                <a:gd name="T5" fmla="*/ 23 h 33"/>
                <a:gd name="T6" fmla="*/ 6 w 54"/>
                <a:gd name="T7" fmla="*/ 17 h 33"/>
                <a:gd name="T8" fmla="*/ 6 w 54"/>
                <a:gd name="T9" fmla="*/ 14 h 33"/>
                <a:gd name="T10" fmla="*/ 1 w 54"/>
                <a:gd name="T11" fmla="*/ 10 h 33"/>
                <a:gd name="T12" fmla="*/ 0 w 54"/>
                <a:gd name="T13" fmla="*/ 5 h 33"/>
                <a:gd name="T14" fmla="*/ 10 w 54"/>
                <a:gd name="T15" fmla="*/ 2 h 33"/>
                <a:gd name="T16" fmla="*/ 16 w 54"/>
                <a:gd name="T17" fmla="*/ 2 h 33"/>
                <a:gd name="T18" fmla="*/ 21 w 54"/>
                <a:gd name="T19" fmla="*/ 0 h 33"/>
                <a:gd name="T20" fmla="*/ 54 w 54"/>
                <a:gd name="T21" fmla="*/ 1 h 33"/>
                <a:gd name="T22" fmla="*/ 54 w 54"/>
                <a:gd name="T23" fmla="*/ 8 h 33"/>
                <a:gd name="T24" fmla="*/ 52 w 54"/>
                <a:gd name="T25" fmla="*/ 10 h 33"/>
                <a:gd name="T26" fmla="*/ 53 w 54"/>
                <a:gd name="T27" fmla="*/ 17 h 33"/>
                <a:gd name="T28" fmla="*/ 50 w 54"/>
                <a:gd name="T29" fmla="*/ 20 h 33"/>
                <a:gd name="T30" fmla="*/ 46 w 54"/>
                <a:gd name="T31" fmla="*/ 20 h 33"/>
                <a:gd name="T32" fmla="*/ 42 w 54"/>
                <a:gd name="T33" fmla="*/ 23 h 33"/>
                <a:gd name="T34" fmla="*/ 36 w 54"/>
                <a:gd name="T35" fmla="*/ 23 h 33"/>
                <a:gd name="T36" fmla="*/ 28 w 54"/>
                <a:gd name="T3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" h="33">
                  <a:moveTo>
                    <a:pt x="28" y="33"/>
                  </a:moveTo>
                  <a:lnTo>
                    <a:pt x="18" y="24"/>
                  </a:lnTo>
                  <a:lnTo>
                    <a:pt x="10" y="23"/>
                  </a:lnTo>
                  <a:lnTo>
                    <a:pt x="6" y="17"/>
                  </a:lnTo>
                  <a:lnTo>
                    <a:pt x="6" y="14"/>
                  </a:lnTo>
                  <a:lnTo>
                    <a:pt x="1" y="10"/>
                  </a:lnTo>
                  <a:lnTo>
                    <a:pt x="0" y="5"/>
                  </a:lnTo>
                  <a:lnTo>
                    <a:pt x="10" y="2"/>
                  </a:lnTo>
                  <a:lnTo>
                    <a:pt x="16" y="2"/>
                  </a:lnTo>
                  <a:lnTo>
                    <a:pt x="21" y="0"/>
                  </a:lnTo>
                  <a:lnTo>
                    <a:pt x="54" y="1"/>
                  </a:lnTo>
                  <a:lnTo>
                    <a:pt x="54" y="8"/>
                  </a:lnTo>
                  <a:lnTo>
                    <a:pt x="52" y="10"/>
                  </a:lnTo>
                  <a:lnTo>
                    <a:pt x="53" y="17"/>
                  </a:lnTo>
                  <a:lnTo>
                    <a:pt x="50" y="20"/>
                  </a:lnTo>
                  <a:lnTo>
                    <a:pt x="46" y="20"/>
                  </a:lnTo>
                  <a:lnTo>
                    <a:pt x="42" y="23"/>
                  </a:lnTo>
                  <a:lnTo>
                    <a:pt x="36" y="23"/>
                  </a:lnTo>
                  <a:lnTo>
                    <a:pt x="28" y="3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19" name="Freeform 76">
              <a:extLst>
                <a:ext uri="{FF2B5EF4-FFF2-40B4-BE49-F238E27FC236}">
                  <a16:creationId xmlns:a16="http://schemas.microsoft.com/office/drawing/2014/main" id="{5305216C-79FC-44D3-A4E8-BA1EC340237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3244" y="2814091"/>
              <a:ext cx="48191" cy="33864"/>
            </a:xfrm>
            <a:custGeom>
              <a:avLst/>
              <a:gdLst>
                <a:gd name="T0" fmla="*/ 4 w 37"/>
                <a:gd name="T1" fmla="*/ 26 h 26"/>
                <a:gd name="T2" fmla="*/ 0 w 37"/>
                <a:gd name="T3" fmla="*/ 23 h 26"/>
                <a:gd name="T4" fmla="*/ 7 w 37"/>
                <a:gd name="T5" fmla="*/ 0 h 26"/>
                <a:gd name="T6" fmla="*/ 37 w 37"/>
                <a:gd name="T7" fmla="*/ 0 h 26"/>
                <a:gd name="T8" fmla="*/ 37 w 37"/>
                <a:gd name="T9" fmla="*/ 25 h 26"/>
                <a:gd name="T10" fmla="*/ 10 w 37"/>
                <a:gd name="T11" fmla="*/ 25 h 26"/>
                <a:gd name="T12" fmla="*/ 4 w 37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26">
                  <a:moveTo>
                    <a:pt x="4" y="26"/>
                  </a:moveTo>
                  <a:lnTo>
                    <a:pt x="0" y="23"/>
                  </a:lnTo>
                  <a:lnTo>
                    <a:pt x="7" y="0"/>
                  </a:lnTo>
                  <a:lnTo>
                    <a:pt x="37" y="0"/>
                  </a:lnTo>
                  <a:lnTo>
                    <a:pt x="37" y="25"/>
                  </a:lnTo>
                  <a:lnTo>
                    <a:pt x="10" y="25"/>
                  </a:lnTo>
                  <a:lnTo>
                    <a:pt x="4" y="2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20" name="Freeform 77">
              <a:extLst>
                <a:ext uri="{FF2B5EF4-FFF2-40B4-BE49-F238E27FC236}">
                  <a16:creationId xmlns:a16="http://schemas.microsoft.com/office/drawing/2014/main" id="{EABF1470-17B5-4CFC-A9B0-B59A6DF8F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0625" y="1910183"/>
              <a:ext cx="62518" cy="20839"/>
            </a:xfrm>
            <a:custGeom>
              <a:avLst/>
              <a:gdLst>
                <a:gd name="T0" fmla="*/ 2 w 48"/>
                <a:gd name="T1" fmla="*/ 0 h 16"/>
                <a:gd name="T2" fmla="*/ 12 w 48"/>
                <a:gd name="T3" fmla="*/ 7 h 16"/>
                <a:gd name="T4" fmla="*/ 25 w 48"/>
                <a:gd name="T5" fmla="*/ 6 h 16"/>
                <a:gd name="T6" fmla="*/ 39 w 48"/>
                <a:gd name="T7" fmla="*/ 7 h 16"/>
                <a:gd name="T8" fmla="*/ 38 w 48"/>
                <a:gd name="T9" fmla="*/ 11 h 16"/>
                <a:gd name="T10" fmla="*/ 48 w 48"/>
                <a:gd name="T11" fmla="*/ 8 h 16"/>
                <a:gd name="T12" fmla="*/ 46 w 48"/>
                <a:gd name="T13" fmla="*/ 14 h 16"/>
                <a:gd name="T14" fmla="*/ 21 w 48"/>
                <a:gd name="T15" fmla="*/ 16 h 16"/>
                <a:gd name="T16" fmla="*/ 21 w 48"/>
                <a:gd name="T17" fmla="*/ 13 h 16"/>
                <a:gd name="T18" fmla="*/ 0 w 48"/>
                <a:gd name="T19" fmla="*/ 9 h 16"/>
                <a:gd name="T20" fmla="*/ 2 w 48"/>
                <a:gd name="T2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8" h="16">
                  <a:moveTo>
                    <a:pt x="2" y="0"/>
                  </a:moveTo>
                  <a:lnTo>
                    <a:pt x="12" y="7"/>
                  </a:lnTo>
                  <a:lnTo>
                    <a:pt x="25" y="6"/>
                  </a:lnTo>
                  <a:lnTo>
                    <a:pt x="39" y="7"/>
                  </a:lnTo>
                  <a:lnTo>
                    <a:pt x="38" y="11"/>
                  </a:lnTo>
                  <a:lnTo>
                    <a:pt x="48" y="8"/>
                  </a:lnTo>
                  <a:lnTo>
                    <a:pt x="46" y="14"/>
                  </a:lnTo>
                  <a:lnTo>
                    <a:pt x="21" y="16"/>
                  </a:lnTo>
                  <a:lnTo>
                    <a:pt x="21" y="13"/>
                  </a:lnTo>
                  <a:lnTo>
                    <a:pt x="0" y="9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21" name="Freeform 78">
              <a:extLst>
                <a:ext uri="{FF2B5EF4-FFF2-40B4-BE49-F238E27FC236}">
                  <a16:creationId xmlns:a16="http://schemas.microsoft.com/office/drawing/2014/main" id="{1A3EF035-542F-4617-8288-2F8C6995FA8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5965" y="1746073"/>
              <a:ext cx="136759" cy="144573"/>
            </a:xfrm>
            <a:custGeom>
              <a:avLst/>
              <a:gdLst>
                <a:gd name="T0" fmla="*/ 105 w 105"/>
                <a:gd name="T1" fmla="*/ 5 h 111"/>
                <a:gd name="T2" fmla="*/ 101 w 105"/>
                <a:gd name="T3" fmla="*/ 18 h 111"/>
                <a:gd name="T4" fmla="*/ 98 w 105"/>
                <a:gd name="T5" fmla="*/ 20 h 111"/>
                <a:gd name="T6" fmla="*/ 87 w 105"/>
                <a:gd name="T7" fmla="*/ 20 h 111"/>
                <a:gd name="T8" fmla="*/ 78 w 105"/>
                <a:gd name="T9" fmla="*/ 18 h 111"/>
                <a:gd name="T10" fmla="*/ 58 w 105"/>
                <a:gd name="T11" fmla="*/ 23 h 111"/>
                <a:gd name="T12" fmla="*/ 71 w 105"/>
                <a:gd name="T13" fmla="*/ 35 h 111"/>
                <a:gd name="T14" fmla="*/ 63 w 105"/>
                <a:gd name="T15" fmla="*/ 38 h 111"/>
                <a:gd name="T16" fmla="*/ 54 w 105"/>
                <a:gd name="T17" fmla="*/ 38 h 111"/>
                <a:gd name="T18" fmla="*/ 44 w 105"/>
                <a:gd name="T19" fmla="*/ 28 h 111"/>
                <a:gd name="T20" fmla="*/ 41 w 105"/>
                <a:gd name="T21" fmla="*/ 32 h 111"/>
                <a:gd name="T22" fmla="*/ 46 w 105"/>
                <a:gd name="T23" fmla="*/ 44 h 111"/>
                <a:gd name="T24" fmla="*/ 55 w 105"/>
                <a:gd name="T25" fmla="*/ 54 h 111"/>
                <a:gd name="T26" fmla="*/ 49 w 105"/>
                <a:gd name="T27" fmla="*/ 59 h 111"/>
                <a:gd name="T28" fmla="*/ 59 w 105"/>
                <a:gd name="T29" fmla="*/ 68 h 111"/>
                <a:gd name="T30" fmla="*/ 68 w 105"/>
                <a:gd name="T31" fmla="*/ 74 h 111"/>
                <a:gd name="T32" fmla="*/ 70 w 105"/>
                <a:gd name="T33" fmla="*/ 86 h 111"/>
                <a:gd name="T34" fmla="*/ 53 w 105"/>
                <a:gd name="T35" fmla="*/ 80 h 111"/>
                <a:gd name="T36" fmla="*/ 59 w 105"/>
                <a:gd name="T37" fmla="*/ 91 h 111"/>
                <a:gd name="T38" fmla="*/ 49 w 105"/>
                <a:gd name="T39" fmla="*/ 93 h 111"/>
                <a:gd name="T40" fmla="*/ 57 w 105"/>
                <a:gd name="T41" fmla="*/ 111 h 111"/>
                <a:gd name="T42" fmla="*/ 45 w 105"/>
                <a:gd name="T43" fmla="*/ 111 h 111"/>
                <a:gd name="T44" fmla="*/ 30 w 105"/>
                <a:gd name="T45" fmla="*/ 102 h 111"/>
                <a:gd name="T46" fmla="*/ 23 w 105"/>
                <a:gd name="T47" fmla="*/ 86 h 111"/>
                <a:gd name="T48" fmla="*/ 19 w 105"/>
                <a:gd name="T49" fmla="*/ 72 h 111"/>
                <a:gd name="T50" fmla="*/ 11 w 105"/>
                <a:gd name="T51" fmla="*/ 63 h 111"/>
                <a:gd name="T52" fmla="*/ 2 w 105"/>
                <a:gd name="T53" fmla="*/ 51 h 111"/>
                <a:gd name="T54" fmla="*/ 0 w 105"/>
                <a:gd name="T55" fmla="*/ 45 h 111"/>
                <a:gd name="T56" fmla="*/ 7 w 105"/>
                <a:gd name="T57" fmla="*/ 35 h 111"/>
                <a:gd name="T58" fmla="*/ 7 w 105"/>
                <a:gd name="T59" fmla="*/ 28 h 111"/>
                <a:gd name="T60" fmla="*/ 13 w 105"/>
                <a:gd name="T61" fmla="*/ 26 h 111"/>
                <a:gd name="T62" fmla="*/ 13 w 105"/>
                <a:gd name="T63" fmla="*/ 20 h 111"/>
                <a:gd name="T64" fmla="*/ 24 w 105"/>
                <a:gd name="T65" fmla="*/ 18 h 111"/>
                <a:gd name="T66" fmla="*/ 30 w 105"/>
                <a:gd name="T67" fmla="*/ 14 h 111"/>
                <a:gd name="T68" fmla="*/ 39 w 105"/>
                <a:gd name="T69" fmla="*/ 14 h 111"/>
                <a:gd name="T70" fmla="*/ 41 w 105"/>
                <a:gd name="T71" fmla="*/ 10 h 111"/>
                <a:gd name="T72" fmla="*/ 44 w 105"/>
                <a:gd name="T73" fmla="*/ 10 h 111"/>
                <a:gd name="T74" fmla="*/ 57 w 105"/>
                <a:gd name="T75" fmla="*/ 10 h 111"/>
                <a:gd name="T76" fmla="*/ 70 w 105"/>
                <a:gd name="T77" fmla="*/ 5 h 111"/>
                <a:gd name="T78" fmla="*/ 82 w 105"/>
                <a:gd name="T79" fmla="*/ 12 h 111"/>
                <a:gd name="T80" fmla="*/ 97 w 105"/>
                <a:gd name="T81" fmla="*/ 10 h 111"/>
                <a:gd name="T82" fmla="*/ 96 w 105"/>
                <a:gd name="T83" fmla="*/ 0 h 111"/>
                <a:gd name="T84" fmla="*/ 105 w 105"/>
                <a:gd name="T85" fmla="*/ 5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" h="111">
                  <a:moveTo>
                    <a:pt x="105" y="5"/>
                  </a:moveTo>
                  <a:lnTo>
                    <a:pt x="101" y="18"/>
                  </a:lnTo>
                  <a:lnTo>
                    <a:pt x="98" y="20"/>
                  </a:lnTo>
                  <a:lnTo>
                    <a:pt x="87" y="20"/>
                  </a:lnTo>
                  <a:lnTo>
                    <a:pt x="78" y="18"/>
                  </a:lnTo>
                  <a:lnTo>
                    <a:pt x="58" y="23"/>
                  </a:lnTo>
                  <a:lnTo>
                    <a:pt x="71" y="35"/>
                  </a:lnTo>
                  <a:lnTo>
                    <a:pt x="63" y="38"/>
                  </a:lnTo>
                  <a:lnTo>
                    <a:pt x="54" y="38"/>
                  </a:lnTo>
                  <a:lnTo>
                    <a:pt x="44" y="28"/>
                  </a:lnTo>
                  <a:lnTo>
                    <a:pt x="41" y="32"/>
                  </a:lnTo>
                  <a:lnTo>
                    <a:pt x="46" y="44"/>
                  </a:lnTo>
                  <a:lnTo>
                    <a:pt x="55" y="54"/>
                  </a:lnTo>
                  <a:lnTo>
                    <a:pt x="49" y="59"/>
                  </a:lnTo>
                  <a:lnTo>
                    <a:pt x="59" y="68"/>
                  </a:lnTo>
                  <a:lnTo>
                    <a:pt x="68" y="74"/>
                  </a:lnTo>
                  <a:lnTo>
                    <a:pt x="70" y="86"/>
                  </a:lnTo>
                  <a:lnTo>
                    <a:pt x="53" y="80"/>
                  </a:lnTo>
                  <a:lnTo>
                    <a:pt x="59" y="91"/>
                  </a:lnTo>
                  <a:lnTo>
                    <a:pt x="49" y="93"/>
                  </a:lnTo>
                  <a:lnTo>
                    <a:pt x="57" y="111"/>
                  </a:lnTo>
                  <a:lnTo>
                    <a:pt x="45" y="111"/>
                  </a:lnTo>
                  <a:lnTo>
                    <a:pt x="30" y="102"/>
                  </a:lnTo>
                  <a:lnTo>
                    <a:pt x="23" y="86"/>
                  </a:lnTo>
                  <a:lnTo>
                    <a:pt x="19" y="72"/>
                  </a:lnTo>
                  <a:lnTo>
                    <a:pt x="11" y="63"/>
                  </a:lnTo>
                  <a:lnTo>
                    <a:pt x="2" y="51"/>
                  </a:lnTo>
                  <a:lnTo>
                    <a:pt x="0" y="45"/>
                  </a:lnTo>
                  <a:lnTo>
                    <a:pt x="7" y="35"/>
                  </a:lnTo>
                  <a:lnTo>
                    <a:pt x="7" y="28"/>
                  </a:lnTo>
                  <a:lnTo>
                    <a:pt x="13" y="26"/>
                  </a:lnTo>
                  <a:lnTo>
                    <a:pt x="13" y="20"/>
                  </a:lnTo>
                  <a:lnTo>
                    <a:pt x="24" y="18"/>
                  </a:lnTo>
                  <a:lnTo>
                    <a:pt x="30" y="14"/>
                  </a:lnTo>
                  <a:lnTo>
                    <a:pt x="39" y="14"/>
                  </a:lnTo>
                  <a:lnTo>
                    <a:pt x="41" y="10"/>
                  </a:lnTo>
                  <a:lnTo>
                    <a:pt x="44" y="10"/>
                  </a:lnTo>
                  <a:lnTo>
                    <a:pt x="57" y="10"/>
                  </a:lnTo>
                  <a:lnTo>
                    <a:pt x="70" y="5"/>
                  </a:lnTo>
                  <a:lnTo>
                    <a:pt x="82" y="12"/>
                  </a:lnTo>
                  <a:lnTo>
                    <a:pt x="97" y="10"/>
                  </a:lnTo>
                  <a:lnTo>
                    <a:pt x="96" y="0"/>
                  </a:lnTo>
                  <a:lnTo>
                    <a:pt x="105" y="5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22" name="Freeform 79">
              <a:extLst>
                <a:ext uri="{FF2B5EF4-FFF2-40B4-BE49-F238E27FC236}">
                  <a16:creationId xmlns:a16="http://schemas.microsoft.com/office/drawing/2014/main" id="{414511C4-2A76-43B4-A165-126683E9A9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5199" y="769228"/>
              <a:ext cx="946889" cy="500145"/>
            </a:xfrm>
            <a:custGeom>
              <a:avLst/>
              <a:gdLst>
                <a:gd name="T0" fmla="*/ 429 w 727"/>
                <a:gd name="T1" fmla="*/ 5 h 384"/>
                <a:gd name="T2" fmla="*/ 571 w 727"/>
                <a:gd name="T3" fmla="*/ 1 h 384"/>
                <a:gd name="T4" fmla="*/ 571 w 727"/>
                <a:gd name="T5" fmla="*/ 16 h 384"/>
                <a:gd name="T6" fmla="*/ 556 w 727"/>
                <a:gd name="T7" fmla="*/ 18 h 384"/>
                <a:gd name="T8" fmla="*/ 618 w 727"/>
                <a:gd name="T9" fmla="*/ 23 h 384"/>
                <a:gd name="T10" fmla="*/ 689 w 727"/>
                <a:gd name="T11" fmla="*/ 20 h 384"/>
                <a:gd name="T12" fmla="*/ 679 w 727"/>
                <a:gd name="T13" fmla="*/ 38 h 384"/>
                <a:gd name="T14" fmla="*/ 662 w 727"/>
                <a:gd name="T15" fmla="*/ 44 h 384"/>
                <a:gd name="T16" fmla="*/ 631 w 727"/>
                <a:gd name="T17" fmla="*/ 79 h 384"/>
                <a:gd name="T18" fmla="*/ 603 w 727"/>
                <a:gd name="T19" fmla="*/ 94 h 384"/>
                <a:gd name="T20" fmla="*/ 610 w 727"/>
                <a:gd name="T21" fmla="*/ 116 h 384"/>
                <a:gd name="T22" fmla="*/ 608 w 727"/>
                <a:gd name="T23" fmla="*/ 138 h 384"/>
                <a:gd name="T24" fmla="*/ 567 w 727"/>
                <a:gd name="T25" fmla="*/ 146 h 384"/>
                <a:gd name="T26" fmla="*/ 555 w 727"/>
                <a:gd name="T27" fmla="*/ 158 h 384"/>
                <a:gd name="T28" fmla="*/ 578 w 727"/>
                <a:gd name="T29" fmla="*/ 176 h 384"/>
                <a:gd name="T30" fmla="*/ 548 w 727"/>
                <a:gd name="T31" fmla="*/ 187 h 384"/>
                <a:gd name="T32" fmla="*/ 518 w 727"/>
                <a:gd name="T33" fmla="*/ 198 h 384"/>
                <a:gd name="T34" fmla="*/ 532 w 727"/>
                <a:gd name="T35" fmla="*/ 214 h 384"/>
                <a:gd name="T36" fmla="*/ 436 w 727"/>
                <a:gd name="T37" fmla="*/ 234 h 384"/>
                <a:gd name="T38" fmla="*/ 362 w 727"/>
                <a:gd name="T39" fmla="*/ 273 h 384"/>
                <a:gd name="T40" fmla="*/ 311 w 727"/>
                <a:gd name="T41" fmla="*/ 282 h 384"/>
                <a:gd name="T42" fmla="*/ 280 w 727"/>
                <a:gd name="T43" fmla="*/ 319 h 384"/>
                <a:gd name="T44" fmla="*/ 241 w 727"/>
                <a:gd name="T45" fmla="*/ 364 h 384"/>
                <a:gd name="T46" fmla="*/ 190 w 727"/>
                <a:gd name="T47" fmla="*/ 369 h 384"/>
                <a:gd name="T48" fmla="*/ 148 w 727"/>
                <a:gd name="T49" fmla="*/ 340 h 384"/>
                <a:gd name="T50" fmla="*/ 136 w 727"/>
                <a:gd name="T51" fmla="*/ 288 h 384"/>
                <a:gd name="T52" fmla="*/ 129 w 727"/>
                <a:gd name="T53" fmla="*/ 251 h 384"/>
                <a:gd name="T54" fmla="*/ 185 w 727"/>
                <a:gd name="T55" fmla="*/ 216 h 384"/>
                <a:gd name="T56" fmla="*/ 167 w 727"/>
                <a:gd name="T57" fmla="*/ 211 h 384"/>
                <a:gd name="T58" fmla="*/ 146 w 727"/>
                <a:gd name="T59" fmla="*/ 196 h 384"/>
                <a:gd name="T60" fmla="*/ 193 w 727"/>
                <a:gd name="T61" fmla="*/ 191 h 384"/>
                <a:gd name="T62" fmla="*/ 153 w 727"/>
                <a:gd name="T63" fmla="*/ 177 h 384"/>
                <a:gd name="T64" fmla="*/ 163 w 727"/>
                <a:gd name="T65" fmla="*/ 151 h 384"/>
                <a:gd name="T66" fmla="*/ 143 w 727"/>
                <a:gd name="T67" fmla="*/ 117 h 384"/>
                <a:gd name="T68" fmla="*/ 96 w 727"/>
                <a:gd name="T69" fmla="*/ 101 h 384"/>
                <a:gd name="T70" fmla="*/ 23 w 727"/>
                <a:gd name="T71" fmla="*/ 98 h 384"/>
                <a:gd name="T72" fmla="*/ 69 w 727"/>
                <a:gd name="T73" fmla="*/ 83 h 384"/>
                <a:gd name="T74" fmla="*/ 7 w 727"/>
                <a:gd name="T75" fmla="*/ 67 h 384"/>
                <a:gd name="T76" fmla="*/ 114 w 727"/>
                <a:gd name="T77" fmla="*/ 49 h 384"/>
                <a:gd name="T78" fmla="*/ 148 w 727"/>
                <a:gd name="T79" fmla="*/ 29 h 384"/>
                <a:gd name="T80" fmla="*/ 195 w 727"/>
                <a:gd name="T81" fmla="*/ 19 h 384"/>
                <a:gd name="T82" fmla="*/ 274 w 727"/>
                <a:gd name="T83" fmla="*/ 21 h 384"/>
                <a:gd name="T84" fmla="*/ 347 w 727"/>
                <a:gd name="T85" fmla="*/ 20 h 384"/>
                <a:gd name="T86" fmla="*/ 350 w 727"/>
                <a:gd name="T87" fmla="*/ 12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27" h="384">
                  <a:moveTo>
                    <a:pt x="350" y="12"/>
                  </a:moveTo>
                  <a:lnTo>
                    <a:pt x="392" y="5"/>
                  </a:lnTo>
                  <a:lnTo>
                    <a:pt x="429" y="5"/>
                  </a:lnTo>
                  <a:lnTo>
                    <a:pt x="446" y="1"/>
                  </a:lnTo>
                  <a:lnTo>
                    <a:pt x="485" y="0"/>
                  </a:lnTo>
                  <a:lnTo>
                    <a:pt x="571" y="1"/>
                  </a:lnTo>
                  <a:lnTo>
                    <a:pt x="636" y="10"/>
                  </a:lnTo>
                  <a:lnTo>
                    <a:pt x="614" y="15"/>
                  </a:lnTo>
                  <a:lnTo>
                    <a:pt x="571" y="16"/>
                  </a:lnTo>
                  <a:lnTo>
                    <a:pt x="511" y="17"/>
                  </a:lnTo>
                  <a:lnTo>
                    <a:pt x="516" y="19"/>
                  </a:lnTo>
                  <a:lnTo>
                    <a:pt x="556" y="18"/>
                  </a:lnTo>
                  <a:lnTo>
                    <a:pt x="588" y="22"/>
                  </a:lnTo>
                  <a:lnTo>
                    <a:pt x="610" y="18"/>
                  </a:lnTo>
                  <a:lnTo>
                    <a:pt x="618" y="23"/>
                  </a:lnTo>
                  <a:lnTo>
                    <a:pt x="604" y="30"/>
                  </a:lnTo>
                  <a:lnTo>
                    <a:pt x="634" y="26"/>
                  </a:lnTo>
                  <a:lnTo>
                    <a:pt x="689" y="20"/>
                  </a:lnTo>
                  <a:lnTo>
                    <a:pt x="722" y="23"/>
                  </a:lnTo>
                  <a:lnTo>
                    <a:pt x="727" y="28"/>
                  </a:lnTo>
                  <a:lnTo>
                    <a:pt x="679" y="38"/>
                  </a:lnTo>
                  <a:lnTo>
                    <a:pt x="672" y="41"/>
                  </a:lnTo>
                  <a:lnTo>
                    <a:pt x="636" y="43"/>
                  </a:lnTo>
                  <a:lnTo>
                    <a:pt x="662" y="44"/>
                  </a:lnTo>
                  <a:lnTo>
                    <a:pt x="646" y="54"/>
                  </a:lnTo>
                  <a:lnTo>
                    <a:pt x="634" y="63"/>
                  </a:lnTo>
                  <a:lnTo>
                    <a:pt x="631" y="79"/>
                  </a:lnTo>
                  <a:lnTo>
                    <a:pt x="643" y="88"/>
                  </a:lnTo>
                  <a:lnTo>
                    <a:pt x="624" y="89"/>
                  </a:lnTo>
                  <a:lnTo>
                    <a:pt x="603" y="94"/>
                  </a:lnTo>
                  <a:lnTo>
                    <a:pt x="624" y="102"/>
                  </a:lnTo>
                  <a:lnTo>
                    <a:pt x="624" y="115"/>
                  </a:lnTo>
                  <a:lnTo>
                    <a:pt x="610" y="116"/>
                  </a:lnTo>
                  <a:lnTo>
                    <a:pt x="623" y="130"/>
                  </a:lnTo>
                  <a:lnTo>
                    <a:pt x="595" y="131"/>
                  </a:lnTo>
                  <a:lnTo>
                    <a:pt x="608" y="138"/>
                  </a:lnTo>
                  <a:lnTo>
                    <a:pt x="603" y="143"/>
                  </a:lnTo>
                  <a:lnTo>
                    <a:pt x="585" y="146"/>
                  </a:lnTo>
                  <a:lnTo>
                    <a:pt x="567" y="146"/>
                  </a:lnTo>
                  <a:lnTo>
                    <a:pt x="580" y="157"/>
                  </a:lnTo>
                  <a:lnTo>
                    <a:pt x="579" y="164"/>
                  </a:lnTo>
                  <a:lnTo>
                    <a:pt x="555" y="158"/>
                  </a:lnTo>
                  <a:lnTo>
                    <a:pt x="548" y="162"/>
                  </a:lnTo>
                  <a:lnTo>
                    <a:pt x="564" y="166"/>
                  </a:lnTo>
                  <a:lnTo>
                    <a:pt x="578" y="176"/>
                  </a:lnTo>
                  <a:lnTo>
                    <a:pt x="580" y="190"/>
                  </a:lnTo>
                  <a:lnTo>
                    <a:pt x="556" y="193"/>
                  </a:lnTo>
                  <a:lnTo>
                    <a:pt x="548" y="187"/>
                  </a:lnTo>
                  <a:lnTo>
                    <a:pt x="534" y="177"/>
                  </a:lnTo>
                  <a:lnTo>
                    <a:pt x="536" y="189"/>
                  </a:lnTo>
                  <a:lnTo>
                    <a:pt x="518" y="198"/>
                  </a:lnTo>
                  <a:lnTo>
                    <a:pt x="553" y="198"/>
                  </a:lnTo>
                  <a:lnTo>
                    <a:pt x="571" y="199"/>
                  </a:lnTo>
                  <a:lnTo>
                    <a:pt x="532" y="214"/>
                  </a:lnTo>
                  <a:lnTo>
                    <a:pt x="492" y="228"/>
                  </a:lnTo>
                  <a:lnTo>
                    <a:pt x="451" y="234"/>
                  </a:lnTo>
                  <a:lnTo>
                    <a:pt x="436" y="234"/>
                  </a:lnTo>
                  <a:lnTo>
                    <a:pt x="420" y="241"/>
                  </a:lnTo>
                  <a:lnTo>
                    <a:pt x="396" y="260"/>
                  </a:lnTo>
                  <a:lnTo>
                    <a:pt x="362" y="273"/>
                  </a:lnTo>
                  <a:lnTo>
                    <a:pt x="353" y="274"/>
                  </a:lnTo>
                  <a:lnTo>
                    <a:pt x="333" y="278"/>
                  </a:lnTo>
                  <a:lnTo>
                    <a:pt x="311" y="282"/>
                  </a:lnTo>
                  <a:lnTo>
                    <a:pt x="295" y="294"/>
                  </a:lnTo>
                  <a:lnTo>
                    <a:pt x="291" y="307"/>
                  </a:lnTo>
                  <a:lnTo>
                    <a:pt x="280" y="319"/>
                  </a:lnTo>
                  <a:lnTo>
                    <a:pt x="251" y="334"/>
                  </a:lnTo>
                  <a:lnTo>
                    <a:pt x="252" y="349"/>
                  </a:lnTo>
                  <a:lnTo>
                    <a:pt x="241" y="364"/>
                  </a:lnTo>
                  <a:lnTo>
                    <a:pt x="227" y="383"/>
                  </a:lnTo>
                  <a:lnTo>
                    <a:pt x="206" y="384"/>
                  </a:lnTo>
                  <a:lnTo>
                    <a:pt x="190" y="369"/>
                  </a:lnTo>
                  <a:lnTo>
                    <a:pt x="161" y="369"/>
                  </a:lnTo>
                  <a:lnTo>
                    <a:pt x="150" y="358"/>
                  </a:lnTo>
                  <a:lnTo>
                    <a:pt x="148" y="340"/>
                  </a:lnTo>
                  <a:lnTo>
                    <a:pt x="133" y="316"/>
                  </a:lnTo>
                  <a:lnTo>
                    <a:pt x="130" y="304"/>
                  </a:lnTo>
                  <a:lnTo>
                    <a:pt x="136" y="288"/>
                  </a:lnTo>
                  <a:lnTo>
                    <a:pt x="124" y="271"/>
                  </a:lnTo>
                  <a:lnTo>
                    <a:pt x="135" y="257"/>
                  </a:lnTo>
                  <a:lnTo>
                    <a:pt x="129" y="251"/>
                  </a:lnTo>
                  <a:lnTo>
                    <a:pt x="153" y="230"/>
                  </a:lnTo>
                  <a:lnTo>
                    <a:pt x="176" y="223"/>
                  </a:lnTo>
                  <a:lnTo>
                    <a:pt x="185" y="216"/>
                  </a:lnTo>
                  <a:lnTo>
                    <a:pt x="194" y="203"/>
                  </a:lnTo>
                  <a:lnTo>
                    <a:pt x="176" y="209"/>
                  </a:lnTo>
                  <a:lnTo>
                    <a:pt x="167" y="211"/>
                  </a:lnTo>
                  <a:lnTo>
                    <a:pt x="154" y="214"/>
                  </a:lnTo>
                  <a:lnTo>
                    <a:pt x="141" y="208"/>
                  </a:lnTo>
                  <a:lnTo>
                    <a:pt x="146" y="196"/>
                  </a:lnTo>
                  <a:lnTo>
                    <a:pt x="156" y="187"/>
                  </a:lnTo>
                  <a:lnTo>
                    <a:pt x="168" y="187"/>
                  </a:lnTo>
                  <a:lnTo>
                    <a:pt x="193" y="191"/>
                  </a:lnTo>
                  <a:lnTo>
                    <a:pt x="176" y="181"/>
                  </a:lnTo>
                  <a:lnTo>
                    <a:pt x="167" y="175"/>
                  </a:lnTo>
                  <a:lnTo>
                    <a:pt x="153" y="177"/>
                  </a:lnTo>
                  <a:lnTo>
                    <a:pt x="145" y="173"/>
                  </a:lnTo>
                  <a:lnTo>
                    <a:pt x="168" y="158"/>
                  </a:lnTo>
                  <a:lnTo>
                    <a:pt x="163" y="151"/>
                  </a:lnTo>
                  <a:lnTo>
                    <a:pt x="160" y="140"/>
                  </a:lnTo>
                  <a:lnTo>
                    <a:pt x="155" y="123"/>
                  </a:lnTo>
                  <a:lnTo>
                    <a:pt x="143" y="117"/>
                  </a:lnTo>
                  <a:lnTo>
                    <a:pt x="148" y="111"/>
                  </a:lnTo>
                  <a:lnTo>
                    <a:pt x="121" y="102"/>
                  </a:lnTo>
                  <a:lnTo>
                    <a:pt x="96" y="101"/>
                  </a:lnTo>
                  <a:lnTo>
                    <a:pt x="63" y="101"/>
                  </a:lnTo>
                  <a:lnTo>
                    <a:pt x="33" y="102"/>
                  </a:lnTo>
                  <a:lnTo>
                    <a:pt x="23" y="98"/>
                  </a:lnTo>
                  <a:lnTo>
                    <a:pt x="10" y="88"/>
                  </a:lnTo>
                  <a:lnTo>
                    <a:pt x="45" y="83"/>
                  </a:lnTo>
                  <a:lnTo>
                    <a:pt x="69" y="83"/>
                  </a:lnTo>
                  <a:lnTo>
                    <a:pt x="21" y="79"/>
                  </a:lnTo>
                  <a:lnTo>
                    <a:pt x="0" y="73"/>
                  </a:lnTo>
                  <a:lnTo>
                    <a:pt x="7" y="67"/>
                  </a:lnTo>
                  <a:lnTo>
                    <a:pt x="57" y="60"/>
                  </a:lnTo>
                  <a:lnTo>
                    <a:pt x="105" y="54"/>
                  </a:lnTo>
                  <a:lnTo>
                    <a:pt x="114" y="49"/>
                  </a:lnTo>
                  <a:lnTo>
                    <a:pt x="87" y="44"/>
                  </a:lnTo>
                  <a:lnTo>
                    <a:pt x="101" y="38"/>
                  </a:lnTo>
                  <a:lnTo>
                    <a:pt x="148" y="29"/>
                  </a:lnTo>
                  <a:lnTo>
                    <a:pt x="166" y="28"/>
                  </a:lnTo>
                  <a:lnTo>
                    <a:pt x="166" y="22"/>
                  </a:lnTo>
                  <a:lnTo>
                    <a:pt x="195" y="19"/>
                  </a:lnTo>
                  <a:lnTo>
                    <a:pt x="231" y="17"/>
                  </a:lnTo>
                  <a:lnTo>
                    <a:pt x="265" y="17"/>
                  </a:lnTo>
                  <a:lnTo>
                    <a:pt x="274" y="21"/>
                  </a:lnTo>
                  <a:lnTo>
                    <a:pt x="309" y="14"/>
                  </a:lnTo>
                  <a:lnTo>
                    <a:pt x="332" y="19"/>
                  </a:lnTo>
                  <a:lnTo>
                    <a:pt x="347" y="20"/>
                  </a:lnTo>
                  <a:lnTo>
                    <a:pt x="367" y="24"/>
                  </a:lnTo>
                  <a:lnTo>
                    <a:pt x="345" y="17"/>
                  </a:lnTo>
                  <a:lnTo>
                    <a:pt x="350" y="1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23" name="Freeform 80">
              <a:extLst>
                <a:ext uri="{FF2B5EF4-FFF2-40B4-BE49-F238E27FC236}">
                  <a16:creationId xmlns:a16="http://schemas.microsoft.com/office/drawing/2014/main" id="{070D964F-4620-4A41-B971-74B6E13F8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3694" y="2393396"/>
              <a:ext cx="97685" cy="110710"/>
            </a:xfrm>
            <a:custGeom>
              <a:avLst/>
              <a:gdLst>
                <a:gd name="T0" fmla="*/ 37 w 75"/>
                <a:gd name="T1" fmla="*/ 85 h 85"/>
                <a:gd name="T2" fmla="*/ 28 w 75"/>
                <a:gd name="T3" fmla="*/ 81 h 85"/>
                <a:gd name="T4" fmla="*/ 17 w 75"/>
                <a:gd name="T5" fmla="*/ 81 h 85"/>
                <a:gd name="T6" fmla="*/ 9 w 75"/>
                <a:gd name="T7" fmla="*/ 77 h 85"/>
                <a:gd name="T8" fmla="*/ 0 w 75"/>
                <a:gd name="T9" fmla="*/ 68 h 85"/>
                <a:gd name="T10" fmla="*/ 1 w 75"/>
                <a:gd name="T11" fmla="*/ 62 h 85"/>
                <a:gd name="T12" fmla="*/ 4 w 75"/>
                <a:gd name="T13" fmla="*/ 58 h 85"/>
                <a:gd name="T14" fmla="*/ 2 w 75"/>
                <a:gd name="T15" fmla="*/ 54 h 85"/>
                <a:gd name="T16" fmla="*/ 12 w 75"/>
                <a:gd name="T17" fmla="*/ 37 h 85"/>
                <a:gd name="T18" fmla="*/ 36 w 75"/>
                <a:gd name="T19" fmla="*/ 37 h 85"/>
                <a:gd name="T20" fmla="*/ 37 w 75"/>
                <a:gd name="T21" fmla="*/ 29 h 85"/>
                <a:gd name="T22" fmla="*/ 34 w 75"/>
                <a:gd name="T23" fmla="*/ 28 h 85"/>
                <a:gd name="T24" fmla="*/ 33 w 75"/>
                <a:gd name="T25" fmla="*/ 24 h 85"/>
                <a:gd name="T26" fmla="*/ 27 w 75"/>
                <a:gd name="T27" fmla="*/ 19 h 85"/>
                <a:gd name="T28" fmla="*/ 21 w 75"/>
                <a:gd name="T29" fmla="*/ 12 h 85"/>
                <a:gd name="T30" fmla="*/ 29 w 75"/>
                <a:gd name="T31" fmla="*/ 12 h 85"/>
                <a:gd name="T32" fmla="*/ 30 w 75"/>
                <a:gd name="T33" fmla="*/ 0 h 85"/>
                <a:gd name="T34" fmla="*/ 47 w 75"/>
                <a:gd name="T35" fmla="*/ 0 h 85"/>
                <a:gd name="T36" fmla="*/ 64 w 75"/>
                <a:gd name="T37" fmla="*/ 0 h 85"/>
                <a:gd name="T38" fmla="*/ 62 w 75"/>
                <a:gd name="T39" fmla="*/ 17 h 85"/>
                <a:gd name="T40" fmla="*/ 58 w 75"/>
                <a:gd name="T41" fmla="*/ 40 h 85"/>
                <a:gd name="T42" fmla="*/ 63 w 75"/>
                <a:gd name="T43" fmla="*/ 40 h 85"/>
                <a:gd name="T44" fmla="*/ 69 w 75"/>
                <a:gd name="T45" fmla="*/ 44 h 85"/>
                <a:gd name="T46" fmla="*/ 71 w 75"/>
                <a:gd name="T47" fmla="*/ 41 h 85"/>
                <a:gd name="T48" fmla="*/ 75 w 75"/>
                <a:gd name="T49" fmla="*/ 44 h 85"/>
                <a:gd name="T50" fmla="*/ 66 w 75"/>
                <a:gd name="T51" fmla="*/ 52 h 85"/>
                <a:gd name="T52" fmla="*/ 57 w 75"/>
                <a:gd name="T53" fmla="*/ 58 h 85"/>
                <a:gd name="T54" fmla="*/ 55 w 75"/>
                <a:gd name="T55" fmla="*/ 61 h 85"/>
                <a:gd name="T56" fmla="*/ 56 w 75"/>
                <a:gd name="T57" fmla="*/ 66 h 85"/>
                <a:gd name="T58" fmla="*/ 52 w 75"/>
                <a:gd name="T59" fmla="*/ 71 h 85"/>
                <a:gd name="T60" fmla="*/ 48 w 75"/>
                <a:gd name="T61" fmla="*/ 72 h 85"/>
                <a:gd name="T62" fmla="*/ 49 w 75"/>
                <a:gd name="T63" fmla="*/ 74 h 85"/>
                <a:gd name="T64" fmla="*/ 45 w 75"/>
                <a:gd name="T65" fmla="*/ 77 h 85"/>
                <a:gd name="T66" fmla="*/ 38 w 75"/>
                <a:gd name="T67" fmla="*/ 82 h 85"/>
                <a:gd name="T68" fmla="*/ 37 w 75"/>
                <a:gd name="T6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5" h="85">
                  <a:moveTo>
                    <a:pt x="37" y="85"/>
                  </a:moveTo>
                  <a:lnTo>
                    <a:pt x="28" y="81"/>
                  </a:lnTo>
                  <a:lnTo>
                    <a:pt x="17" y="81"/>
                  </a:lnTo>
                  <a:lnTo>
                    <a:pt x="9" y="77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4" y="58"/>
                  </a:lnTo>
                  <a:lnTo>
                    <a:pt x="2" y="54"/>
                  </a:lnTo>
                  <a:lnTo>
                    <a:pt x="12" y="37"/>
                  </a:lnTo>
                  <a:lnTo>
                    <a:pt x="36" y="37"/>
                  </a:lnTo>
                  <a:lnTo>
                    <a:pt x="37" y="29"/>
                  </a:lnTo>
                  <a:lnTo>
                    <a:pt x="34" y="28"/>
                  </a:lnTo>
                  <a:lnTo>
                    <a:pt x="33" y="24"/>
                  </a:lnTo>
                  <a:lnTo>
                    <a:pt x="27" y="19"/>
                  </a:lnTo>
                  <a:lnTo>
                    <a:pt x="21" y="12"/>
                  </a:lnTo>
                  <a:lnTo>
                    <a:pt x="29" y="12"/>
                  </a:lnTo>
                  <a:lnTo>
                    <a:pt x="30" y="0"/>
                  </a:lnTo>
                  <a:lnTo>
                    <a:pt x="47" y="0"/>
                  </a:lnTo>
                  <a:lnTo>
                    <a:pt x="64" y="0"/>
                  </a:lnTo>
                  <a:lnTo>
                    <a:pt x="62" y="17"/>
                  </a:lnTo>
                  <a:lnTo>
                    <a:pt x="58" y="40"/>
                  </a:lnTo>
                  <a:lnTo>
                    <a:pt x="63" y="40"/>
                  </a:lnTo>
                  <a:lnTo>
                    <a:pt x="69" y="44"/>
                  </a:lnTo>
                  <a:lnTo>
                    <a:pt x="71" y="41"/>
                  </a:lnTo>
                  <a:lnTo>
                    <a:pt x="75" y="44"/>
                  </a:lnTo>
                  <a:lnTo>
                    <a:pt x="66" y="52"/>
                  </a:lnTo>
                  <a:lnTo>
                    <a:pt x="57" y="58"/>
                  </a:lnTo>
                  <a:lnTo>
                    <a:pt x="55" y="61"/>
                  </a:lnTo>
                  <a:lnTo>
                    <a:pt x="56" y="66"/>
                  </a:lnTo>
                  <a:lnTo>
                    <a:pt x="52" y="71"/>
                  </a:lnTo>
                  <a:lnTo>
                    <a:pt x="48" y="72"/>
                  </a:lnTo>
                  <a:lnTo>
                    <a:pt x="49" y="74"/>
                  </a:lnTo>
                  <a:lnTo>
                    <a:pt x="45" y="77"/>
                  </a:lnTo>
                  <a:lnTo>
                    <a:pt x="38" y="82"/>
                  </a:lnTo>
                  <a:lnTo>
                    <a:pt x="37" y="8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24" name="Freeform 81">
              <a:extLst>
                <a:ext uri="{FF2B5EF4-FFF2-40B4-BE49-F238E27FC236}">
                  <a16:creationId xmlns:a16="http://schemas.microsoft.com/office/drawing/2014/main" id="{320F0F78-CF98-47E5-9D37-91592DFD9B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3955" y="2649981"/>
              <a:ext cx="114616" cy="191462"/>
            </a:xfrm>
            <a:custGeom>
              <a:avLst/>
              <a:gdLst>
                <a:gd name="T0" fmla="*/ 32 w 88"/>
                <a:gd name="T1" fmla="*/ 0 h 147"/>
                <a:gd name="T2" fmla="*/ 43 w 88"/>
                <a:gd name="T3" fmla="*/ 7 h 147"/>
                <a:gd name="T4" fmla="*/ 54 w 88"/>
                <a:gd name="T5" fmla="*/ 21 h 147"/>
                <a:gd name="T6" fmla="*/ 54 w 88"/>
                <a:gd name="T7" fmla="*/ 32 h 147"/>
                <a:gd name="T8" fmla="*/ 61 w 88"/>
                <a:gd name="T9" fmla="*/ 32 h 147"/>
                <a:gd name="T10" fmla="*/ 71 w 88"/>
                <a:gd name="T11" fmla="*/ 42 h 147"/>
                <a:gd name="T12" fmla="*/ 78 w 88"/>
                <a:gd name="T13" fmla="*/ 49 h 147"/>
                <a:gd name="T14" fmla="*/ 74 w 88"/>
                <a:gd name="T15" fmla="*/ 68 h 147"/>
                <a:gd name="T16" fmla="*/ 63 w 88"/>
                <a:gd name="T17" fmla="*/ 73 h 147"/>
                <a:gd name="T18" fmla="*/ 64 w 88"/>
                <a:gd name="T19" fmla="*/ 78 h 147"/>
                <a:gd name="T20" fmla="*/ 61 w 88"/>
                <a:gd name="T21" fmla="*/ 89 h 147"/>
                <a:gd name="T22" fmla="*/ 68 w 88"/>
                <a:gd name="T23" fmla="*/ 104 h 147"/>
                <a:gd name="T24" fmla="*/ 74 w 88"/>
                <a:gd name="T25" fmla="*/ 104 h 147"/>
                <a:gd name="T26" fmla="*/ 77 w 88"/>
                <a:gd name="T27" fmla="*/ 116 h 147"/>
                <a:gd name="T28" fmla="*/ 88 w 88"/>
                <a:gd name="T29" fmla="*/ 134 h 147"/>
                <a:gd name="T30" fmla="*/ 83 w 88"/>
                <a:gd name="T31" fmla="*/ 135 h 147"/>
                <a:gd name="T32" fmla="*/ 73 w 88"/>
                <a:gd name="T33" fmla="*/ 133 h 147"/>
                <a:gd name="T34" fmla="*/ 67 w 88"/>
                <a:gd name="T35" fmla="*/ 138 h 147"/>
                <a:gd name="T36" fmla="*/ 59 w 88"/>
                <a:gd name="T37" fmla="*/ 142 h 147"/>
                <a:gd name="T38" fmla="*/ 53 w 88"/>
                <a:gd name="T39" fmla="*/ 143 h 147"/>
                <a:gd name="T40" fmla="*/ 51 w 88"/>
                <a:gd name="T41" fmla="*/ 147 h 147"/>
                <a:gd name="T42" fmla="*/ 42 w 88"/>
                <a:gd name="T43" fmla="*/ 146 h 147"/>
                <a:gd name="T44" fmla="*/ 31 w 88"/>
                <a:gd name="T45" fmla="*/ 136 h 147"/>
                <a:gd name="T46" fmla="*/ 29 w 88"/>
                <a:gd name="T47" fmla="*/ 127 h 147"/>
                <a:gd name="T48" fmla="*/ 25 w 88"/>
                <a:gd name="T49" fmla="*/ 116 h 147"/>
                <a:gd name="T50" fmla="*/ 28 w 88"/>
                <a:gd name="T51" fmla="*/ 98 h 147"/>
                <a:gd name="T52" fmla="*/ 33 w 88"/>
                <a:gd name="T53" fmla="*/ 91 h 147"/>
                <a:gd name="T54" fmla="*/ 29 w 88"/>
                <a:gd name="T55" fmla="*/ 82 h 147"/>
                <a:gd name="T56" fmla="*/ 23 w 88"/>
                <a:gd name="T57" fmla="*/ 78 h 147"/>
                <a:gd name="T58" fmla="*/ 25 w 88"/>
                <a:gd name="T59" fmla="*/ 69 h 147"/>
                <a:gd name="T60" fmla="*/ 21 w 88"/>
                <a:gd name="T61" fmla="*/ 64 h 147"/>
                <a:gd name="T62" fmla="*/ 12 w 88"/>
                <a:gd name="T63" fmla="*/ 65 h 147"/>
                <a:gd name="T64" fmla="*/ 0 w 88"/>
                <a:gd name="T65" fmla="*/ 50 h 147"/>
                <a:gd name="T66" fmla="*/ 5 w 88"/>
                <a:gd name="T67" fmla="*/ 44 h 147"/>
                <a:gd name="T68" fmla="*/ 5 w 88"/>
                <a:gd name="T69" fmla="*/ 34 h 147"/>
                <a:gd name="T70" fmla="*/ 16 w 88"/>
                <a:gd name="T71" fmla="*/ 31 h 147"/>
                <a:gd name="T72" fmla="*/ 21 w 88"/>
                <a:gd name="T73" fmla="*/ 27 h 147"/>
                <a:gd name="T74" fmla="*/ 15 w 88"/>
                <a:gd name="T75" fmla="*/ 19 h 147"/>
                <a:gd name="T76" fmla="*/ 17 w 88"/>
                <a:gd name="T77" fmla="*/ 12 h 147"/>
                <a:gd name="T78" fmla="*/ 32 w 88"/>
                <a:gd name="T79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8" h="147">
                  <a:moveTo>
                    <a:pt x="32" y="0"/>
                  </a:moveTo>
                  <a:lnTo>
                    <a:pt x="43" y="7"/>
                  </a:lnTo>
                  <a:lnTo>
                    <a:pt x="54" y="21"/>
                  </a:lnTo>
                  <a:lnTo>
                    <a:pt x="54" y="32"/>
                  </a:lnTo>
                  <a:lnTo>
                    <a:pt x="61" y="32"/>
                  </a:lnTo>
                  <a:lnTo>
                    <a:pt x="71" y="42"/>
                  </a:lnTo>
                  <a:lnTo>
                    <a:pt x="78" y="49"/>
                  </a:lnTo>
                  <a:lnTo>
                    <a:pt x="74" y="68"/>
                  </a:lnTo>
                  <a:lnTo>
                    <a:pt x="63" y="73"/>
                  </a:lnTo>
                  <a:lnTo>
                    <a:pt x="64" y="78"/>
                  </a:lnTo>
                  <a:lnTo>
                    <a:pt x="61" y="89"/>
                  </a:lnTo>
                  <a:lnTo>
                    <a:pt x="68" y="104"/>
                  </a:lnTo>
                  <a:lnTo>
                    <a:pt x="74" y="104"/>
                  </a:lnTo>
                  <a:lnTo>
                    <a:pt x="77" y="116"/>
                  </a:lnTo>
                  <a:lnTo>
                    <a:pt x="88" y="134"/>
                  </a:lnTo>
                  <a:lnTo>
                    <a:pt x="83" y="135"/>
                  </a:lnTo>
                  <a:lnTo>
                    <a:pt x="73" y="133"/>
                  </a:lnTo>
                  <a:lnTo>
                    <a:pt x="67" y="138"/>
                  </a:lnTo>
                  <a:lnTo>
                    <a:pt x="59" y="142"/>
                  </a:lnTo>
                  <a:lnTo>
                    <a:pt x="53" y="143"/>
                  </a:lnTo>
                  <a:lnTo>
                    <a:pt x="51" y="147"/>
                  </a:lnTo>
                  <a:lnTo>
                    <a:pt x="42" y="146"/>
                  </a:lnTo>
                  <a:lnTo>
                    <a:pt x="31" y="136"/>
                  </a:lnTo>
                  <a:lnTo>
                    <a:pt x="29" y="127"/>
                  </a:lnTo>
                  <a:lnTo>
                    <a:pt x="25" y="116"/>
                  </a:lnTo>
                  <a:lnTo>
                    <a:pt x="28" y="98"/>
                  </a:lnTo>
                  <a:lnTo>
                    <a:pt x="33" y="91"/>
                  </a:lnTo>
                  <a:lnTo>
                    <a:pt x="29" y="82"/>
                  </a:lnTo>
                  <a:lnTo>
                    <a:pt x="23" y="78"/>
                  </a:lnTo>
                  <a:lnTo>
                    <a:pt x="25" y="69"/>
                  </a:lnTo>
                  <a:lnTo>
                    <a:pt x="21" y="64"/>
                  </a:lnTo>
                  <a:lnTo>
                    <a:pt x="12" y="65"/>
                  </a:lnTo>
                  <a:lnTo>
                    <a:pt x="0" y="50"/>
                  </a:lnTo>
                  <a:lnTo>
                    <a:pt x="5" y="44"/>
                  </a:lnTo>
                  <a:lnTo>
                    <a:pt x="5" y="34"/>
                  </a:lnTo>
                  <a:lnTo>
                    <a:pt x="16" y="31"/>
                  </a:lnTo>
                  <a:lnTo>
                    <a:pt x="21" y="27"/>
                  </a:lnTo>
                  <a:lnTo>
                    <a:pt x="15" y="19"/>
                  </a:lnTo>
                  <a:lnTo>
                    <a:pt x="17" y="12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25" name="Freeform 82">
              <a:extLst>
                <a:ext uri="{FF2B5EF4-FFF2-40B4-BE49-F238E27FC236}">
                  <a16:creationId xmlns:a16="http://schemas.microsoft.com/office/drawing/2014/main" id="{9CE5DCFD-8DF3-4554-9BEA-8F93D27227B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1422" y="2442889"/>
              <a:ext cx="148480" cy="82055"/>
            </a:xfrm>
            <a:custGeom>
              <a:avLst/>
              <a:gdLst>
                <a:gd name="T0" fmla="*/ 34 w 114"/>
                <a:gd name="T1" fmla="*/ 63 h 63"/>
                <a:gd name="T2" fmla="*/ 32 w 114"/>
                <a:gd name="T3" fmla="*/ 56 h 63"/>
                <a:gd name="T4" fmla="*/ 27 w 114"/>
                <a:gd name="T5" fmla="*/ 54 h 63"/>
                <a:gd name="T6" fmla="*/ 29 w 114"/>
                <a:gd name="T7" fmla="*/ 46 h 63"/>
                <a:gd name="T8" fmla="*/ 26 w 114"/>
                <a:gd name="T9" fmla="*/ 44 h 63"/>
                <a:gd name="T10" fmla="*/ 23 w 114"/>
                <a:gd name="T11" fmla="*/ 42 h 63"/>
                <a:gd name="T12" fmla="*/ 14 w 114"/>
                <a:gd name="T13" fmla="*/ 45 h 63"/>
                <a:gd name="T14" fmla="*/ 14 w 114"/>
                <a:gd name="T15" fmla="*/ 42 h 63"/>
                <a:gd name="T16" fmla="*/ 9 w 114"/>
                <a:gd name="T17" fmla="*/ 39 h 63"/>
                <a:gd name="T18" fmla="*/ 5 w 114"/>
                <a:gd name="T19" fmla="*/ 34 h 63"/>
                <a:gd name="T20" fmla="*/ 0 w 114"/>
                <a:gd name="T21" fmla="*/ 33 h 63"/>
                <a:gd name="T22" fmla="*/ 4 w 114"/>
                <a:gd name="T23" fmla="*/ 28 h 63"/>
                <a:gd name="T24" fmla="*/ 3 w 114"/>
                <a:gd name="T25" fmla="*/ 23 h 63"/>
                <a:gd name="T26" fmla="*/ 5 w 114"/>
                <a:gd name="T27" fmla="*/ 19 h 63"/>
                <a:gd name="T28" fmla="*/ 14 w 114"/>
                <a:gd name="T29" fmla="*/ 14 h 63"/>
                <a:gd name="T30" fmla="*/ 23 w 114"/>
                <a:gd name="T31" fmla="*/ 6 h 63"/>
                <a:gd name="T32" fmla="*/ 25 w 114"/>
                <a:gd name="T33" fmla="*/ 7 h 63"/>
                <a:gd name="T34" fmla="*/ 30 w 114"/>
                <a:gd name="T35" fmla="*/ 3 h 63"/>
                <a:gd name="T36" fmla="*/ 35 w 114"/>
                <a:gd name="T37" fmla="*/ 2 h 63"/>
                <a:gd name="T38" fmla="*/ 36 w 114"/>
                <a:gd name="T39" fmla="*/ 4 h 63"/>
                <a:gd name="T40" fmla="*/ 39 w 114"/>
                <a:gd name="T41" fmla="*/ 3 h 63"/>
                <a:gd name="T42" fmla="*/ 48 w 114"/>
                <a:gd name="T43" fmla="*/ 5 h 63"/>
                <a:gd name="T44" fmla="*/ 56 w 114"/>
                <a:gd name="T45" fmla="*/ 4 h 63"/>
                <a:gd name="T46" fmla="*/ 62 w 114"/>
                <a:gd name="T47" fmla="*/ 2 h 63"/>
                <a:gd name="T48" fmla="*/ 65 w 114"/>
                <a:gd name="T49" fmla="*/ 0 h 63"/>
                <a:gd name="T50" fmla="*/ 70 w 114"/>
                <a:gd name="T51" fmla="*/ 1 h 63"/>
                <a:gd name="T52" fmla="*/ 74 w 114"/>
                <a:gd name="T53" fmla="*/ 2 h 63"/>
                <a:gd name="T54" fmla="*/ 79 w 114"/>
                <a:gd name="T55" fmla="*/ 2 h 63"/>
                <a:gd name="T56" fmla="*/ 83 w 114"/>
                <a:gd name="T57" fmla="*/ 0 h 63"/>
                <a:gd name="T58" fmla="*/ 91 w 114"/>
                <a:gd name="T59" fmla="*/ 3 h 63"/>
                <a:gd name="T60" fmla="*/ 94 w 114"/>
                <a:gd name="T61" fmla="*/ 3 h 63"/>
                <a:gd name="T62" fmla="*/ 99 w 114"/>
                <a:gd name="T63" fmla="*/ 7 h 63"/>
                <a:gd name="T64" fmla="*/ 104 w 114"/>
                <a:gd name="T65" fmla="*/ 12 h 63"/>
                <a:gd name="T66" fmla="*/ 110 w 114"/>
                <a:gd name="T67" fmla="*/ 15 h 63"/>
                <a:gd name="T68" fmla="*/ 114 w 114"/>
                <a:gd name="T69" fmla="*/ 21 h 63"/>
                <a:gd name="T70" fmla="*/ 108 w 114"/>
                <a:gd name="T71" fmla="*/ 20 h 63"/>
                <a:gd name="T72" fmla="*/ 105 w 114"/>
                <a:gd name="T73" fmla="*/ 23 h 63"/>
                <a:gd name="T74" fmla="*/ 99 w 114"/>
                <a:gd name="T75" fmla="*/ 26 h 63"/>
                <a:gd name="T76" fmla="*/ 94 w 114"/>
                <a:gd name="T77" fmla="*/ 26 h 63"/>
                <a:gd name="T78" fmla="*/ 90 w 114"/>
                <a:gd name="T79" fmla="*/ 29 h 63"/>
                <a:gd name="T80" fmla="*/ 86 w 114"/>
                <a:gd name="T81" fmla="*/ 28 h 63"/>
                <a:gd name="T82" fmla="*/ 84 w 114"/>
                <a:gd name="T83" fmla="*/ 25 h 63"/>
                <a:gd name="T84" fmla="*/ 82 w 114"/>
                <a:gd name="T85" fmla="*/ 25 h 63"/>
                <a:gd name="T86" fmla="*/ 79 w 114"/>
                <a:gd name="T87" fmla="*/ 30 h 63"/>
                <a:gd name="T88" fmla="*/ 77 w 114"/>
                <a:gd name="T89" fmla="*/ 30 h 63"/>
                <a:gd name="T90" fmla="*/ 76 w 114"/>
                <a:gd name="T91" fmla="*/ 34 h 63"/>
                <a:gd name="T92" fmla="*/ 69 w 114"/>
                <a:gd name="T93" fmla="*/ 40 h 63"/>
                <a:gd name="T94" fmla="*/ 66 w 114"/>
                <a:gd name="T95" fmla="*/ 42 h 63"/>
                <a:gd name="T96" fmla="*/ 64 w 114"/>
                <a:gd name="T97" fmla="*/ 45 h 63"/>
                <a:gd name="T98" fmla="*/ 59 w 114"/>
                <a:gd name="T99" fmla="*/ 41 h 63"/>
                <a:gd name="T100" fmla="*/ 54 w 114"/>
                <a:gd name="T101" fmla="*/ 46 h 63"/>
                <a:gd name="T102" fmla="*/ 51 w 114"/>
                <a:gd name="T103" fmla="*/ 46 h 63"/>
                <a:gd name="T104" fmla="*/ 46 w 114"/>
                <a:gd name="T105" fmla="*/ 47 h 63"/>
                <a:gd name="T106" fmla="*/ 46 w 114"/>
                <a:gd name="T107" fmla="*/ 57 h 63"/>
                <a:gd name="T108" fmla="*/ 43 w 114"/>
                <a:gd name="T109" fmla="*/ 57 h 63"/>
                <a:gd name="T110" fmla="*/ 40 w 114"/>
                <a:gd name="T111" fmla="*/ 62 h 63"/>
                <a:gd name="T112" fmla="*/ 34 w 114"/>
                <a:gd name="T113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4" h="63">
                  <a:moveTo>
                    <a:pt x="34" y="63"/>
                  </a:moveTo>
                  <a:lnTo>
                    <a:pt x="32" y="56"/>
                  </a:lnTo>
                  <a:lnTo>
                    <a:pt x="27" y="54"/>
                  </a:lnTo>
                  <a:lnTo>
                    <a:pt x="29" y="46"/>
                  </a:lnTo>
                  <a:lnTo>
                    <a:pt x="26" y="44"/>
                  </a:lnTo>
                  <a:lnTo>
                    <a:pt x="23" y="42"/>
                  </a:lnTo>
                  <a:lnTo>
                    <a:pt x="14" y="45"/>
                  </a:lnTo>
                  <a:lnTo>
                    <a:pt x="14" y="42"/>
                  </a:lnTo>
                  <a:lnTo>
                    <a:pt x="9" y="39"/>
                  </a:lnTo>
                  <a:lnTo>
                    <a:pt x="5" y="34"/>
                  </a:lnTo>
                  <a:lnTo>
                    <a:pt x="0" y="33"/>
                  </a:lnTo>
                  <a:lnTo>
                    <a:pt x="4" y="28"/>
                  </a:lnTo>
                  <a:lnTo>
                    <a:pt x="3" y="23"/>
                  </a:lnTo>
                  <a:lnTo>
                    <a:pt x="5" y="19"/>
                  </a:lnTo>
                  <a:lnTo>
                    <a:pt x="14" y="14"/>
                  </a:lnTo>
                  <a:lnTo>
                    <a:pt x="23" y="6"/>
                  </a:lnTo>
                  <a:lnTo>
                    <a:pt x="25" y="7"/>
                  </a:lnTo>
                  <a:lnTo>
                    <a:pt x="30" y="3"/>
                  </a:lnTo>
                  <a:lnTo>
                    <a:pt x="35" y="2"/>
                  </a:lnTo>
                  <a:lnTo>
                    <a:pt x="36" y="4"/>
                  </a:lnTo>
                  <a:lnTo>
                    <a:pt x="39" y="3"/>
                  </a:lnTo>
                  <a:lnTo>
                    <a:pt x="48" y="5"/>
                  </a:lnTo>
                  <a:lnTo>
                    <a:pt x="56" y="4"/>
                  </a:lnTo>
                  <a:lnTo>
                    <a:pt x="62" y="2"/>
                  </a:lnTo>
                  <a:lnTo>
                    <a:pt x="65" y="0"/>
                  </a:lnTo>
                  <a:lnTo>
                    <a:pt x="70" y="1"/>
                  </a:lnTo>
                  <a:lnTo>
                    <a:pt x="74" y="2"/>
                  </a:lnTo>
                  <a:lnTo>
                    <a:pt x="79" y="2"/>
                  </a:lnTo>
                  <a:lnTo>
                    <a:pt x="83" y="0"/>
                  </a:lnTo>
                  <a:lnTo>
                    <a:pt x="91" y="3"/>
                  </a:lnTo>
                  <a:lnTo>
                    <a:pt x="94" y="3"/>
                  </a:lnTo>
                  <a:lnTo>
                    <a:pt x="99" y="7"/>
                  </a:lnTo>
                  <a:lnTo>
                    <a:pt x="104" y="12"/>
                  </a:lnTo>
                  <a:lnTo>
                    <a:pt x="110" y="15"/>
                  </a:lnTo>
                  <a:lnTo>
                    <a:pt x="114" y="21"/>
                  </a:lnTo>
                  <a:lnTo>
                    <a:pt x="108" y="20"/>
                  </a:lnTo>
                  <a:lnTo>
                    <a:pt x="105" y="23"/>
                  </a:lnTo>
                  <a:lnTo>
                    <a:pt x="99" y="26"/>
                  </a:lnTo>
                  <a:lnTo>
                    <a:pt x="94" y="26"/>
                  </a:lnTo>
                  <a:lnTo>
                    <a:pt x="90" y="29"/>
                  </a:lnTo>
                  <a:lnTo>
                    <a:pt x="86" y="28"/>
                  </a:lnTo>
                  <a:lnTo>
                    <a:pt x="84" y="25"/>
                  </a:lnTo>
                  <a:lnTo>
                    <a:pt x="82" y="25"/>
                  </a:lnTo>
                  <a:lnTo>
                    <a:pt x="79" y="30"/>
                  </a:lnTo>
                  <a:lnTo>
                    <a:pt x="77" y="30"/>
                  </a:lnTo>
                  <a:lnTo>
                    <a:pt x="76" y="34"/>
                  </a:lnTo>
                  <a:lnTo>
                    <a:pt x="69" y="40"/>
                  </a:lnTo>
                  <a:lnTo>
                    <a:pt x="66" y="42"/>
                  </a:lnTo>
                  <a:lnTo>
                    <a:pt x="64" y="45"/>
                  </a:lnTo>
                  <a:lnTo>
                    <a:pt x="59" y="41"/>
                  </a:lnTo>
                  <a:lnTo>
                    <a:pt x="54" y="46"/>
                  </a:lnTo>
                  <a:lnTo>
                    <a:pt x="51" y="46"/>
                  </a:lnTo>
                  <a:lnTo>
                    <a:pt x="46" y="47"/>
                  </a:lnTo>
                  <a:lnTo>
                    <a:pt x="46" y="57"/>
                  </a:lnTo>
                  <a:lnTo>
                    <a:pt x="43" y="57"/>
                  </a:lnTo>
                  <a:lnTo>
                    <a:pt x="40" y="62"/>
                  </a:lnTo>
                  <a:lnTo>
                    <a:pt x="34" y="6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26" name="Freeform 83">
              <a:extLst>
                <a:ext uri="{FF2B5EF4-FFF2-40B4-BE49-F238E27FC236}">
                  <a16:creationId xmlns:a16="http://schemas.microsoft.com/office/drawing/2014/main" id="{29667564-6F3A-454A-8FA5-24F7FD0B75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3577" y="1621037"/>
              <a:ext cx="122431" cy="106802"/>
            </a:xfrm>
            <a:custGeom>
              <a:avLst/>
              <a:gdLst>
                <a:gd name="T0" fmla="*/ 343 w 386"/>
                <a:gd name="T1" fmla="*/ 50 h 337"/>
                <a:gd name="T2" fmla="*/ 363 w 386"/>
                <a:gd name="T3" fmla="*/ 82 h 337"/>
                <a:gd name="T4" fmla="*/ 386 w 386"/>
                <a:gd name="T5" fmla="*/ 106 h 337"/>
                <a:gd name="T6" fmla="*/ 363 w 386"/>
                <a:gd name="T7" fmla="*/ 137 h 337"/>
                <a:gd name="T8" fmla="*/ 331 w 386"/>
                <a:gd name="T9" fmla="*/ 119 h 337"/>
                <a:gd name="T10" fmla="*/ 284 w 386"/>
                <a:gd name="T11" fmla="*/ 120 h 337"/>
                <a:gd name="T12" fmla="*/ 225 w 386"/>
                <a:gd name="T13" fmla="*/ 106 h 337"/>
                <a:gd name="T14" fmla="*/ 194 w 386"/>
                <a:gd name="T15" fmla="*/ 108 h 337"/>
                <a:gd name="T16" fmla="*/ 181 w 386"/>
                <a:gd name="T17" fmla="*/ 125 h 337"/>
                <a:gd name="T18" fmla="*/ 155 w 386"/>
                <a:gd name="T19" fmla="*/ 106 h 337"/>
                <a:gd name="T20" fmla="*/ 144 w 386"/>
                <a:gd name="T21" fmla="*/ 141 h 337"/>
                <a:gd name="T22" fmla="*/ 180 w 386"/>
                <a:gd name="T23" fmla="*/ 180 h 337"/>
                <a:gd name="T24" fmla="*/ 196 w 386"/>
                <a:gd name="T25" fmla="*/ 206 h 337"/>
                <a:gd name="T26" fmla="*/ 230 w 386"/>
                <a:gd name="T27" fmla="*/ 237 h 337"/>
                <a:gd name="T28" fmla="*/ 257 w 386"/>
                <a:gd name="T29" fmla="*/ 256 h 337"/>
                <a:gd name="T30" fmla="*/ 286 w 386"/>
                <a:gd name="T31" fmla="*/ 291 h 337"/>
                <a:gd name="T32" fmla="*/ 349 w 386"/>
                <a:gd name="T33" fmla="*/ 323 h 337"/>
                <a:gd name="T34" fmla="*/ 342 w 386"/>
                <a:gd name="T35" fmla="*/ 337 h 337"/>
                <a:gd name="T36" fmla="*/ 276 w 386"/>
                <a:gd name="T37" fmla="*/ 306 h 337"/>
                <a:gd name="T38" fmla="*/ 234 w 386"/>
                <a:gd name="T39" fmla="*/ 276 h 337"/>
                <a:gd name="T40" fmla="*/ 170 w 386"/>
                <a:gd name="T41" fmla="*/ 251 h 337"/>
                <a:gd name="T42" fmla="*/ 108 w 386"/>
                <a:gd name="T43" fmla="*/ 189 h 337"/>
                <a:gd name="T44" fmla="*/ 121 w 386"/>
                <a:gd name="T45" fmla="*/ 183 h 337"/>
                <a:gd name="T46" fmla="*/ 88 w 386"/>
                <a:gd name="T47" fmla="*/ 148 h 337"/>
                <a:gd name="T48" fmla="*/ 85 w 386"/>
                <a:gd name="T49" fmla="*/ 119 h 337"/>
                <a:gd name="T50" fmla="*/ 40 w 386"/>
                <a:gd name="T51" fmla="*/ 106 h 337"/>
                <a:gd name="T52" fmla="*/ 22 w 386"/>
                <a:gd name="T53" fmla="*/ 142 h 337"/>
                <a:gd name="T54" fmla="*/ 0 w 386"/>
                <a:gd name="T55" fmla="*/ 114 h 337"/>
                <a:gd name="T56" fmla="*/ 0 w 386"/>
                <a:gd name="T57" fmla="*/ 85 h 337"/>
                <a:gd name="T58" fmla="*/ 2 w 386"/>
                <a:gd name="T59" fmla="*/ 84 h 337"/>
                <a:gd name="T60" fmla="*/ 49 w 386"/>
                <a:gd name="T61" fmla="*/ 87 h 337"/>
                <a:gd name="T62" fmla="*/ 61 w 386"/>
                <a:gd name="T63" fmla="*/ 72 h 337"/>
                <a:gd name="T64" fmla="*/ 85 w 386"/>
                <a:gd name="T65" fmla="*/ 86 h 337"/>
                <a:gd name="T66" fmla="*/ 111 w 386"/>
                <a:gd name="T67" fmla="*/ 88 h 337"/>
                <a:gd name="T68" fmla="*/ 109 w 386"/>
                <a:gd name="T69" fmla="*/ 64 h 337"/>
                <a:gd name="T70" fmla="*/ 132 w 386"/>
                <a:gd name="T71" fmla="*/ 56 h 337"/>
                <a:gd name="T72" fmla="*/ 136 w 386"/>
                <a:gd name="T73" fmla="*/ 22 h 337"/>
                <a:gd name="T74" fmla="*/ 187 w 386"/>
                <a:gd name="T75" fmla="*/ 0 h 337"/>
                <a:gd name="T76" fmla="*/ 210 w 386"/>
                <a:gd name="T77" fmla="*/ 10 h 337"/>
                <a:gd name="T78" fmla="*/ 263 w 386"/>
                <a:gd name="T79" fmla="*/ 46 h 337"/>
                <a:gd name="T80" fmla="*/ 320 w 386"/>
                <a:gd name="T81" fmla="*/ 62 h 337"/>
                <a:gd name="T82" fmla="*/ 344 w 386"/>
                <a:gd name="T83" fmla="*/ 5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86" h="337">
                  <a:moveTo>
                    <a:pt x="343" y="50"/>
                  </a:moveTo>
                  <a:lnTo>
                    <a:pt x="363" y="82"/>
                  </a:lnTo>
                  <a:lnTo>
                    <a:pt x="386" y="106"/>
                  </a:lnTo>
                  <a:lnTo>
                    <a:pt x="363" y="137"/>
                  </a:lnTo>
                  <a:lnTo>
                    <a:pt x="331" y="119"/>
                  </a:lnTo>
                  <a:lnTo>
                    <a:pt x="284" y="120"/>
                  </a:lnTo>
                  <a:lnTo>
                    <a:pt x="225" y="106"/>
                  </a:lnTo>
                  <a:lnTo>
                    <a:pt x="194" y="108"/>
                  </a:lnTo>
                  <a:lnTo>
                    <a:pt x="181" y="125"/>
                  </a:lnTo>
                  <a:lnTo>
                    <a:pt x="155" y="106"/>
                  </a:lnTo>
                  <a:lnTo>
                    <a:pt x="144" y="141"/>
                  </a:lnTo>
                  <a:lnTo>
                    <a:pt x="180" y="180"/>
                  </a:lnTo>
                  <a:lnTo>
                    <a:pt x="196" y="206"/>
                  </a:lnTo>
                  <a:lnTo>
                    <a:pt x="230" y="237"/>
                  </a:lnTo>
                  <a:lnTo>
                    <a:pt x="257" y="256"/>
                  </a:lnTo>
                  <a:lnTo>
                    <a:pt x="286" y="291"/>
                  </a:lnTo>
                  <a:lnTo>
                    <a:pt x="349" y="323"/>
                  </a:lnTo>
                  <a:lnTo>
                    <a:pt x="342" y="337"/>
                  </a:lnTo>
                  <a:lnTo>
                    <a:pt x="276" y="306"/>
                  </a:lnTo>
                  <a:lnTo>
                    <a:pt x="234" y="276"/>
                  </a:lnTo>
                  <a:lnTo>
                    <a:pt x="170" y="251"/>
                  </a:lnTo>
                  <a:lnTo>
                    <a:pt x="108" y="189"/>
                  </a:lnTo>
                  <a:lnTo>
                    <a:pt x="121" y="183"/>
                  </a:lnTo>
                  <a:lnTo>
                    <a:pt x="88" y="148"/>
                  </a:lnTo>
                  <a:lnTo>
                    <a:pt x="85" y="119"/>
                  </a:lnTo>
                  <a:lnTo>
                    <a:pt x="40" y="106"/>
                  </a:lnTo>
                  <a:lnTo>
                    <a:pt x="22" y="142"/>
                  </a:lnTo>
                  <a:lnTo>
                    <a:pt x="0" y="114"/>
                  </a:lnTo>
                  <a:lnTo>
                    <a:pt x="0" y="85"/>
                  </a:lnTo>
                  <a:lnTo>
                    <a:pt x="2" y="84"/>
                  </a:lnTo>
                  <a:lnTo>
                    <a:pt x="49" y="87"/>
                  </a:lnTo>
                  <a:lnTo>
                    <a:pt x="61" y="72"/>
                  </a:lnTo>
                  <a:lnTo>
                    <a:pt x="85" y="86"/>
                  </a:lnTo>
                  <a:lnTo>
                    <a:pt x="111" y="88"/>
                  </a:lnTo>
                  <a:lnTo>
                    <a:pt x="109" y="64"/>
                  </a:lnTo>
                  <a:lnTo>
                    <a:pt x="132" y="56"/>
                  </a:lnTo>
                  <a:lnTo>
                    <a:pt x="136" y="22"/>
                  </a:lnTo>
                  <a:lnTo>
                    <a:pt x="187" y="0"/>
                  </a:lnTo>
                  <a:lnTo>
                    <a:pt x="210" y="10"/>
                  </a:lnTo>
                  <a:lnTo>
                    <a:pt x="263" y="46"/>
                  </a:lnTo>
                  <a:lnTo>
                    <a:pt x="320" y="62"/>
                  </a:lnTo>
                  <a:lnTo>
                    <a:pt x="344" y="50"/>
                  </a:lnTo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27" name="Freeform 84">
              <a:extLst>
                <a:ext uri="{FF2B5EF4-FFF2-40B4-BE49-F238E27FC236}">
                  <a16:creationId xmlns:a16="http://schemas.microsoft.com/office/drawing/2014/main" id="{EF3E3B97-CA8A-4FAC-8C0F-90584952BF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4809" y="2337390"/>
              <a:ext cx="70333" cy="50796"/>
            </a:xfrm>
            <a:custGeom>
              <a:avLst/>
              <a:gdLst>
                <a:gd name="T0" fmla="*/ 27 w 54"/>
                <a:gd name="T1" fmla="*/ 0 h 39"/>
                <a:gd name="T2" fmla="*/ 38 w 54"/>
                <a:gd name="T3" fmla="*/ 0 h 39"/>
                <a:gd name="T4" fmla="*/ 53 w 54"/>
                <a:gd name="T5" fmla="*/ 4 h 39"/>
                <a:gd name="T6" fmla="*/ 54 w 54"/>
                <a:gd name="T7" fmla="*/ 15 h 39"/>
                <a:gd name="T8" fmla="*/ 51 w 54"/>
                <a:gd name="T9" fmla="*/ 23 h 39"/>
                <a:gd name="T10" fmla="*/ 46 w 54"/>
                <a:gd name="T11" fmla="*/ 27 h 39"/>
                <a:gd name="T12" fmla="*/ 50 w 54"/>
                <a:gd name="T13" fmla="*/ 33 h 39"/>
                <a:gd name="T14" fmla="*/ 49 w 54"/>
                <a:gd name="T15" fmla="*/ 39 h 39"/>
                <a:gd name="T16" fmla="*/ 38 w 54"/>
                <a:gd name="T17" fmla="*/ 35 h 39"/>
                <a:gd name="T18" fmla="*/ 29 w 54"/>
                <a:gd name="T19" fmla="*/ 36 h 39"/>
                <a:gd name="T20" fmla="*/ 18 w 54"/>
                <a:gd name="T21" fmla="*/ 35 h 39"/>
                <a:gd name="T22" fmla="*/ 9 w 54"/>
                <a:gd name="T23" fmla="*/ 39 h 39"/>
                <a:gd name="T24" fmla="*/ 0 w 54"/>
                <a:gd name="T25" fmla="*/ 32 h 39"/>
                <a:gd name="T26" fmla="*/ 3 w 54"/>
                <a:gd name="T27" fmla="*/ 26 h 39"/>
                <a:gd name="T28" fmla="*/ 19 w 54"/>
                <a:gd name="T29" fmla="*/ 29 h 39"/>
                <a:gd name="T30" fmla="*/ 33 w 54"/>
                <a:gd name="T31" fmla="*/ 30 h 39"/>
                <a:gd name="T32" fmla="*/ 39 w 54"/>
                <a:gd name="T33" fmla="*/ 26 h 39"/>
                <a:gd name="T34" fmla="*/ 32 w 54"/>
                <a:gd name="T35" fmla="*/ 17 h 39"/>
                <a:gd name="T36" fmla="*/ 33 w 54"/>
                <a:gd name="T37" fmla="*/ 9 h 39"/>
                <a:gd name="T38" fmla="*/ 22 w 54"/>
                <a:gd name="T39" fmla="*/ 5 h 39"/>
                <a:gd name="T40" fmla="*/ 27 w 54"/>
                <a:gd name="T4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4" h="39">
                  <a:moveTo>
                    <a:pt x="27" y="0"/>
                  </a:moveTo>
                  <a:lnTo>
                    <a:pt x="38" y="0"/>
                  </a:lnTo>
                  <a:lnTo>
                    <a:pt x="53" y="4"/>
                  </a:lnTo>
                  <a:lnTo>
                    <a:pt x="54" y="15"/>
                  </a:lnTo>
                  <a:lnTo>
                    <a:pt x="51" y="23"/>
                  </a:lnTo>
                  <a:lnTo>
                    <a:pt x="46" y="27"/>
                  </a:lnTo>
                  <a:lnTo>
                    <a:pt x="50" y="33"/>
                  </a:lnTo>
                  <a:lnTo>
                    <a:pt x="49" y="39"/>
                  </a:lnTo>
                  <a:lnTo>
                    <a:pt x="38" y="35"/>
                  </a:lnTo>
                  <a:lnTo>
                    <a:pt x="29" y="36"/>
                  </a:lnTo>
                  <a:lnTo>
                    <a:pt x="18" y="35"/>
                  </a:lnTo>
                  <a:lnTo>
                    <a:pt x="9" y="39"/>
                  </a:lnTo>
                  <a:lnTo>
                    <a:pt x="0" y="32"/>
                  </a:lnTo>
                  <a:lnTo>
                    <a:pt x="3" y="26"/>
                  </a:lnTo>
                  <a:lnTo>
                    <a:pt x="19" y="29"/>
                  </a:lnTo>
                  <a:lnTo>
                    <a:pt x="33" y="30"/>
                  </a:lnTo>
                  <a:lnTo>
                    <a:pt x="39" y="26"/>
                  </a:lnTo>
                  <a:lnTo>
                    <a:pt x="32" y="17"/>
                  </a:lnTo>
                  <a:lnTo>
                    <a:pt x="33" y="9"/>
                  </a:lnTo>
                  <a:lnTo>
                    <a:pt x="22" y="5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28" name="Freeform 85">
              <a:extLst>
                <a:ext uri="{FF2B5EF4-FFF2-40B4-BE49-F238E27FC236}">
                  <a16:creationId xmlns:a16="http://schemas.microsoft.com/office/drawing/2014/main" id="{52B07A6F-51B7-45FB-9FFB-987C13BFA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4374" y="1565031"/>
              <a:ext cx="135456" cy="75543"/>
            </a:xfrm>
            <a:custGeom>
              <a:avLst/>
              <a:gdLst>
                <a:gd name="T0" fmla="*/ 0 w 104"/>
                <a:gd name="T1" fmla="*/ 36 h 58"/>
                <a:gd name="T2" fmla="*/ 5 w 104"/>
                <a:gd name="T3" fmla="*/ 23 h 58"/>
                <a:gd name="T4" fmla="*/ 1 w 104"/>
                <a:gd name="T5" fmla="*/ 18 h 58"/>
                <a:gd name="T6" fmla="*/ 10 w 104"/>
                <a:gd name="T7" fmla="*/ 18 h 58"/>
                <a:gd name="T8" fmla="*/ 11 w 104"/>
                <a:gd name="T9" fmla="*/ 10 h 58"/>
                <a:gd name="T10" fmla="*/ 20 w 104"/>
                <a:gd name="T11" fmla="*/ 15 h 58"/>
                <a:gd name="T12" fmla="*/ 26 w 104"/>
                <a:gd name="T13" fmla="*/ 17 h 58"/>
                <a:gd name="T14" fmla="*/ 39 w 104"/>
                <a:gd name="T15" fmla="*/ 15 h 58"/>
                <a:gd name="T16" fmla="*/ 40 w 104"/>
                <a:gd name="T17" fmla="*/ 11 h 58"/>
                <a:gd name="T18" fmla="*/ 46 w 104"/>
                <a:gd name="T19" fmla="*/ 10 h 58"/>
                <a:gd name="T20" fmla="*/ 54 w 104"/>
                <a:gd name="T21" fmla="*/ 7 h 58"/>
                <a:gd name="T22" fmla="*/ 56 w 104"/>
                <a:gd name="T23" fmla="*/ 8 h 58"/>
                <a:gd name="T24" fmla="*/ 63 w 104"/>
                <a:gd name="T25" fmla="*/ 6 h 58"/>
                <a:gd name="T26" fmla="*/ 66 w 104"/>
                <a:gd name="T27" fmla="*/ 1 h 58"/>
                <a:gd name="T28" fmla="*/ 72 w 104"/>
                <a:gd name="T29" fmla="*/ 0 h 58"/>
                <a:gd name="T30" fmla="*/ 90 w 104"/>
                <a:gd name="T31" fmla="*/ 6 h 58"/>
                <a:gd name="T32" fmla="*/ 93 w 104"/>
                <a:gd name="T33" fmla="*/ 4 h 58"/>
                <a:gd name="T34" fmla="*/ 102 w 104"/>
                <a:gd name="T35" fmla="*/ 9 h 58"/>
                <a:gd name="T36" fmla="*/ 104 w 104"/>
                <a:gd name="T37" fmla="*/ 15 h 58"/>
                <a:gd name="T38" fmla="*/ 95 w 104"/>
                <a:gd name="T39" fmla="*/ 19 h 58"/>
                <a:gd name="T40" fmla="*/ 89 w 104"/>
                <a:gd name="T41" fmla="*/ 33 h 58"/>
                <a:gd name="T42" fmla="*/ 80 w 104"/>
                <a:gd name="T43" fmla="*/ 47 h 58"/>
                <a:gd name="T44" fmla="*/ 67 w 104"/>
                <a:gd name="T45" fmla="*/ 51 h 58"/>
                <a:gd name="T46" fmla="*/ 57 w 104"/>
                <a:gd name="T47" fmla="*/ 50 h 58"/>
                <a:gd name="T48" fmla="*/ 45 w 104"/>
                <a:gd name="T49" fmla="*/ 55 h 58"/>
                <a:gd name="T50" fmla="*/ 39 w 104"/>
                <a:gd name="T51" fmla="*/ 58 h 58"/>
                <a:gd name="T52" fmla="*/ 25 w 104"/>
                <a:gd name="T53" fmla="*/ 54 h 58"/>
                <a:gd name="T54" fmla="*/ 12 w 104"/>
                <a:gd name="T55" fmla="*/ 45 h 58"/>
                <a:gd name="T56" fmla="*/ 7 w 104"/>
                <a:gd name="T57" fmla="*/ 43 h 58"/>
                <a:gd name="T58" fmla="*/ 3 w 104"/>
                <a:gd name="T59" fmla="*/ 36 h 58"/>
                <a:gd name="T60" fmla="*/ 0 w 104"/>
                <a:gd name="T61" fmla="*/ 36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4" h="58">
                  <a:moveTo>
                    <a:pt x="0" y="36"/>
                  </a:moveTo>
                  <a:lnTo>
                    <a:pt x="5" y="23"/>
                  </a:lnTo>
                  <a:lnTo>
                    <a:pt x="1" y="18"/>
                  </a:lnTo>
                  <a:lnTo>
                    <a:pt x="10" y="18"/>
                  </a:lnTo>
                  <a:lnTo>
                    <a:pt x="11" y="10"/>
                  </a:lnTo>
                  <a:lnTo>
                    <a:pt x="20" y="15"/>
                  </a:lnTo>
                  <a:lnTo>
                    <a:pt x="26" y="17"/>
                  </a:lnTo>
                  <a:lnTo>
                    <a:pt x="39" y="15"/>
                  </a:lnTo>
                  <a:lnTo>
                    <a:pt x="40" y="11"/>
                  </a:lnTo>
                  <a:lnTo>
                    <a:pt x="46" y="10"/>
                  </a:lnTo>
                  <a:lnTo>
                    <a:pt x="54" y="7"/>
                  </a:lnTo>
                  <a:lnTo>
                    <a:pt x="56" y="8"/>
                  </a:lnTo>
                  <a:lnTo>
                    <a:pt x="63" y="6"/>
                  </a:lnTo>
                  <a:lnTo>
                    <a:pt x="66" y="1"/>
                  </a:lnTo>
                  <a:lnTo>
                    <a:pt x="72" y="0"/>
                  </a:lnTo>
                  <a:lnTo>
                    <a:pt x="90" y="6"/>
                  </a:lnTo>
                  <a:lnTo>
                    <a:pt x="93" y="4"/>
                  </a:lnTo>
                  <a:lnTo>
                    <a:pt x="102" y="9"/>
                  </a:lnTo>
                  <a:lnTo>
                    <a:pt x="104" y="15"/>
                  </a:lnTo>
                  <a:lnTo>
                    <a:pt x="95" y="19"/>
                  </a:lnTo>
                  <a:lnTo>
                    <a:pt x="89" y="33"/>
                  </a:lnTo>
                  <a:lnTo>
                    <a:pt x="80" y="47"/>
                  </a:lnTo>
                  <a:lnTo>
                    <a:pt x="67" y="51"/>
                  </a:lnTo>
                  <a:lnTo>
                    <a:pt x="57" y="50"/>
                  </a:lnTo>
                  <a:lnTo>
                    <a:pt x="45" y="55"/>
                  </a:lnTo>
                  <a:lnTo>
                    <a:pt x="39" y="58"/>
                  </a:lnTo>
                  <a:lnTo>
                    <a:pt x="25" y="54"/>
                  </a:lnTo>
                  <a:lnTo>
                    <a:pt x="12" y="45"/>
                  </a:lnTo>
                  <a:lnTo>
                    <a:pt x="7" y="43"/>
                  </a:lnTo>
                  <a:lnTo>
                    <a:pt x="3" y="36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29" name="Freeform 86">
              <a:extLst>
                <a:ext uri="{FF2B5EF4-FFF2-40B4-BE49-F238E27FC236}">
                  <a16:creationId xmlns:a16="http://schemas.microsoft.com/office/drawing/2014/main" id="{2F0C5000-F35B-43F0-B200-7AC5264474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18526" y="2728129"/>
              <a:ext cx="1095369" cy="428510"/>
            </a:xfrm>
            <a:custGeom>
              <a:avLst/>
              <a:gdLst>
                <a:gd name="T0" fmla="*/ 552 w 3445"/>
                <a:gd name="T1" fmla="*/ 826 h 1349"/>
                <a:gd name="T2" fmla="*/ 373 w 3445"/>
                <a:gd name="T3" fmla="*/ 522 h 1349"/>
                <a:gd name="T4" fmla="*/ 188 w 3445"/>
                <a:gd name="T5" fmla="*/ 258 h 1349"/>
                <a:gd name="T6" fmla="*/ 0 w 3445"/>
                <a:gd name="T7" fmla="*/ 0 h 1349"/>
                <a:gd name="T8" fmla="*/ 294 w 3445"/>
                <a:gd name="T9" fmla="*/ 161 h 1349"/>
                <a:gd name="T10" fmla="*/ 550 w 3445"/>
                <a:gd name="T11" fmla="*/ 347 h 1349"/>
                <a:gd name="T12" fmla="*/ 664 w 3445"/>
                <a:gd name="T13" fmla="*/ 557 h 1349"/>
                <a:gd name="T14" fmla="*/ 784 w 3445"/>
                <a:gd name="T15" fmla="*/ 673 h 1349"/>
                <a:gd name="T16" fmla="*/ 1707 w 3445"/>
                <a:gd name="T17" fmla="*/ 311 h 1349"/>
                <a:gd name="T18" fmla="*/ 1681 w 3445"/>
                <a:gd name="T19" fmla="*/ 535 h 1349"/>
                <a:gd name="T20" fmla="*/ 1562 w 3445"/>
                <a:gd name="T21" fmla="*/ 778 h 1349"/>
                <a:gd name="T22" fmla="*/ 1357 w 3445"/>
                <a:gd name="T23" fmla="*/ 732 h 1349"/>
                <a:gd name="T24" fmla="*/ 1129 w 3445"/>
                <a:gd name="T25" fmla="*/ 716 h 1349"/>
                <a:gd name="T26" fmla="*/ 1037 w 3445"/>
                <a:gd name="T27" fmla="*/ 431 h 1349"/>
                <a:gd name="T28" fmla="*/ 1154 w 3445"/>
                <a:gd name="T29" fmla="*/ 401 h 1349"/>
                <a:gd name="T30" fmla="*/ 1330 w 3445"/>
                <a:gd name="T31" fmla="*/ 339 h 1349"/>
                <a:gd name="T32" fmla="*/ 1527 w 3445"/>
                <a:gd name="T33" fmla="*/ 197 h 1349"/>
                <a:gd name="T34" fmla="*/ 1662 w 3445"/>
                <a:gd name="T35" fmla="*/ 191 h 1349"/>
                <a:gd name="T36" fmla="*/ 2518 w 3445"/>
                <a:gd name="T37" fmla="*/ 445 h 1349"/>
                <a:gd name="T38" fmla="*/ 2477 w 3445"/>
                <a:gd name="T39" fmla="*/ 543 h 1349"/>
                <a:gd name="T40" fmla="*/ 2463 w 3445"/>
                <a:gd name="T41" fmla="*/ 281 h 1349"/>
                <a:gd name="T42" fmla="*/ 2262 w 3445"/>
                <a:gd name="T43" fmla="*/ 346 h 1349"/>
                <a:gd name="T44" fmla="*/ 1948 w 3445"/>
                <a:gd name="T45" fmla="*/ 434 h 1349"/>
                <a:gd name="T46" fmla="*/ 1979 w 3445"/>
                <a:gd name="T47" fmla="*/ 548 h 1349"/>
                <a:gd name="T48" fmla="*/ 2047 w 3445"/>
                <a:gd name="T49" fmla="*/ 596 h 1349"/>
                <a:gd name="T50" fmla="*/ 2098 w 3445"/>
                <a:gd name="T51" fmla="*/ 865 h 1349"/>
                <a:gd name="T52" fmla="*/ 2065 w 3445"/>
                <a:gd name="T53" fmla="*/ 847 h 1349"/>
                <a:gd name="T54" fmla="*/ 1931 w 3445"/>
                <a:gd name="T55" fmla="*/ 773 h 1349"/>
                <a:gd name="T56" fmla="*/ 1889 w 3445"/>
                <a:gd name="T57" fmla="*/ 937 h 1349"/>
                <a:gd name="T58" fmla="*/ 1826 w 3445"/>
                <a:gd name="T59" fmla="*/ 764 h 1349"/>
                <a:gd name="T60" fmla="*/ 1816 w 3445"/>
                <a:gd name="T61" fmla="*/ 582 h 1349"/>
                <a:gd name="T62" fmla="*/ 1993 w 3445"/>
                <a:gd name="T63" fmla="*/ 380 h 1349"/>
                <a:gd name="T64" fmla="*/ 2262 w 3445"/>
                <a:gd name="T65" fmla="*/ 346 h 1349"/>
                <a:gd name="T66" fmla="*/ 3092 w 3445"/>
                <a:gd name="T67" fmla="*/ 663 h 1349"/>
                <a:gd name="T68" fmla="*/ 3365 w 3445"/>
                <a:gd name="T69" fmla="*/ 672 h 1349"/>
                <a:gd name="T70" fmla="*/ 3353 w 3445"/>
                <a:gd name="T71" fmla="*/ 1173 h 1349"/>
                <a:gd name="T72" fmla="*/ 3200 w 3445"/>
                <a:gd name="T73" fmla="*/ 1114 h 1349"/>
                <a:gd name="T74" fmla="*/ 3062 w 3445"/>
                <a:gd name="T75" fmla="*/ 854 h 1349"/>
                <a:gd name="T76" fmla="*/ 2838 w 3445"/>
                <a:gd name="T77" fmla="*/ 817 h 1349"/>
                <a:gd name="T78" fmla="*/ 2849 w 3445"/>
                <a:gd name="T79" fmla="*/ 676 h 1349"/>
                <a:gd name="T80" fmla="*/ 2758 w 3445"/>
                <a:gd name="T81" fmla="*/ 604 h 1349"/>
                <a:gd name="T82" fmla="*/ 2800 w 3445"/>
                <a:gd name="T83" fmla="*/ 498 h 1349"/>
                <a:gd name="T84" fmla="*/ 2677 w 3445"/>
                <a:gd name="T85" fmla="*/ 795 h 1349"/>
                <a:gd name="T86" fmla="*/ 2458 w 3445"/>
                <a:gd name="T87" fmla="*/ 755 h 1349"/>
                <a:gd name="T88" fmla="*/ 2409 w 3445"/>
                <a:gd name="T89" fmla="*/ 761 h 1349"/>
                <a:gd name="T90" fmla="*/ 2391 w 3445"/>
                <a:gd name="T91" fmla="*/ 733 h 1349"/>
                <a:gd name="T92" fmla="*/ 2914 w 3445"/>
                <a:gd name="T93" fmla="*/ 990 h 1349"/>
                <a:gd name="T94" fmla="*/ 2960 w 3445"/>
                <a:gd name="T95" fmla="*/ 996 h 1349"/>
                <a:gd name="T96" fmla="*/ 1295 w 3445"/>
                <a:gd name="T97" fmla="*/ 1058 h 1349"/>
                <a:gd name="T98" fmla="*/ 1431 w 3445"/>
                <a:gd name="T99" fmla="*/ 1212 h 1349"/>
                <a:gd name="T100" fmla="*/ 1136 w 3445"/>
                <a:gd name="T101" fmla="*/ 1158 h 1349"/>
                <a:gd name="T102" fmla="*/ 830 w 3445"/>
                <a:gd name="T103" fmla="*/ 1093 h 1349"/>
                <a:gd name="T104" fmla="*/ 898 w 3445"/>
                <a:gd name="T105" fmla="*/ 974 h 1349"/>
                <a:gd name="T106" fmla="*/ 2061 w 3445"/>
                <a:gd name="T107" fmla="*/ 1156 h 1349"/>
                <a:gd name="T108" fmla="*/ 1835 w 3445"/>
                <a:gd name="T109" fmla="*/ 1186 h 1349"/>
                <a:gd name="T110" fmla="*/ 2061 w 3445"/>
                <a:gd name="T111" fmla="*/ 1156 h 1349"/>
                <a:gd name="T112" fmla="*/ 1774 w 3445"/>
                <a:gd name="T113" fmla="*/ 1208 h 1349"/>
                <a:gd name="T114" fmla="*/ 1622 w 3445"/>
                <a:gd name="T115" fmla="*/ 1187 h 1349"/>
                <a:gd name="T116" fmla="*/ 2095 w 3445"/>
                <a:gd name="T117" fmla="*/ 1349 h 1349"/>
                <a:gd name="T118" fmla="*/ 2210 w 3445"/>
                <a:gd name="T119" fmla="*/ 1224 h 1349"/>
                <a:gd name="T120" fmla="*/ 1881 w 3445"/>
                <a:gd name="T121" fmla="*/ 1339 h 1349"/>
                <a:gd name="T122" fmla="*/ 1864 w 3445"/>
                <a:gd name="T123" fmla="*/ 1290 h 1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445" h="1349">
                  <a:moveTo>
                    <a:pt x="789" y="965"/>
                  </a:moveTo>
                  <a:lnTo>
                    <a:pt x="706" y="967"/>
                  </a:lnTo>
                  <a:lnTo>
                    <a:pt x="646" y="895"/>
                  </a:lnTo>
                  <a:lnTo>
                    <a:pt x="552" y="826"/>
                  </a:lnTo>
                  <a:lnTo>
                    <a:pt x="521" y="774"/>
                  </a:lnTo>
                  <a:lnTo>
                    <a:pt x="466" y="705"/>
                  </a:lnTo>
                  <a:lnTo>
                    <a:pt x="429" y="641"/>
                  </a:lnTo>
                  <a:lnTo>
                    <a:pt x="373" y="522"/>
                  </a:lnTo>
                  <a:lnTo>
                    <a:pt x="307" y="451"/>
                  </a:lnTo>
                  <a:lnTo>
                    <a:pt x="285" y="378"/>
                  </a:lnTo>
                  <a:lnTo>
                    <a:pt x="257" y="311"/>
                  </a:lnTo>
                  <a:lnTo>
                    <a:pt x="188" y="258"/>
                  </a:lnTo>
                  <a:lnTo>
                    <a:pt x="147" y="185"/>
                  </a:lnTo>
                  <a:lnTo>
                    <a:pt x="89" y="137"/>
                  </a:lnTo>
                  <a:lnTo>
                    <a:pt x="8" y="43"/>
                  </a:lnTo>
                  <a:lnTo>
                    <a:pt x="0" y="0"/>
                  </a:lnTo>
                  <a:lnTo>
                    <a:pt x="48" y="3"/>
                  </a:lnTo>
                  <a:lnTo>
                    <a:pt x="165" y="20"/>
                  </a:lnTo>
                  <a:lnTo>
                    <a:pt x="234" y="103"/>
                  </a:lnTo>
                  <a:lnTo>
                    <a:pt x="294" y="161"/>
                  </a:lnTo>
                  <a:lnTo>
                    <a:pt x="337" y="196"/>
                  </a:lnTo>
                  <a:lnTo>
                    <a:pt x="410" y="288"/>
                  </a:lnTo>
                  <a:lnTo>
                    <a:pt x="486" y="289"/>
                  </a:lnTo>
                  <a:lnTo>
                    <a:pt x="550" y="347"/>
                  </a:lnTo>
                  <a:lnTo>
                    <a:pt x="594" y="419"/>
                  </a:lnTo>
                  <a:lnTo>
                    <a:pt x="652" y="458"/>
                  </a:lnTo>
                  <a:lnTo>
                    <a:pt x="621" y="527"/>
                  </a:lnTo>
                  <a:lnTo>
                    <a:pt x="664" y="557"/>
                  </a:lnTo>
                  <a:lnTo>
                    <a:pt x="691" y="559"/>
                  </a:lnTo>
                  <a:lnTo>
                    <a:pt x="703" y="618"/>
                  </a:lnTo>
                  <a:lnTo>
                    <a:pt x="729" y="666"/>
                  </a:lnTo>
                  <a:lnTo>
                    <a:pt x="784" y="673"/>
                  </a:lnTo>
                  <a:lnTo>
                    <a:pt x="819" y="727"/>
                  </a:lnTo>
                  <a:lnTo>
                    <a:pt x="797" y="833"/>
                  </a:lnTo>
                  <a:lnTo>
                    <a:pt x="789" y="965"/>
                  </a:lnTo>
                  <a:moveTo>
                    <a:pt x="1707" y="311"/>
                  </a:moveTo>
                  <a:lnTo>
                    <a:pt x="1792" y="390"/>
                  </a:lnTo>
                  <a:lnTo>
                    <a:pt x="1703" y="400"/>
                  </a:lnTo>
                  <a:lnTo>
                    <a:pt x="1678" y="458"/>
                  </a:lnTo>
                  <a:lnTo>
                    <a:pt x="1681" y="535"/>
                  </a:lnTo>
                  <a:lnTo>
                    <a:pt x="1608" y="593"/>
                  </a:lnTo>
                  <a:lnTo>
                    <a:pt x="1605" y="678"/>
                  </a:lnTo>
                  <a:lnTo>
                    <a:pt x="1572" y="808"/>
                  </a:lnTo>
                  <a:lnTo>
                    <a:pt x="1562" y="778"/>
                  </a:lnTo>
                  <a:lnTo>
                    <a:pt x="1475" y="816"/>
                  </a:lnTo>
                  <a:lnTo>
                    <a:pt x="1447" y="764"/>
                  </a:lnTo>
                  <a:lnTo>
                    <a:pt x="1394" y="759"/>
                  </a:lnTo>
                  <a:lnTo>
                    <a:pt x="1357" y="732"/>
                  </a:lnTo>
                  <a:lnTo>
                    <a:pt x="1267" y="763"/>
                  </a:lnTo>
                  <a:lnTo>
                    <a:pt x="1240" y="722"/>
                  </a:lnTo>
                  <a:lnTo>
                    <a:pt x="1191" y="726"/>
                  </a:lnTo>
                  <a:lnTo>
                    <a:pt x="1129" y="716"/>
                  </a:lnTo>
                  <a:lnTo>
                    <a:pt x="1120" y="602"/>
                  </a:lnTo>
                  <a:lnTo>
                    <a:pt x="1083" y="578"/>
                  </a:lnTo>
                  <a:lnTo>
                    <a:pt x="1047" y="506"/>
                  </a:lnTo>
                  <a:lnTo>
                    <a:pt x="1037" y="431"/>
                  </a:lnTo>
                  <a:lnTo>
                    <a:pt x="1045" y="352"/>
                  </a:lnTo>
                  <a:lnTo>
                    <a:pt x="1089" y="296"/>
                  </a:lnTo>
                  <a:lnTo>
                    <a:pt x="1102" y="353"/>
                  </a:lnTo>
                  <a:lnTo>
                    <a:pt x="1154" y="401"/>
                  </a:lnTo>
                  <a:lnTo>
                    <a:pt x="1202" y="383"/>
                  </a:lnTo>
                  <a:lnTo>
                    <a:pt x="1250" y="389"/>
                  </a:lnTo>
                  <a:lnTo>
                    <a:pt x="1294" y="346"/>
                  </a:lnTo>
                  <a:lnTo>
                    <a:pt x="1330" y="339"/>
                  </a:lnTo>
                  <a:lnTo>
                    <a:pt x="1401" y="363"/>
                  </a:lnTo>
                  <a:lnTo>
                    <a:pt x="1463" y="345"/>
                  </a:lnTo>
                  <a:lnTo>
                    <a:pt x="1499" y="226"/>
                  </a:lnTo>
                  <a:lnTo>
                    <a:pt x="1527" y="197"/>
                  </a:lnTo>
                  <a:lnTo>
                    <a:pt x="1550" y="100"/>
                  </a:lnTo>
                  <a:lnTo>
                    <a:pt x="1637" y="100"/>
                  </a:lnTo>
                  <a:lnTo>
                    <a:pt x="1702" y="114"/>
                  </a:lnTo>
                  <a:lnTo>
                    <a:pt x="1662" y="191"/>
                  </a:lnTo>
                  <a:lnTo>
                    <a:pt x="1719" y="272"/>
                  </a:lnTo>
                  <a:lnTo>
                    <a:pt x="1707" y="311"/>
                  </a:lnTo>
                  <a:moveTo>
                    <a:pt x="2521" y="370"/>
                  </a:moveTo>
                  <a:lnTo>
                    <a:pt x="2518" y="445"/>
                  </a:lnTo>
                  <a:lnTo>
                    <a:pt x="2479" y="436"/>
                  </a:lnTo>
                  <a:lnTo>
                    <a:pt x="2468" y="488"/>
                  </a:lnTo>
                  <a:lnTo>
                    <a:pt x="2498" y="533"/>
                  </a:lnTo>
                  <a:lnTo>
                    <a:pt x="2477" y="543"/>
                  </a:lnTo>
                  <a:lnTo>
                    <a:pt x="2447" y="489"/>
                  </a:lnTo>
                  <a:lnTo>
                    <a:pt x="2424" y="380"/>
                  </a:lnTo>
                  <a:lnTo>
                    <a:pt x="2439" y="312"/>
                  </a:lnTo>
                  <a:lnTo>
                    <a:pt x="2463" y="281"/>
                  </a:lnTo>
                  <a:lnTo>
                    <a:pt x="2469" y="328"/>
                  </a:lnTo>
                  <a:lnTo>
                    <a:pt x="2514" y="335"/>
                  </a:lnTo>
                  <a:lnTo>
                    <a:pt x="2521" y="370"/>
                  </a:lnTo>
                  <a:moveTo>
                    <a:pt x="2262" y="346"/>
                  </a:moveTo>
                  <a:lnTo>
                    <a:pt x="2202" y="430"/>
                  </a:lnTo>
                  <a:lnTo>
                    <a:pt x="2145" y="446"/>
                  </a:lnTo>
                  <a:lnTo>
                    <a:pt x="2073" y="430"/>
                  </a:lnTo>
                  <a:lnTo>
                    <a:pt x="1948" y="434"/>
                  </a:lnTo>
                  <a:lnTo>
                    <a:pt x="1882" y="446"/>
                  </a:lnTo>
                  <a:lnTo>
                    <a:pt x="1871" y="511"/>
                  </a:lnTo>
                  <a:lnTo>
                    <a:pt x="1938" y="586"/>
                  </a:lnTo>
                  <a:lnTo>
                    <a:pt x="1979" y="548"/>
                  </a:lnTo>
                  <a:lnTo>
                    <a:pt x="2119" y="519"/>
                  </a:lnTo>
                  <a:lnTo>
                    <a:pt x="2113" y="558"/>
                  </a:lnTo>
                  <a:lnTo>
                    <a:pt x="2080" y="546"/>
                  </a:lnTo>
                  <a:lnTo>
                    <a:pt x="2047" y="596"/>
                  </a:lnTo>
                  <a:lnTo>
                    <a:pt x="1980" y="629"/>
                  </a:lnTo>
                  <a:lnTo>
                    <a:pt x="2049" y="738"/>
                  </a:lnTo>
                  <a:lnTo>
                    <a:pt x="2034" y="767"/>
                  </a:lnTo>
                  <a:lnTo>
                    <a:pt x="2098" y="865"/>
                  </a:lnTo>
                  <a:lnTo>
                    <a:pt x="2095" y="921"/>
                  </a:lnTo>
                  <a:lnTo>
                    <a:pt x="2054" y="946"/>
                  </a:lnTo>
                  <a:lnTo>
                    <a:pt x="2026" y="916"/>
                  </a:lnTo>
                  <a:lnTo>
                    <a:pt x="2065" y="847"/>
                  </a:lnTo>
                  <a:lnTo>
                    <a:pt x="1990" y="880"/>
                  </a:lnTo>
                  <a:lnTo>
                    <a:pt x="1972" y="856"/>
                  </a:lnTo>
                  <a:lnTo>
                    <a:pt x="1983" y="823"/>
                  </a:lnTo>
                  <a:lnTo>
                    <a:pt x="1931" y="773"/>
                  </a:lnTo>
                  <a:lnTo>
                    <a:pt x="1939" y="690"/>
                  </a:lnTo>
                  <a:lnTo>
                    <a:pt x="1888" y="716"/>
                  </a:lnTo>
                  <a:lnTo>
                    <a:pt x="1891" y="815"/>
                  </a:lnTo>
                  <a:lnTo>
                    <a:pt x="1889" y="937"/>
                  </a:lnTo>
                  <a:lnTo>
                    <a:pt x="1841" y="950"/>
                  </a:lnTo>
                  <a:lnTo>
                    <a:pt x="1809" y="925"/>
                  </a:lnTo>
                  <a:lnTo>
                    <a:pt x="1834" y="846"/>
                  </a:lnTo>
                  <a:lnTo>
                    <a:pt x="1826" y="764"/>
                  </a:lnTo>
                  <a:lnTo>
                    <a:pt x="1794" y="763"/>
                  </a:lnTo>
                  <a:lnTo>
                    <a:pt x="1772" y="705"/>
                  </a:lnTo>
                  <a:lnTo>
                    <a:pt x="1805" y="649"/>
                  </a:lnTo>
                  <a:lnTo>
                    <a:pt x="1816" y="582"/>
                  </a:lnTo>
                  <a:lnTo>
                    <a:pt x="1855" y="453"/>
                  </a:lnTo>
                  <a:lnTo>
                    <a:pt x="1871" y="418"/>
                  </a:lnTo>
                  <a:lnTo>
                    <a:pt x="1934" y="355"/>
                  </a:lnTo>
                  <a:lnTo>
                    <a:pt x="1993" y="380"/>
                  </a:lnTo>
                  <a:lnTo>
                    <a:pt x="2088" y="392"/>
                  </a:lnTo>
                  <a:lnTo>
                    <a:pt x="2175" y="388"/>
                  </a:lnTo>
                  <a:lnTo>
                    <a:pt x="2248" y="327"/>
                  </a:lnTo>
                  <a:lnTo>
                    <a:pt x="2262" y="346"/>
                  </a:lnTo>
                  <a:moveTo>
                    <a:pt x="2932" y="565"/>
                  </a:moveTo>
                  <a:lnTo>
                    <a:pt x="2950" y="702"/>
                  </a:lnTo>
                  <a:lnTo>
                    <a:pt x="3026" y="753"/>
                  </a:lnTo>
                  <a:lnTo>
                    <a:pt x="3092" y="663"/>
                  </a:lnTo>
                  <a:lnTo>
                    <a:pt x="3179" y="612"/>
                  </a:lnTo>
                  <a:lnTo>
                    <a:pt x="3246" y="612"/>
                  </a:lnTo>
                  <a:lnTo>
                    <a:pt x="3310" y="641"/>
                  </a:lnTo>
                  <a:lnTo>
                    <a:pt x="3365" y="672"/>
                  </a:lnTo>
                  <a:lnTo>
                    <a:pt x="3445" y="688"/>
                  </a:lnTo>
                  <a:lnTo>
                    <a:pt x="3434" y="965"/>
                  </a:lnTo>
                  <a:lnTo>
                    <a:pt x="3414" y="1243"/>
                  </a:lnTo>
                  <a:lnTo>
                    <a:pt x="3353" y="1173"/>
                  </a:lnTo>
                  <a:lnTo>
                    <a:pt x="3279" y="1156"/>
                  </a:lnTo>
                  <a:lnTo>
                    <a:pt x="3258" y="1180"/>
                  </a:lnTo>
                  <a:lnTo>
                    <a:pt x="3163" y="1183"/>
                  </a:lnTo>
                  <a:lnTo>
                    <a:pt x="3200" y="1114"/>
                  </a:lnTo>
                  <a:lnTo>
                    <a:pt x="3249" y="1090"/>
                  </a:lnTo>
                  <a:lnTo>
                    <a:pt x="3236" y="997"/>
                  </a:lnTo>
                  <a:lnTo>
                    <a:pt x="3205" y="926"/>
                  </a:lnTo>
                  <a:lnTo>
                    <a:pt x="3062" y="854"/>
                  </a:lnTo>
                  <a:lnTo>
                    <a:pt x="3001" y="847"/>
                  </a:lnTo>
                  <a:lnTo>
                    <a:pt x="2891" y="768"/>
                  </a:lnTo>
                  <a:lnTo>
                    <a:pt x="2867" y="809"/>
                  </a:lnTo>
                  <a:lnTo>
                    <a:pt x="2838" y="817"/>
                  </a:lnTo>
                  <a:lnTo>
                    <a:pt x="2822" y="786"/>
                  </a:lnTo>
                  <a:lnTo>
                    <a:pt x="2823" y="749"/>
                  </a:lnTo>
                  <a:lnTo>
                    <a:pt x="2767" y="707"/>
                  </a:lnTo>
                  <a:lnTo>
                    <a:pt x="2849" y="676"/>
                  </a:lnTo>
                  <a:lnTo>
                    <a:pt x="2902" y="678"/>
                  </a:lnTo>
                  <a:lnTo>
                    <a:pt x="2897" y="655"/>
                  </a:lnTo>
                  <a:lnTo>
                    <a:pt x="2787" y="655"/>
                  </a:lnTo>
                  <a:lnTo>
                    <a:pt x="2758" y="604"/>
                  </a:lnTo>
                  <a:lnTo>
                    <a:pt x="2691" y="589"/>
                  </a:lnTo>
                  <a:lnTo>
                    <a:pt x="2659" y="546"/>
                  </a:lnTo>
                  <a:lnTo>
                    <a:pt x="2761" y="526"/>
                  </a:lnTo>
                  <a:lnTo>
                    <a:pt x="2800" y="498"/>
                  </a:lnTo>
                  <a:lnTo>
                    <a:pt x="2920" y="533"/>
                  </a:lnTo>
                  <a:lnTo>
                    <a:pt x="2932" y="565"/>
                  </a:lnTo>
                  <a:moveTo>
                    <a:pt x="2652" y="730"/>
                  </a:moveTo>
                  <a:lnTo>
                    <a:pt x="2677" y="795"/>
                  </a:lnTo>
                  <a:lnTo>
                    <a:pt x="2615" y="760"/>
                  </a:lnTo>
                  <a:lnTo>
                    <a:pt x="2552" y="753"/>
                  </a:lnTo>
                  <a:lnTo>
                    <a:pt x="2510" y="758"/>
                  </a:lnTo>
                  <a:lnTo>
                    <a:pt x="2458" y="755"/>
                  </a:lnTo>
                  <a:lnTo>
                    <a:pt x="2477" y="709"/>
                  </a:lnTo>
                  <a:lnTo>
                    <a:pt x="2570" y="705"/>
                  </a:lnTo>
                  <a:lnTo>
                    <a:pt x="2652" y="730"/>
                  </a:lnTo>
                  <a:moveTo>
                    <a:pt x="2409" y="761"/>
                  </a:moveTo>
                  <a:lnTo>
                    <a:pt x="2380" y="789"/>
                  </a:lnTo>
                  <a:lnTo>
                    <a:pt x="2328" y="774"/>
                  </a:lnTo>
                  <a:lnTo>
                    <a:pt x="2315" y="737"/>
                  </a:lnTo>
                  <a:lnTo>
                    <a:pt x="2391" y="733"/>
                  </a:lnTo>
                  <a:lnTo>
                    <a:pt x="2409" y="761"/>
                  </a:lnTo>
                  <a:moveTo>
                    <a:pt x="2960" y="996"/>
                  </a:moveTo>
                  <a:lnTo>
                    <a:pt x="2917" y="1054"/>
                  </a:lnTo>
                  <a:lnTo>
                    <a:pt x="2914" y="990"/>
                  </a:lnTo>
                  <a:lnTo>
                    <a:pt x="2929" y="959"/>
                  </a:lnTo>
                  <a:lnTo>
                    <a:pt x="2947" y="930"/>
                  </a:lnTo>
                  <a:lnTo>
                    <a:pt x="2962" y="955"/>
                  </a:lnTo>
                  <a:lnTo>
                    <a:pt x="2960" y="996"/>
                  </a:lnTo>
                  <a:moveTo>
                    <a:pt x="996" y="1044"/>
                  </a:moveTo>
                  <a:lnTo>
                    <a:pt x="1139" y="1052"/>
                  </a:lnTo>
                  <a:lnTo>
                    <a:pt x="1158" y="1017"/>
                  </a:lnTo>
                  <a:lnTo>
                    <a:pt x="1295" y="1058"/>
                  </a:lnTo>
                  <a:lnTo>
                    <a:pt x="1319" y="1113"/>
                  </a:lnTo>
                  <a:lnTo>
                    <a:pt x="1431" y="1129"/>
                  </a:lnTo>
                  <a:lnTo>
                    <a:pt x="1519" y="1179"/>
                  </a:lnTo>
                  <a:lnTo>
                    <a:pt x="1431" y="1212"/>
                  </a:lnTo>
                  <a:lnTo>
                    <a:pt x="1351" y="1177"/>
                  </a:lnTo>
                  <a:lnTo>
                    <a:pt x="1283" y="1180"/>
                  </a:lnTo>
                  <a:lnTo>
                    <a:pt x="1206" y="1174"/>
                  </a:lnTo>
                  <a:lnTo>
                    <a:pt x="1136" y="1158"/>
                  </a:lnTo>
                  <a:lnTo>
                    <a:pt x="1052" y="1126"/>
                  </a:lnTo>
                  <a:lnTo>
                    <a:pt x="997" y="1117"/>
                  </a:lnTo>
                  <a:lnTo>
                    <a:pt x="965" y="1128"/>
                  </a:lnTo>
                  <a:lnTo>
                    <a:pt x="830" y="1093"/>
                  </a:lnTo>
                  <a:lnTo>
                    <a:pt x="819" y="1056"/>
                  </a:lnTo>
                  <a:lnTo>
                    <a:pt x="751" y="1050"/>
                  </a:lnTo>
                  <a:lnTo>
                    <a:pt x="807" y="969"/>
                  </a:lnTo>
                  <a:lnTo>
                    <a:pt x="898" y="974"/>
                  </a:lnTo>
                  <a:lnTo>
                    <a:pt x="957" y="1007"/>
                  </a:lnTo>
                  <a:lnTo>
                    <a:pt x="987" y="1013"/>
                  </a:lnTo>
                  <a:lnTo>
                    <a:pt x="996" y="1044"/>
                  </a:lnTo>
                  <a:moveTo>
                    <a:pt x="2061" y="1156"/>
                  </a:moveTo>
                  <a:lnTo>
                    <a:pt x="2046" y="1203"/>
                  </a:lnTo>
                  <a:lnTo>
                    <a:pt x="1932" y="1227"/>
                  </a:lnTo>
                  <a:lnTo>
                    <a:pt x="1833" y="1217"/>
                  </a:lnTo>
                  <a:lnTo>
                    <a:pt x="1835" y="1186"/>
                  </a:lnTo>
                  <a:lnTo>
                    <a:pt x="1896" y="1168"/>
                  </a:lnTo>
                  <a:lnTo>
                    <a:pt x="1941" y="1193"/>
                  </a:lnTo>
                  <a:lnTo>
                    <a:pt x="1991" y="1187"/>
                  </a:lnTo>
                  <a:lnTo>
                    <a:pt x="2061" y="1156"/>
                  </a:lnTo>
                  <a:moveTo>
                    <a:pt x="1685" y="1156"/>
                  </a:moveTo>
                  <a:lnTo>
                    <a:pt x="1711" y="1179"/>
                  </a:lnTo>
                  <a:lnTo>
                    <a:pt x="1758" y="1172"/>
                  </a:lnTo>
                  <a:lnTo>
                    <a:pt x="1774" y="1208"/>
                  </a:lnTo>
                  <a:lnTo>
                    <a:pt x="1685" y="1225"/>
                  </a:lnTo>
                  <a:lnTo>
                    <a:pt x="1633" y="1236"/>
                  </a:lnTo>
                  <a:lnTo>
                    <a:pt x="1592" y="1236"/>
                  </a:lnTo>
                  <a:lnTo>
                    <a:pt x="1622" y="1187"/>
                  </a:lnTo>
                  <a:lnTo>
                    <a:pt x="1663" y="1186"/>
                  </a:lnTo>
                  <a:lnTo>
                    <a:pt x="1685" y="1156"/>
                  </a:lnTo>
                  <a:moveTo>
                    <a:pt x="2161" y="1330"/>
                  </a:moveTo>
                  <a:lnTo>
                    <a:pt x="2095" y="1349"/>
                  </a:lnTo>
                  <a:lnTo>
                    <a:pt x="2087" y="1339"/>
                  </a:lnTo>
                  <a:lnTo>
                    <a:pt x="2097" y="1310"/>
                  </a:lnTo>
                  <a:lnTo>
                    <a:pt x="2133" y="1258"/>
                  </a:lnTo>
                  <a:lnTo>
                    <a:pt x="2210" y="1224"/>
                  </a:lnTo>
                  <a:lnTo>
                    <a:pt x="2217" y="1241"/>
                  </a:lnTo>
                  <a:lnTo>
                    <a:pt x="2216" y="1266"/>
                  </a:lnTo>
                  <a:lnTo>
                    <a:pt x="2161" y="1330"/>
                  </a:lnTo>
                  <a:moveTo>
                    <a:pt x="1881" y="1339"/>
                  </a:moveTo>
                  <a:lnTo>
                    <a:pt x="1850" y="1340"/>
                  </a:lnTo>
                  <a:lnTo>
                    <a:pt x="1756" y="1280"/>
                  </a:lnTo>
                  <a:lnTo>
                    <a:pt x="1827" y="1264"/>
                  </a:lnTo>
                  <a:lnTo>
                    <a:pt x="1864" y="1290"/>
                  </a:lnTo>
                  <a:lnTo>
                    <a:pt x="1888" y="1316"/>
                  </a:lnTo>
                  <a:lnTo>
                    <a:pt x="1881" y="133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30" name="Freeform 87">
              <a:extLst>
                <a:ext uri="{FF2B5EF4-FFF2-40B4-BE49-F238E27FC236}">
                  <a16:creationId xmlns:a16="http://schemas.microsoft.com/office/drawing/2014/main" id="{DE7F586D-8194-49B2-8BAF-CDD9C3B1F16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2130" y="1915393"/>
              <a:ext cx="656440" cy="745007"/>
            </a:xfrm>
            <a:custGeom>
              <a:avLst/>
              <a:gdLst>
                <a:gd name="T0" fmla="*/ 149 w 504"/>
                <a:gd name="T1" fmla="*/ 42 h 572"/>
                <a:gd name="T2" fmla="*/ 148 w 504"/>
                <a:gd name="T3" fmla="*/ 60 h 572"/>
                <a:gd name="T4" fmla="*/ 206 w 504"/>
                <a:gd name="T5" fmla="*/ 110 h 572"/>
                <a:gd name="T6" fmla="*/ 212 w 504"/>
                <a:gd name="T7" fmla="*/ 147 h 572"/>
                <a:gd name="T8" fmla="*/ 282 w 504"/>
                <a:gd name="T9" fmla="*/ 172 h 572"/>
                <a:gd name="T10" fmla="*/ 330 w 504"/>
                <a:gd name="T11" fmla="*/ 189 h 572"/>
                <a:gd name="T12" fmla="*/ 340 w 504"/>
                <a:gd name="T13" fmla="*/ 167 h 572"/>
                <a:gd name="T14" fmla="*/ 355 w 504"/>
                <a:gd name="T15" fmla="*/ 170 h 572"/>
                <a:gd name="T16" fmla="*/ 384 w 504"/>
                <a:gd name="T17" fmla="*/ 179 h 572"/>
                <a:gd name="T18" fmla="*/ 412 w 504"/>
                <a:gd name="T19" fmla="*/ 167 h 572"/>
                <a:gd name="T20" fmla="*/ 430 w 504"/>
                <a:gd name="T21" fmla="*/ 142 h 572"/>
                <a:gd name="T22" fmla="*/ 474 w 504"/>
                <a:gd name="T23" fmla="*/ 126 h 572"/>
                <a:gd name="T24" fmla="*/ 501 w 504"/>
                <a:gd name="T25" fmla="*/ 150 h 572"/>
                <a:gd name="T26" fmla="*/ 504 w 504"/>
                <a:gd name="T27" fmla="*/ 175 h 572"/>
                <a:gd name="T28" fmla="*/ 473 w 504"/>
                <a:gd name="T29" fmla="*/ 197 h 572"/>
                <a:gd name="T30" fmla="*/ 463 w 504"/>
                <a:gd name="T31" fmla="*/ 242 h 572"/>
                <a:gd name="T32" fmla="*/ 449 w 504"/>
                <a:gd name="T33" fmla="*/ 266 h 572"/>
                <a:gd name="T34" fmla="*/ 429 w 504"/>
                <a:gd name="T35" fmla="*/ 247 h 572"/>
                <a:gd name="T36" fmla="*/ 412 w 504"/>
                <a:gd name="T37" fmla="*/ 249 h 572"/>
                <a:gd name="T38" fmla="*/ 428 w 504"/>
                <a:gd name="T39" fmla="*/ 219 h 572"/>
                <a:gd name="T40" fmla="*/ 383 w 504"/>
                <a:gd name="T41" fmla="*/ 212 h 572"/>
                <a:gd name="T42" fmla="*/ 354 w 504"/>
                <a:gd name="T43" fmla="*/ 188 h 572"/>
                <a:gd name="T44" fmla="*/ 356 w 504"/>
                <a:gd name="T45" fmla="*/ 221 h 572"/>
                <a:gd name="T46" fmla="*/ 364 w 504"/>
                <a:gd name="T47" fmla="*/ 246 h 572"/>
                <a:gd name="T48" fmla="*/ 378 w 504"/>
                <a:gd name="T49" fmla="*/ 287 h 572"/>
                <a:gd name="T50" fmla="*/ 347 w 504"/>
                <a:gd name="T51" fmla="*/ 306 h 572"/>
                <a:gd name="T52" fmla="*/ 298 w 504"/>
                <a:gd name="T53" fmla="*/ 357 h 572"/>
                <a:gd name="T54" fmla="*/ 271 w 504"/>
                <a:gd name="T55" fmla="*/ 394 h 572"/>
                <a:gd name="T56" fmla="*/ 238 w 504"/>
                <a:gd name="T57" fmla="*/ 407 h 572"/>
                <a:gd name="T58" fmla="*/ 243 w 504"/>
                <a:gd name="T59" fmla="*/ 467 h 572"/>
                <a:gd name="T60" fmla="*/ 230 w 504"/>
                <a:gd name="T61" fmla="*/ 523 h 572"/>
                <a:gd name="T62" fmla="*/ 212 w 504"/>
                <a:gd name="T63" fmla="*/ 552 h 572"/>
                <a:gd name="T64" fmla="*/ 181 w 504"/>
                <a:gd name="T65" fmla="*/ 553 h 572"/>
                <a:gd name="T66" fmla="*/ 156 w 504"/>
                <a:gd name="T67" fmla="*/ 493 h 572"/>
                <a:gd name="T68" fmla="*/ 134 w 504"/>
                <a:gd name="T69" fmla="*/ 434 h 572"/>
                <a:gd name="T70" fmla="*/ 95 w 504"/>
                <a:gd name="T71" fmla="*/ 338 h 572"/>
                <a:gd name="T72" fmla="*/ 61 w 504"/>
                <a:gd name="T73" fmla="*/ 306 h 572"/>
                <a:gd name="T74" fmla="*/ 29 w 504"/>
                <a:gd name="T75" fmla="*/ 271 h 572"/>
                <a:gd name="T76" fmla="*/ 10 w 504"/>
                <a:gd name="T77" fmla="*/ 231 h 572"/>
                <a:gd name="T78" fmla="*/ 31 w 504"/>
                <a:gd name="T79" fmla="*/ 203 h 572"/>
                <a:gd name="T80" fmla="*/ 29 w 504"/>
                <a:gd name="T81" fmla="*/ 156 h 572"/>
                <a:gd name="T82" fmla="*/ 72 w 504"/>
                <a:gd name="T83" fmla="*/ 115 h 572"/>
                <a:gd name="T84" fmla="*/ 94 w 504"/>
                <a:gd name="T85" fmla="*/ 67 h 572"/>
                <a:gd name="T86" fmla="*/ 58 w 504"/>
                <a:gd name="T87" fmla="*/ 25 h 572"/>
                <a:gd name="T88" fmla="*/ 110 w 504"/>
                <a:gd name="T89" fmla="*/ 18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04" h="572">
                  <a:moveTo>
                    <a:pt x="122" y="0"/>
                  </a:moveTo>
                  <a:lnTo>
                    <a:pt x="147" y="25"/>
                  </a:lnTo>
                  <a:lnTo>
                    <a:pt x="149" y="42"/>
                  </a:lnTo>
                  <a:lnTo>
                    <a:pt x="159" y="52"/>
                  </a:lnTo>
                  <a:lnTo>
                    <a:pt x="161" y="63"/>
                  </a:lnTo>
                  <a:lnTo>
                    <a:pt x="148" y="60"/>
                  </a:lnTo>
                  <a:lnTo>
                    <a:pt x="158" y="83"/>
                  </a:lnTo>
                  <a:lnTo>
                    <a:pt x="178" y="96"/>
                  </a:lnTo>
                  <a:lnTo>
                    <a:pt x="206" y="110"/>
                  </a:lnTo>
                  <a:lnTo>
                    <a:pt x="197" y="120"/>
                  </a:lnTo>
                  <a:lnTo>
                    <a:pt x="194" y="139"/>
                  </a:lnTo>
                  <a:lnTo>
                    <a:pt x="212" y="147"/>
                  </a:lnTo>
                  <a:lnTo>
                    <a:pt x="231" y="157"/>
                  </a:lnTo>
                  <a:lnTo>
                    <a:pt x="257" y="169"/>
                  </a:lnTo>
                  <a:lnTo>
                    <a:pt x="282" y="172"/>
                  </a:lnTo>
                  <a:lnTo>
                    <a:pt x="294" y="182"/>
                  </a:lnTo>
                  <a:lnTo>
                    <a:pt x="308" y="184"/>
                  </a:lnTo>
                  <a:lnTo>
                    <a:pt x="330" y="189"/>
                  </a:lnTo>
                  <a:lnTo>
                    <a:pt x="345" y="189"/>
                  </a:lnTo>
                  <a:lnTo>
                    <a:pt x="346" y="181"/>
                  </a:lnTo>
                  <a:lnTo>
                    <a:pt x="340" y="167"/>
                  </a:lnTo>
                  <a:lnTo>
                    <a:pt x="340" y="158"/>
                  </a:lnTo>
                  <a:lnTo>
                    <a:pt x="350" y="154"/>
                  </a:lnTo>
                  <a:lnTo>
                    <a:pt x="355" y="170"/>
                  </a:lnTo>
                  <a:lnTo>
                    <a:pt x="356" y="174"/>
                  </a:lnTo>
                  <a:lnTo>
                    <a:pt x="374" y="182"/>
                  </a:lnTo>
                  <a:lnTo>
                    <a:pt x="384" y="179"/>
                  </a:lnTo>
                  <a:lnTo>
                    <a:pt x="400" y="181"/>
                  </a:lnTo>
                  <a:lnTo>
                    <a:pt x="414" y="180"/>
                  </a:lnTo>
                  <a:lnTo>
                    <a:pt x="412" y="167"/>
                  </a:lnTo>
                  <a:lnTo>
                    <a:pt x="404" y="161"/>
                  </a:lnTo>
                  <a:lnTo>
                    <a:pt x="418" y="158"/>
                  </a:lnTo>
                  <a:lnTo>
                    <a:pt x="430" y="142"/>
                  </a:lnTo>
                  <a:lnTo>
                    <a:pt x="447" y="129"/>
                  </a:lnTo>
                  <a:lnTo>
                    <a:pt x="463" y="134"/>
                  </a:lnTo>
                  <a:lnTo>
                    <a:pt x="474" y="126"/>
                  </a:lnTo>
                  <a:lnTo>
                    <a:pt x="485" y="139"/>
                  </a:lnTo>
                  <a:lnTo>
                    <a:pt x="481" y="147"/>
                  </a:lnTo>
                  <a:lnTo>
                    <a:pt x="501" y="150"/>
                  </a:lnTo>
                  <a:lnTo>
                    <a:pt x="504" y="158"/>
                  </a:lnTo>
                  <a:lnTo>
                    <a:pt x="499" y="162"/>
                  </a:lnTo>
                  <a:lnTo>
                    <a:pt x="504" y="175"/>
                  </a:lnTo>
                  <a:lnTo>
                    <a:pt x="490" y="171"/>
                  </a:lnTo>
                  <a:lnTo>
                    <a:pt x="470" y="185"/>
                  </a:lnTo>
                  <a:lnTo>
                    <a:pt x="473" y="197"/>
                  </a:lnTo>
                  <a:lnTo>
                    <a:pt x="467" y="215"/>
                  </a:lnTo>
                  <a:lnTo>
                    <a:pt x="468" y="225"/>
                  </a:lnTo>
                  <a:lnTo>
                    <a:pt x="463" y="242"/>
                  </a:lnTo>
                  <a:lnTo>
                    <a:pt x="449" y="237"/>
                  </a:lnTo>
                  <a:lnTo>
                    <a:pt x="452" y="259"/>
                  </a:lnTo>
                  <a:lnTo>
                    <a:pt x="449" y="266"/>
                  </a:lnTo>
                  <a:lnTo>
                    <a:pt x="452" y="274"/>
                  </a:lnTo>
                  <a:lnTo>
                    <a:pt x="444" y="280"/>
                  </a:lnTo>
                  <a:lnTo>
                    <a:pt x="429" y="247"/>
                  </a:lnTo>
                  <a:lnTo>
                    <a:pt x="424" y="247"/>
                  </a:lnTo>
                  <a:lnTo>
                    <a:pt x="424" y="260"/>
                  </a:lnTo>
                  <a:lnTo>
                    <a:pt x="412" y="249"/>
                  </a:lnTo>
                  <a:lnTo>
                    <a:pt x="415" y="237"/>
                  </a:lnTo>
                  <a:lnTo>
                    <a:pt x="423" y="236"/>
                  </a:lnTo>
                  <a:lnTo>
                    <a:pt x="428" y="219"/>
                  </a:lnTo>
                  <a:lnTo>
                    <a:pt x="417" y="215"/>
                  </a:lnTo>
                  <a:lnTo>
                    <a:pt x="400" y="215"/>
                  </a:lnTo>
                  <a:lnTo>
                    <a:pt x="383" y="212"/>
                  </a:lnTo>
                  <a:lnTo>
                    <a:pt x="378" y="198"/>
                  </a:lnTo>
                  <a:lnTo>
                    <a:pt x="370" y="197"/>
                  </a:lnTo>
                  <a:lnTo>
                    <a:pt x="354" y="188"/>
                  </a:lnTo>
                  <a:lnTo>
                    <a:pt x="350" y="202"/>
                  </a:lnTo>
                  <a:lnTo>
                    <a:pt x="366" y="213"/>
                  </a:lnTo>
                  <a:lnTo>
                    <a:pt x="356" y="221"/>
                  </a:lnTo>
                  <a:lnTo>
                    <a:pt x="353" y="228"/>
                  </a:lnTo>
                  <a:lnTo>
                    <a:pt x="365" y="234"/>
                  </a:lnTo>
                  <a:lnTo>
                    <a:pt x="364" y="246"/>
                  </a:lnTo>
                  <a:lnTo>
                    <a:pt x="373" y="262"/>
                  </a:lnTo>
                  <a:lnTo>
                    <a:pt x="379" y="279"/>
                  </a:lnTo>
                  <a:lnTo>
                    <a:pt x="378" y="287"/>
                  </a:lnTo>
                  <a:lnTo>
                    <a:pt x="365" y="286"/>
                  </a:lnTo>
                  <a:lnTo>
                    <a:pt x="344" y="291"/>
                  </a:lnTo>
                  <a:lnTo>
                    <a:pt x="347" y="306"/>
                  </a:lnTo>
                  <a:lnTo>
                    <a:pt x="339" y="319"/>
                  </a:lnTo>
                  <a:lnTo>
                    <a:pt x="315" y="333"/>
                  </a:lnTo>
                  <a:lnTo>
                    <a:pt x="298" y="357"/>
                  </a:lnTo>
                  <a:lnTo>
                    <a:pt x="286" y="370"/>
                  </a:lnTo>
                  <a:lnTo>
                    <a:pt x="270" y="384"/>
                  </a:lnTo>
                  <a:lnTo>
                    <a:pt x="271" y="394"/>
                  </a:lnTo>
                  <a:lnTo>
                    <a:pt x="262" y="399"/>
                  </a:lnTo>
                  <a:lnTo>
                    <a:pt x="246" y="406"/>
                  </a:lnTo>
                  <a:lnTo>
                    <a:pt x="238" y="407"/>
                  </a:lnTo>
                  <a:lnTo>
                    <a:pt x="234" y="423"/>
                  </a:lnTo>
                  <a:lnTo>
                    <a:pt x="241" y="450"/>
                  </a:lnTo>
                  <a:lnTo>
                    <a:pt x="243" y="467"/>
                  </a:lnTo>
                  <a:lnTo>
                    <a:pt x="237" y="487"/>
                  </a:lnTo>
                  <a:lnTo>
                    <a:pt x="239" y="522"/>
                  </a:lnTo>
                  <a:lnTo>
                    <a:pt x="230" y="523"/>
                  </a:lnTo>
                  <a:lnTo>
                    <a:pt x="222" y="539"/>
                  </a:lnTo>
                  <a:lnTo>
                    <a:pt x="228" y="546"/>
                  </a:lnTo>
                  <a:lnTo>
                    <a:pt x="212" y="552"/>
                  </a:lnTo>
                  <a:lnTo>
                    <a:pt x="206" y="566"/>
                  </a:lnTo>
                  <a:lnTo>
                    <a:pt x="199" y="572"/>
                  </a:lnTo>
                  <a:lnTo>
                    <a:pt x="181" y="553"/>
                  </a:lnTo>
                  <a:lnTo>
                    <a:pt x="171" y="523"/>
                  </a:lnTo>
                  <a:lnTo>
                    <a:pt x="163" y="503"/>
                  </a:lnTo>
                  <a:lnTo>
                    <a:pt x="156" y="493"/>
                  </a:lnTo>
                  <a:lnTo>
                    <a:pt x="144" y="473"/>
                  </a:lnTo>
                  <a:lnTo>
                    <a:pt x="138" y="447"/>
                  </a:lnTo>
                  <a:lnTo>
                    <a:pt x="134" y="434"/>
                  </a:lnTo>
                  <a:lnTo>
                    <a:pt x="115" y="405"/>
                  </a:lnTo>
                  <a:lnTo>
                    <a:pt x="103" y="365"/>
                  </a:lnTo>
                  <a:lnTo>
                    <a:pt x="95" y="338"/>
                  </a:lnTo>
                  <a:lnTo>
                    <a:pt x="92" y="313"/>
                  </a:lnTo>
                  <a:lnTo>
                    <a:pt x="86" y="294"/>
                  </a:lnTo>
                  <a:lnTo>
                    <a:pt x="61" y="306"/>
                  </a:lnTo>
                  <a:lnTo>
                    <a:pt x="48" y="304"/>
                  </a:lnTo>
                  <a:lnTo>
                    <a:pt x="22" y="279"/>
                  </a:lnTo>
                  <a:lnTo>
                    <a:pt x="29" y="271"/>
                  </a:lnTo>
                  <a:lnTo>
                    <a:pt x="23" y="263"/>
                  </a:lnTo>
                  <a:lnTo>
                    <a:pt x="0" y="245"/>
                  </a:lnTo>
                  <a:lnTo>
                    <a:pt x="10" y="231"/>
                  </a:lnTo>
                  <a:lnTo>
                    <a:pt x="49" y="231"/>
                  </a:lnTo>
                  <a:lnTo>
                    <a:pt x="43" y="213"/>
                  </a:lnTo>
                  <a:lnTo>
                    <a:pt x="31" y="203"/>
                  </a:lnTo>
                  <a:lnTo>
                    <a:pt x="27" y="187"/>
                  </a:lnTo>
                  <a:lnTo>
                    <a:pt x="13" y="178"/>
                  </a:lnTo>
                  <a:lnTo>
                    <a:pt x="29" y="156"/>
                  </a:lnTo>
                  <a:lnTo>
                    <a:pt x="50" y="158"/>
                  </a:lnTo>
                  <a:lnTo>
                    <a:pt x="65" y="136"/>
                  </a:lnTo>
                  <a:lnTo>
                    <a:pt x="72" y="115"/>
                  </a:lnTo>
                  <a:lnTo>
                    <a:pt x="85" y="94"/>
                  </a:lnTo>
                  <a:lnTo>
                    <a:pt x="81" y="79"/>
                  </a:lnTo>
                  <a:lnTo>
                    <a:pt x="94" y="67"/>
                  </a:lnTo>
                  <a:lnTo>
                    <a:pt x="77" y="57"/>
                  </a:lnTo>
                  <a:lnTo>
                    <a:pt x="68" y="43"/>
                  </a:lnTo>
                  <a:lnTo>
                    <a:pt x="58" y="25"/>
                  </a:lnTo>
                  <a:lnTo>
                    <a:pt x="64" y="16"/>
                  </a:lnTo>
                  <a:lnTo>
                    <a:pt x="92" y="21"/>
                  </a:lnTo>
                  <a:lnTo>
                    <a:pt x="110" y="18"/>
                  </a:lnTo>
                  <a:lnTo>
                    <a:pt x="122" y="0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31" name="Freeform 88">
              <a:extLst>
                <a:ext uri="{FF2B5EF4-FFF2-40B4-BE49-F238E27FC236}">
                  <a16:creationId xmlns:a16="http://schemas.microsoft.com/office/drawing/2014/main" id="{DCC03FE9-6083-446B-B82A-7CECF70920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6038" y="1394409"/>
              <a:ext cx="82055" cy="89870"/>
            </a:xfrm>
            <a:custGeom>
              <a:avLst/>
              <a:gdLst>
                <a:gd name="T0" fmla="*/ 61 w 63"/>
                <a:gd name="T1" fmla="*/ 25 h 69"/>
                <a:gd name="T2" fmla="*/ 63 w 63"/>
                <a:gd name="T3" fmla="*/ 40 h 69"/>
                <a:gd name="T4" fmla="*/ 51 w 63"/>
                <a:gd name="T5" fmla="*/ 57 h 69"/>
                <a:gd name="T6" fmla="*/ 22 w 63"/>
                <a:gd name="T7" fmla="*/ 69 h 69"/>
                <a:gd name="T8" fmla="*/ 0 w 63"/>
                <a:gd name="T9" fmla="*/ 66 h 69"/>
                <a:gd name="T10" fmla="*/ 14 w 63"/>
                <a:gd name="T11" fmla="*/ 45 h 69"/>
                <a:gd name="T12" fmla="*/ 7 w 63"/>
                <a:gd name="T13" fmla="*/ 25 h 69"/>
                <a:gd name="T14" fmla="*/ 29 w 63"/>
                <a:gd name="T15" fmla="*/ 10 h 69"/>
                <a:gd name="T16" fmla="*/ 41 w 63"/>
                <a:gd name="T17" fmla="*/ 0 h 69"/>
                <a:gd name="T18" fmla="*/ 44 w 63"/>
                <a:gd name="T19" fmla="*/ 11 h 69"/>
                <a:gd name="T20" fmla="*/ 40 w 63"/>
                <a:gd name="T21" fmla="*/ 22 h 69"/>
                <a:gd name="T22" fmla="*/ 50 w 63"/>
                <a:gd name="T23" fmla="*/ 21 h 69"/>
                <a:gd name="T24" fmla="*/ 61 w 63"/>
                <a:gd name="T25" fmla="*/ 25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" h="69">
                  <a:moveTo>
                    <a:pt x="61" y="25"/>
                  </a:moveTo>
                  <a:lnTo>
                    <a:pt x="63" y="40"/>
                  </a:lnTo>
                  <a:lnTo>
                    <a:pt x="51" y="57"/>
                  </a:lnTo>
                  <a:lnTo>
                    <a:pt x="22" y="69"/>
                  </a:lnTo>
                  <a:lnTo>
                    <a:pt x="0" y="66"/>
                  </a:lnTo>
                  <a:lnTo>
                    <a:pt x="14" y="45"/>
                  </a:lnTo>
                  <a:lnTo>
                    <a:pt x="7" y="25"/>
                  </a:lnTo>
                  <a:lnTo>
                    <a:pt x="29" y="10"/>
                  </a:lnTo>
                  <a:lnTo>
                    <a:pt x="41" y="0"/>
                  </a:lnTo>
                  <a:lnTo>
                    <a:pt x="44" y="11"/>
                  </a:lnTo>
                  <a:lnTo>
                    <a:pt x="40" y="22"/>
                  </a:lnTo>
                  <a:lnTo>
                    <a:pt x="50" y="21"/>
                  </a:lnTo>
                  <a:lnTo>
                    <a:pt x="61" y="25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32" name="Freeform 89">
              <a:extLst>
                <a:ext uri="{FF2B5EF4-FFF2-40B4-BE49-F238E27FC236}">
                  <a16:creationId xmlns:a16="http://schemas.microsoft.com/office/drawing/2014/main" id="{CEC37D28-76DA-460F-9099-53A4022B555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6066" y="1802079"/>
              <a:ext cx="491028" cy="394646"/>
            </a:xfrm>
            <a:custGeom>
              <a:avLst/>
              <a:gdLst>
                <a:gd name="T0" fmla="*/ 190 w 377"/>
                <a:gd name="T1" fmla="*/ 48 h 303"/>
                <a:gd name="T2" fmla="*/ 211 w 377"/>
                <a:gd name="T3" fmla="*/ 37 h 303"/>
                <a:gd name="T4" fmla="*/ 231 w 377"/>
                <a:gd name="T5" fmla="*/ 35 h 303"/>
                <a:gd name="T6" fmla="*/ 266 w 377"/>
                <a:gd name="T7" fmla="*/ 48 h 303"/>
                <a:gd name="T8" fmla="*/ 302 w 377"/>
                <a:gd name="T9" fmla="*/ 67 h 303"/>
                <a:gd name="T10" fmla="*/ 306 w 377"/>
                <a:gd name="T11" fmla="*/ 110 h 303"/>
                <a:gd name="T12" fmla="*/ 312 w 377"/>
                <a:gd name="T13" fmla="*/ 128 h 303"/>
                <a:gd name="T14" fmla="*/ 315 w 377"/>
                <a:gd name="T15" fmla="*/ 156 h 303"/>
                <a:gd name="T16" fmla="*/ 333 w 377"/>
                <a:gd name="T17" fmla="*/ 173 h 303"/>
                <a:gd name="T18" fmla="*/ 324 w 377"/>
                <a:gd name="T19" fmla="*/ 205 h 303"/>
                <a:gd name="T20" fmla="*/ 343 w 377"/>
                <a:gd name="T21" fmla="*/ 228 h 303"/>
                <a:gd name="T22" fmla="*/ 365 w 377"/>
                <a:gd name="T23" fmla="*/ 256 h 303"/>
                <a:gd name="T24" fmla="*/ 377 w 377"/>
                <a:gd name="T25" fmla="*/ 268 h 303"/>
                <a:gd name="T26" fmla="*/ 349 w 377"/>
                <a:gd name="T27" fmla="*/ 303 h 303"/>
                <a:gd name="T28" fmla="*/ 295 w 377"/>
                <a:gd name="T29" fmla="*/ 292 h 303"/>
                <a:gd name="T30" fmla="*/ 264 w 377"/>
                <a:gd name="T31" fmla="*/ 264 h 303"/>
                <a:gd name="T32" fmla="*/ 241 w 377"/>
                <a:gd name="T33" fmla="*/ 264 h 303"/>
                <a:gd name="T34" fmla="*/ 202 w 377"/>
                <a:gd name="T35" fmla="*/ 268 h 303"/>
                <a:gd name="T36" fmla="*/ 164 w 377"/>
                <a:gd name="T37" fmla="*/ 246 h 303"/>
                <a:gd name="T38" fmla="*/ 133 w 377"/>
                <a:gd name="T39" fmla="*/ 198 h 303"/>
                <a:gd name="T40" fmla="*/ 112 w 377"/>
                <a:gd name="T41" fmla="*/ 195 h 303"/>
                <a:gd name="T42" fmla="*/ 96 w 377"/>
                <a:gd name="T43" fmla="*/ 192 h 303"/>
                <a:gd name="T44" fmla="*/ 88 w 377"/>
                <a:gd name="T45" fmla="*/ 181 h 303"/>
                <a:gd name="T46" fmla="*/ 78 w 377"/>
                <a:gd name="T47" fmla="*/ 150 h 303"/>
                <a:gd name="T48" fmla="*/ 40 w 377"/>
                <a:gd name="T49" fmla="*/ 119 h 303"/>
                <a:gd name="T50" fmla="*/ 49 w 377"/>
                <a:gd name="T51" fmla="*/ 96 h 303"/>
                <a:gd name="T52" fmla="*/ 34 w 377"/>
                <a:gd name="T53" fmla="*/ 77 h 303"/>
                <a:gd name="T54" fmla="*/ 7 w 377"/>
                <a:gd name="T55" fmla="*/ 36 h 303"/>
                <a:gd name="T56" fmla="*/ 0 w 377"/>
                <a:gd name="T57" fmla="*/ 6 h 303"/>
                <a:gd name="T58" fmla="*/ 15 w 377"/>
                <a:gd name="T59" fmla="*/ 8 h 303"/>
                <a:gd name="T60" fmla="*/ 37 w 377"/>
                <a:gd name="T61" fmla="*/ 20 h 303"/>
                <a:gd name="T62" fmla="*/ 60 w 377"/>
                <a:gd name="T63" fmla="*/ 5 h 303"/>
                <a:gd name="T64" fmla="*/ 73 w 377"/>
                <a:gd name="T65" fmla="*/ 9 h 303"/>
                <a:gd name="T66" fmla="*/ 81 w 377"/>
                <a:gd name="T67" fmla="*/ 30 h 303"/>
                <a:gd name="T68" fmla="*/ 93 w 377"/>
                <a:gd name="T69" fmla="*/ 44 h 303"/>
                <a:gd name="T70" fmla="*/ 124 w 377"/>
                <a:gd name="T71" fmla="*/ 59 h 303"/>
                <a:gd name="T72" fmla="*/ 175 w 377"/>
                <a:gd name="T73" fmla="*/ 57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77" h="303">
                  <a:moveTo>
                    <a:pt x="176" y="52"/>
                  </a:moveTo>
                  <a:lnTo>
                    <a:pt x="190" y="48"/>
                  </a:lnTo>
                  <a:lnTo>
                    <a:pt x="200" y="36"/>
                  </a:lnTo>
                  <a:lnTo>
                    <a:pt x="211" y="37"/>
                  </a:lnTo>
                  <a:lnTo>
                    <a:pt x="218" y="33"/>
                  </a:lnTo>
                  <a:lnTo>
                    <a:pt x="231" y="35"/>
                  </a:lnTo>
                  <a:lnTo>
                    <a:pt x="252" y="45"/>
                  </a:lnTo>
                  <a:lnTo>
                    <a:pt x="266" y="48"/>
                  </a:lnTo>
                  <a:lnTo>
                    <a:pt x="289" y="66"/>
                  </a:lnTo>
                  <a:lnTo>
                    <a:pt x="302" y="67"/>
                  </a:lnTo>
                  <a:lnTo>
                    <a:pt x="308" y="84"/>
                  </a:lnTo>
                  <a:lnTo>
                    <a:pt x="306" y="110"/>
                  </a:lnTo>
                  <a:lnTo>
                    <a:pt x="304" y="125"/>
                  </a:lnTo>
                  <a:lnTo>
                    <a:pt x="312" y="128"/>
                  </a:lnTo>
                  <a:lnTo>
                    <a:pt x="307" y="139"/>
                  </a:lnTo>
                  <a:lnTo>
                    <a:pt x="315" y="156"/>
                  </a:lnTo>
                  <a:lnTo>
                    <a:pt x="319" y="169"/>
                  </a:lnTo>
                  <a:lnTo>
                    <a:pt x="333" y="173"/>
                  </a:lnTo>
                  <a:lnTo>
                    <a:pt x="337" y="186"/>
                  </a:lnTo>
                  <a:lnTo>
                    <a:pt x="324" y="205"/>
                  </a:lnTo>
                  <a:lnTo>
                    <a:pt x="334" y="216"/>
                  </a:lnTo>
                  <a:lnTo>
                    <a:pt x="343" y="228"/>
                  </a:lnTo>
                  <a:lnTo>
                    <a:pt x="362" y="237"/>
                  </a:lnTo>
                  <a:lnTo>
                    <a:pt x="365" y="256"/>
                  </a:lnTo>
                  <a:lnTo>
                    <a:pt x="374" y="259"/>
                  </a:lnTo>
                  <a:lnTo>
                    <a:pt x="377" y="268"/>
                  </a:lnTo>
                  <a:lnTo>
                    <a:pt x="353" y="279"/>
                  </a:lnTo>
                  <a:lnTo>
                    <a:pt x="349" y="303"/>
                  </a:lnTo>
                  <a:lnTo>
                    <a:pt x="315" y="297"/>
                  </a:lnTo>
                  <a:lnTo>
                    <a:pt x="295" y="292"/>
                  </a:lnTo>
                  <a:lnTo>
                    <a:pt x="274" y="290"/>
                  </a:lnTo>
                  <a:lnTo>
                    <a:pt x="264" y="264"/>
                  </a:lnTo>
                  <a:lnTo>
                    <a:pt x="255" y="260"/>
                  </a:lnTo>
                  <a:lnTo>
                    <a:pt x="241" y="264"/>
                  </a:lnTo>
                  <a:lnTo>
                    <a:pt x="225" y="274"/>
                  </a:lnTo>
                  <a:lnTo>
                    <a:pt x="202" y="268"/>
                  </a:lnTo>
                  <a:lnTo>
                    <a:pt x="182" y="251"/>
                  </a:lnTo>
                  <a:lnTo>
                    <a:pt x="164" y="246"/>
                  </a:lnTo>
                  <a:lnTo>
                    <a:pt x="150" y="226"/>
                  </a:lnTo>
                  <a:lnTo>
                    <a:pt x="133" y="198"/>
                  </a:lnTo>
                  <a:lnTo>
                    <a:pt x="124" y="202"/>
                  </a:lnTo>
                  <a:lnTo>
                    <a:pt x="112" y="195"/>
                  </a:lnTo>
                  <a:lnTo>
                    <a:pt x="107" y="203"/>
                  </a:lnTo>
                  <a:lnTo>
                    <a:pt x="96" y="192"/>
                  </a:lnTo>
                  <a:lnTo>
                    <a:pt x="94" y="181"/>
                  </a:lnTo>
                  <a:lnTo>
                    <a:pt x="88" y="181"/>
                  </a:lnTo>
                  <a:lnTo>
                    <a:pt x="89" y="166"/>
                  </a:lnTo>
                  <a:lnTo>
                    <a:pt x="78" y="150"/>
                  </a:lnTo>
                  <a:lnTo>
                    <a:pt x="55" y="139"/>
                  </a:lnTo>
                  <a:lnTo>
                    <a:pt x="40" y="119"/>
                  </a:lnTo>
                  <a:lnTo>
                    <a:pt x="42" y="103"/>
                  </a:lnTo>
                  <a:lnTo>
                    <a:pt x="49" y="96"/>
                  </a:lnTo>
                  <a:lnTo>
                    <a:pt x="46" y="84"/>
                  </a:lnTo>
                  <a:lnTo>
                    <a:pt x="34" y="77"/>
                  </a:lnTo>
                  <a:lnTo>
                    <a:pt x="19" y="53"/>
                  </a:lnTo>
                  <a:lnTo>
                    <a:pt x="7" y="36"/>
                  </a:lnTo>
                  <a:lnTo>
                    <a:pt x="9" y="30"/>
                  </a:lnTo>
                  <a:lnTo>
                    <a:pt x="0" y="6"/>
                  </a:lnTo>
                  <a:lnTo>
                    <a:pt x="11" y="0"/>
                  </a:lnTo>
                  <a:lnTo>
                    <a:pt x="15" y="8"/>
                  </a:lnTo>
                  <a:lnTo>
                    <a:pt x="25" y="18"/>
                  </a:lnTo>
                  <a:lnTo>
                    <a:pt x="37" y="20"/>
                  </a:lnTo>
                  <a:lnTo>
                    <a:pt x="43" y="20"/>
                  </a:lnTo>
                  <a:lnTo>
                    <a:pt x="60" y="5"/>
                  </a:lnTo>
                  <a:lnTo>
                    <a:pt x="67" y="3"/>
                  </a:lnTo>
                  <a:lnTo>
                    <a:pt x="73" y="9"/>
                  </a:lnTo>
                  <a:lnTo>
                    <a:pt x="69" y="19"/>
                  </a:lnTo>
                  <a:lnTo>
                    <a:pt x="81" y="30"/>
                  </a:lnTo>
                  <a:lnTo>
                    <a:pt x="85" y="29"/>
                  </a:lnTo>
                  <a:lnTo>
                    <a:pt x="93" y="44"/>
                  </a:lnTo>
                  <a:lnTo>
                    <a:pt x="110" y="49"/>
                  </a:lnTo>
                  <a:lnTo>
                    <a:pt x="124" y="59"/>
                  </a:lnTo>
                  <a:lnTo>
                    <a:pt x="149" y="63"/>
                  </a:lnTo>
                  <a:lnTo>
                    <a:pt x="175" y="57"/>
                  </a:lnTo>
                  <a:lnTo>
                    <a:pt x="176" y="52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33" name="Freeform 90">
              <a:extLst>
                <a:ext uri="{FF2B5EF4-FFF2-40B4-BE49-F238E27FC236}">
                  <a16:creationId xmlns:a16="http://schemas.microsoft.com/office/drawing/2014/main" id="{E7F17641-D9CF-4581-9542-346F39A719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0987" y="1864597"/>
              <a:ext cx="234443" cy="224023"/>
            </a:xfrm>
            <a:custGeom>
              <a:avLst/>
              <a:gdLst>
                <a:gd name="T0" fmla="*/ 107 w 180"/>
                <a:gd name="T1" fmla="*/ 29 h 172"/>
                <a:gd name="T2" fmla="*/ 119 w 180"/>
                <a:gd name="T3" fmla="*/ 36 h 172"/>
                <a:gd name="T4" fmla="*/ 122 w 180"/>
                <a:gd name="T5" fmla="*/ 48 h 172"/>
                <a:gd name="T6" fmla="*/ 115 w 180"/>
                <a:gd name="T7" fmla="*/ 55 h 172"/>
                <a:gd name="T8" fmla="*/ 113 w 180"/>
                <a:gd name="T9" fmla="*/ 71 h 172"/>
                <a:gd name="T10" fmla="*/ 128 w 180"/>
                <a:gd name="T11" fmla="*/ 91 h 172"/>
                <a:gd name="T12" fmla="*/ 151 w 180"/>
                <a:gd name="T13" fmla="*/ 102 h 172"/>
                <a:gd name="T14" fmla="*/ 162 w 180"/>
                <a:gd name="T15" fmla="*/ 118 h 172"/>
                <a:gd name="T16" fmla="*/ 161 w 180"/>
                <a:gd name="T17" fmla="*/ 133 h 172"/>
                <a:gd name="T18" fmla="*/ 167 w 180"/>
                <a:gd name="T19" fmla="*/ 133 h 172"/>
                <a:gd name="T20" fmla="*/ 169 w 180"/>
                <a:gd name="T21" fmla="*/ 144 h 172"/>
                <a:gd name="T22" fmla="*/ 180 w 180"/>
                <a:gd name="T23" fmla="*/ 155 h 172"/>
                <a:gd name="T24" fmla="*/ 169 w 180"/>
                <a:gd name="T25" fmla="*/ 154 h 172"/>
                <a:gd name="T26" fmla="*/ 157 w 180"/>
                <a:gd name="T27" fmla="*/ 152 h 172"/>
                <a:gd name="T28" fmla="*/ 147 w 180"/>
                <a:gd name="T29" fmla="*/ 172 h 172"/>
                <a:gd name="T30" fmla="*/ 114 w 180"/>
                <a:gd name="T31" fmla="*/ 170 h 172"/>
                <a:gd name="T32" fmla="*/ 59 w 180"/>
                <a:gd name="T33" fmla="*/ 129 h 172"/>
                <a:gd name="T34" fmla="*/ 31 w 180"/>
                <a:gd name="T35" fmla="*/ 114 h 172"/>
                <a:gd name="T36" fmla="*/ 10 w 180"/>
                <a:gd name="T37" fmla="*/ 109 h 172"/>
                <a:gd name="T38" fmla="*/ 0 w 180"/>
                <a:gd name="T39" fmla="*/ 83 h 172"/>
                <a:gd name="T40" fmla="*/ 35 w 180"/>
                <a:gd name="T41" fmla="*/ 62 h 172"/>
                <a:gd name="T42" fmla="*/ 38 w 180"/>
                <a:gd name="T43" fmla="*/ 37 h 172"/>
                <a:gd name="T44" fmla="*/ 35 w 180"/>
                <a:gd name="T45" fmla="*/ 22 h 172"/>
                <a:gd name="T46" fmla="*/ 43 w 180"/>
                <a:gd name="T47" fmla="*/ 17 h 172"/>
                <a:gd name="T48" fmla="*/ 50 w 180"/>
                <a:gd name="T49" fmla="*/ 4 h 172"/>
                <a:gd name="T50" fmla="*/ 57 w 180"/>
                <a:gd name="T51" fmla="*/ 0 h 172"/>
                <a:gd name="T52" fmla="*/ 78 w 180"/>
                <a:gd name="T53" fmla="*/ 3 h 172"/>
                <a:gd name="T54" fmla="*/ 84 w 180"/>
                <a:gd name="T55" fmla="*/ 8 h 172"/>
                <a:gd name="T56" fmla="*/ 92 w 180"/>
                <a:gd name="T57" fmla="*/ 5 h 172"/>
                <a:gd name="T58" fmla="*/ 107 w 180"/>
                <a:gd name="T59" fmla="*/ 29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0" h="172">
                  <a:moveTo>
                    <a:pt x="107" y="29"/>
                  </a:moveTo>
                  <a:lnTo>
                    <a:pt x="119" y="36"/>
                  </a:lnTo>
                  <a:lnTo>
                    <a:pt x="122" y="48"/>
                  </a:lnTo>
                  <a:lnTo>
                    <a:pt x="115" y="55"/>
                  </a:lnTo>
                  <a:lnTo>
                    <a:pt x="113" y="71"/>
                  </a:lnTo>
                  <a:lnTo>
                    <a:pt x="128" y="91"/>
                  </a:lnTo>
                  <a:lnTo>
                    <a:pt x="151" y="102"/>
                  </a:lnTo>
                  <a:lnTo>
                    <a:pt x="162" y="118"/>
                  </a:lnTo>
                  <a:lnTo>
                    <a:pt x="161" y="133"/>
                  </a:lnTo>
                  <a:lnTo>
                    <a:pt x="167" y="133"/>
                  </a:lnTo>
                  <a:lnTo>
                    <a:pt x="169" y="144"/>
                  </a:lnTo>
                  <a:lnTo>
                    <a:pt x="180" y="155"/>
                  </a:lnTo>
                  <a:lnTo>
                    <a:pt x="169" y="154"/>
                  </a:lnTo>
                  <a:lnTo>
                    <a:pt x="157" y="152"/>
                  </a:lnTo>
                  <a:lnTo>
                    <a:pt x="147" y="172"/>
                  </a:lnTo>
                  <a:lnTo>
                    <a:pt x="114" y="170"/>
                  </a:lnTo>
                  <a:lnTo>
                    <a:pt x="59" y="129"/>
                  </a:lnTo>
                  <a:lnTo>
                    <a:pt x="31" y="114"/>
                  </a:lnTo>
                  <a:lnTo>
                    <a:pt x="10" y="109"/>
                  </a:lnTo>
                  <a:lnTo>
                    <a:pt x="0" y="83"/>
                  </a:lnTo>
                  <a:lnTo>
                    <a:pt x="35" y="62"/>
                  </a:lnTo>
                  <a:lnTo>
                    <a:pt x="38" y="37"/>
                  </a:lnTo>
                  <a:lnTo>
                    <a:pt x="35" y="22"/>
                  </a:lnTo>
                  <a:lnTo>
                    <a:pt x="43" y="17"/>
                  </a:lnTo>
                  <a:lnTo>
                    <a:pt x="50" y="4"/>
                  </a:lnTo>
                  <a:lnTo>
                    <a:pt x="57" y="0"/>
                  </a:lnTo>
                  <a:lnTo>
                    <a:pt x="78" y="3"/>
                  </a:lnTo>
                  <a:lnTo>
                    <a:pt x="84" y="8"/>
                  </a:lnTo>
                  <a:lnTo>
                    <a:pt x="92" y="5"/>
                  </a:lnTo>
                  <a:lnTo>
                    <a:pt x="107" y="2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34" name="Freeform 91">
              <a:extLst>
                <a:ext uri="{FF2B5EF4-FFF2-40B4-BE49-F238E27FC236}">
                  <a16:creationId xmlns:a16="http://schemas.microsoft.com/office/drawing/2014/main" id="{0ADE4A54-65EF-4B46-8C03-1F5ED3CB4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1595" y="1111775"/>
              <a:ext cx="192764" cy="72938"/>
            </a:xfrm>
            <a:custGeom>
              <a:avLst/>
              <a:gdLst>
                <a:gd name="T0" fmla="*/ 138 w 148"/>
                <a:gd name="T1" fmla="*/ 1 h 56"/>
                <a:gd name="T2" fmla="*/ 133 w 148"/>
                <a:gd name="T3" fmla="*/ 13 h 56"/>
                <a:gd name="T4" fmla="*/ 148 w 148"/>
                <a:gd name="T5" fmla="*/ 25 h 56"/>
                <a:gd name="T6" fmla="*/ 128 w 148"/>
                <a:gd name="T7" fmla="*/ 39 h 56"/>
                <a:gd name="T8" fmla="*/ 85 w 148"/>
                <a:gd name="T9" fmla="*/ 52 h 56"/>
                <a:gd name="T10" fmla="*/ 73 w 148"/>
                <a:gd name="T11" fmla="*/ 56 h 56"/>
                <a:gd name="T12" fmla="*/ 54 w 148"/>
                <a:gd name="T13" fmla="*/ 53 h 56"/>
                <a:gd name="T14" fmla="*/ 16 w 148"/>
                <a:gd name="T15" fmla="*/ 47 h 56"/>
                <a:gd name="T16" fmla="*/ 31 w 148"/>
                <a:gd name="T17" fmla="*/ 39 h 56"/>
                <a:gd name="T18" fmla="*/ 2 w 148"/>
                <a:gd name="T19" fmla="*/ 30 h 56"/>
                <a:gd name="T20" fmla="*/ 28 w 148"/>
                <a:gd name="T21" fmla="*/ 26 h 56"/>
                <a:gd name="T22" fmla="*/ 28 w 148"/>
                <a:gd name="T23" fmla="*/ 21 h 56"/>
                <a:gd name="T24" fmla="*/ 0 w 148"/>
                <a:gd name="T25" fmla="*/ 17 h 56"/>
                <a:gd name="T26" fmla="*/ 12 w 148"/>
                <a:gd name="T27" fmla="*/ 5 h 56"/>
                <a:gd name="T28" fmla="*/ 33 w 148"/>
                <a:gd name="T29" fmla="*/ 2 h 56"/>
                <a:gd name="T30" fmla="*/ 52 w 148"/>
                <a:gd name="T31" fmla="*/ 14 h 56"/>
                <a:gd name="T32" fmla="*/ 75 w 148"/>
                <a:gd name="T33" fmla="*/ 4 h 56"/>
                <a:gd name="T34" fmla="*/ 91 w 148"/>
                <a:gd name="T35" fmla="*/ 9 h 56"/>
                <a:gd name="T36" fmla="*/ 115 w 148"/>
                <a:gd name="T37" fmla="*/ 0 h 56"/>
                <a:gd name="T38" fmla="*/ 138 w 148"/>
                <a:gd name="T39" fmla="*/ 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8" h="56">
                  <a:moveTo>
                    <a:pt x="138" y="1"/>
                  </a:moveTo>
                  <a:lnTo>
                    <a:pt x="133" y="13"/>
                  </a:lnTo>
                  <a:lnTo>
                    <a:pt x="148" y="25"/>
                  </a:lnTo>
                  <a:lnTo>
                    <a:pt x="128" y="39"/>
                  </a:lnTo>
                  <a:lnTo>
                    <a:pt x="85" y="52"/>
                  </a:lnTo>
                  <a:lnTo>
                    <a:pt x="73" y="56"/>
                  </a:lnTo>
                  <a:lnTo>
                    <a:pt x="54" y="53"/>
                  </a:lnTo>
                  <a:lnTo>
                    <a:pt x="16" y="47"/>
                  </a:lnTo>
                  <a:lnTo>
                    <a:pt x="31" y="39"/>
                  </a:lnTo>
                  <a:lnTo>
                    <a:pt x="2" y="30"/>
                  </a:lnTo>
                  <a:lnTo>
                    <a:pt x="28" y="26"/>
                  </a:lnTo>
                  <a:lnTo>
                    <a:pt x="28" y="21"/>
                  </a:lnTo>
                  <a:lnTo>
                    <a:pt x="0" y="17"/>
                  </a:lnTo>
                  <a:lnTo>
                    <a:pt x="12" y="5"/>
                  </a:lnTo>
                  <a:lnTo>
                    <a:pt x="33" y="2"/>
                  </a:lnTo>
                  <a:lnTo>
                    <a:pt x="52" y="14"/>
                  </a:lnTo>
                  <a:lnTo>
                    <a:pt x="75" y="4"/>
                  </a:lnTo>
                  <a:lnTo>
                    <a:pt x="91" y="9"/>
                  </a:lnTo>
                  <a:lnTo>
                    <a:pt x="115" y="0"/>
                  </a:lnTo>
                  <a:lnTo>
                    <a:pt x="138" y="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35" name="Freeform 92">
              <a:extLst>
                <a:ext uri="{FF2B5EF4-FFF2-40B4-BE49-F238E27FC236}">
                  <a16:creationId xmlns:a16="http://schemas.microsoft.com/office/drawing/2014/main" id="{EE288D0C-3169-4159-946F-2CFD533711E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3302" y="1975306"/>
              <a:ext cx="31259" cy="102895"/>
            </a:xfrm>
            <a:custGeom>
              <a:avLst/>
              <a:gdLst>
                <a:gd name="T0" fmla="*/ 23 w 24"/>
                <a:gd name="T1" fmla="*/ 12 h 79"/>
                <a:gd name="T2" fmla="*/ 20 w 24"/>
                <a:gd name="T3" fmla="*/ 19 h 79"/>
                <a:gd name="T4" fmla="*/ 14 w 24"/>
                <a:gd name="T5" fmla="*/ 16 h 79"/>
                <a:gd name="T6" fmla="*/ 11 w 24"/>
                <a:gd name="T7" fmla="*/ 30 h 79"/>
                <a:gd name="T8" fmla="*/ 16 w 24"/>
                <a:gd name="T9" fmla="*/ 32 h 79"/>
                <a:gd name="T10" fmla="*/ 12 w 24"/>
                <a:gd name="T11" fmla="*/ 35 h 79"/>
                <a:gd name="T12" fmla="*/ 12 w 24"/>
                <a:gd name="T13" fmla="*/ 40 h 79"/>
                <a:gd name="T14" fmla="*/ 20 w 24"/>
                <a:gd name="T15" fmla="*/ 37 h 79"/>
                <a:gd name="T16" fmla="*/ 21 w 24"/>
                <a:gd name="T17" fmla="*/ 45 h 79"/>
                <a:gd name="T18" fmla="*/ 15 w 24"/>
                <a:gd name="T19" fmla="*/ 79 h 79"/>
                <a:gd name="T20" fmla="*/ 0 w 24"/>
                <a:gd name="T21" fmla="*/ 43 h 79"/>
                <a:gd name="T22" fmla="*/ 5 w 24"/>
                <a:gd name="T23" fmla="*/ 36 h 79"/>
                <a:gd name="T24" fmla="*/ 3 w 24"/>
                <a:gd name="T25" fmla="*/ 35 h 79"/>
                <a:gd name="T26" fmla="*/ 7 w 24"/>
                <a:gd name="T27" fmla="*/ 25 h 79"/>
                <a:gd name="T28" fmla="*/ 9 w 24"/>
                <a:gd name="T29" fmla="*/ 10 h 79"/>
                <a:gd name="T30" fmla="*/ 11 w 24"/>
                <a:gd name="T31" fmla="*/ 4 h 79"/>
                <a:gd name="T32" fmla="*/ 11 w 24"/>
                <a:gd name="T33" fmla="*/ 4 h 79"/>
                <a:gd name="T34" fmla="*/ 17 w 24"/>
                <a:gd name="T35" fmla="*/ 4 h 79"/>
                <a:gd name="T36" fmla="*/ 18 w 24"/>
                <a:gd name="T37" fmla="*/ 1 h 79"/>
                <a:gd name="T38" fmla="*/ 23 w 24"/>
                <a:gd name="T39" fmla="*/ 0 h 79"/>
                <a:gd name="T40" fmla="*/ 24 w 24"/>
                <a:gd name="T41" fmla="*/ 9 h 79"/>
                <a:gd name="T42" fmla="*/ 22 w 24"/>
                <a:gd name="T43" fmla="*/ 12 h 79"/>
                <a:gd name="T44" fmla="*/ 23 w 24"/>
                <a:gd name="T45" fmla="*/ 1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" h="79">
                  <a:moveTo>
                    <a:pt x="23" y="12"/>
                  </a:moveTo>
                  <a:lnTo>
                    <a:pt x="20" y="19"/>
                  </a:lnTo>
                  <a:lnTo>
                    <a:pt x="14" y="16"/>
                  </a:lnTo>
                  <a:lnTo>
                    <a:pt x="11" y="30"/>
                  </a:lnTo>
                  <a:lnTo>
                    <a:pt x="16" y="32"/>
                  </a:lnTo>
                  <a:lnTo>
                    <a:pt x="12" y="35"/>
                  </a:lnTo>
                  <a:lnTo>
                    <a:pt x="12" y="40"/>
                  </a:lnTo>
                  <a:lnTo>
                    <a:pt x="20" y="37"/>
                  </a:lnTo>
                  <a:lnTo>
                    <a:pt x="21" y="45"/>
                  </a:lnTo>
                  <a:lnTo>
                    <a:pt x="15" y="79"/>
                  </a:lnTo>
                  <a:lnTo>
                    <a:pt x="0" y="43"/>
                  </a:lnTo>
                  <a:lnTo>
                    <a:pt x="5" y="36"/>
                  </a:lnTo>
                  <a:lnTo>
                    <a:pt x="3" y="35"/>
                  </a:lnTo>
                  <a:lnTo>
                    <a:pt x="7" y="25"/>
                  </a:lnTo>
                  <a:lnTo>
                    <a:pt x="9" y="10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7" y="4"/>
                  </a:lnTo>
                  <a:lnTo>
                    <a:pt x="18" y="1"/>
                  </a:lnTo>
                  <a:lnTo>
                    <a:pt x="23" y="0"/>
                  </a:lnTo>
                  <a:lnTo>
                    <a:pt x="24" y="9"/>
                  </a:lnTo>
                  <a:lnTo>
                    <a:pt x="22" y="12"/>
                  </a:lnTo>
                  <a:lnTo>
                    <a:pt x="23" y="12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36" name="Freeform 93">
              <a:extLst>
                <a:ext uri="{FF2B5EF4-FFF2-40B4-BE49-F238E27FC236}">
                  <a16:creationId xmlns:a16="http://schemas.microsoft.com/office/drawing/2014/main" id="{B394B40C-33B4-44DB-A3E2-1B7AAEC3F8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7948" y="1842455"/>
              <a:ext cx="67728" cy="42982"/>
            </a:xfrm>
            <a:custGeom>
              <a:avLst/>
              <a:gdLst>
                <a:gd name="T0" fmla="*/ 52 w 52"/>
                <a:gd name="T1" fmla="*/ 0 h 33"/>
                <a:gd name="T2" fmla="*/ 47 w 52"/>
                <a:gd name="T3" fmla="*/ 16 h 33"/>
                <a:gd name="T4" fmla="*/ 50 w 52"/>
                <a:gd name="T5" fmla="*/ 23 h 33"/>
                <a:gd name="T6" fmla="*/ 47 w 52"/>
                <a:gd name="T7" fmla="*/ 33 h 33"/>
                <a:gd name="T8" fmla="*/ 33 w 52"/>
                <a:gd name="T9" fmla="*/ 25 h 33"/>
                <a:gd name="T10" fmla="*/ 24 w 52"/>
                <a:gd name="T11" fmla="*/ 23 h 33"/>
                <a:gd name="T12" fmla="*/ 0 w 52"/>
                <a:gd name="T13" fmla="*/ 13 h 33"/>
                <a:gd name="T14" fmla="*/ 2 w 52"/>
                <a:gd name="T15" fmla="*/ 2 h 33"/>
                <a:gd name="T16" fmla="*/ 22 w 52"/>
                <a:gd name="T17" fmla="*/ 4 h 33"/>
                <a:gd name="T18" fmla="*/ 39 w 52"/>
                <a:gd name="T19" fmla="*/ 2 h 33"/>
                <a:gd name="T20" fmla="*/ 52 w 52"/>
                <a:gd name="T21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2" h="33">
                  <a:moveTo>
                    <a:pt x="52" y="0"/>
                  </a:moveTo>
                  <a:lnTo>
                    <a:pt x="47" y="16"/>
                  </a:lnTo>
                  <a:lnTo>
                    <a:pt x="50" y="23"/>
                  </a:lnTo>
                  <a:lnTo>
                    <a:pt x="47" y="33"/>
                  </a:lnTo>
                  <a:lnTo>
                    <a:pt x="33" y="25"/>
                  </a:lnTo>
                  <a:lnTo>
                    <a:pt x="24" y="23"/>
                  </a:lnTo>
                  <a:lnTo>
                    <a:pt x="0" y="13"/>
                  </a:lnTo>
                  <a:lnTo>
                    <a:pt x="2" y="2"/>
                  </a:lnTo>
                  <a:lnTo>
                    <a:pt x="22" y="4"/>
                  </a:lnTo>
                  <a:lnTo>
                    <a:pt x="39" y="2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37" name="Freeform 94">
              <a:extLst>
                <a:ext uri="{FF2B5EF4-FFF2-40B4-BE49-F238E27FC236}">
                  <a16:creationId xmlns:a16="http://schemas.microsoft.com/office/drawing/2014/main" id="{0553FBB9-317E-4929-94A2-C0C11A8A02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0264" y="1761702"/>
              <a:ext cx="36469" cy="62518"/>
            </a:xfrm>
            <a:custGeom>
              <a:avLst/>
              <a:gdLst>
                <a:gd name="T0" fmla="*/ 17 w 28"/>
                <a:gd name="T1" fmla="*/ 0 h 48"/>
                <a:gd name="T2" fmla="*/ 28 w 28"/>
                <a:gd name="T3" fmla="*/ 15 h 48"/>
                <a:gd name="T4" fmla="*/ 27 w 28"/>
                <a:gd name="T5" fmla="*/ 42 h 48"/>
                <a:gd name="T6" fmla="*/ 19 w 28"/>
                <a:gd name="T7" fmla="*/ 41 h 48"/>
                <a:gd name="T8" fmla="*/ 12 w 28"/>
                <a:gd name="T9" fmla="*/ 48 h 48"/>
                <a:gd name="T10" fmla="*/ 6 w 28"/>
                <a:gd name="T11" fmla="*/ 43 h 48"/>
                <a:gd name="T12" fmla="*/ 4 w 28"/>
                <a:gd name="T13" fmla="*/ 18 h 48"/>
                <a:gd name="T14" fmla="*/ 0 w 28"/>
                <a:gd name="T15" fmla="*/ 6 h 48"/>
                <a:gd name="T16" fmla="*/ 9 w 28"/>
                <a:gd name="T17" fmla="*/ 7 h 48"/>
                <a:gd name="T18" fmla="*/ 17 w 28"/>
                <a:gd name="T1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48">
                  <a:moveTo>
                    <a:pt x="17" y="0"/>
                  </a:moveTo>
                  <a:lnTo>
                    <a:pt x="28" y="15"/>
                  </a:lnTo>
                  <a:lnTo>
                    <a:pt x="27" y="42"/>
                  </a:lnTo>
                  <a:lnTo>
                    <a:pt x="19" y="41"/>
                  </a:lnTo>
                  <a:lnTo>
                    <a:pt x="12" y="48"/>
                  </a:lnTo>
                  <a:lnTo>
                    <a:pt x="6" y="43"/>
                  </a:lnTo>
                  <a:lnTo>
                    <a:pt x="4" y="18"/>
                  </a:lnTo>
                  <a:lnTo>
                    <a:pt x="0" y="6"/>
                  </a:lnTo>
                  <a:lnTo>
                    <a:pt x="9" y="7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38" name="Freeform 95">
              <a:extLst>
                <a:ext uri="{FF2B5EF4-FFF2-40B4-BE49-F238E27FC236}">
                  <a16:creationId xmlns:a16="http://schemas.microsoft.com/office/drawing/2014/main" id="{4D46549F-7B7E-4F6C-85B3-0D50B1068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6400" y="1605407"/>
              <a:ext cx="261795" cy="244862"/>
            </a:xfrm>
            <a:custGeom>
              <a:avLst/>
              <a:gdLst>
                <a:gd name="T0" fmla="*/ 114 w 201"/>
                <a:gd name="T1" fmla="*/ 12 h 188"/>
                <a:gd name="T2" fmla="*/ 117 w 201"/>
                <a:gd name="T3" fmla="*/ 31 h 188"/>
                <a:gd name="T4" fmla="*/ 91 w 201"/>
                <a:gd name="T5" fmla="*/ 35 h 188"/>
                <a:gd name="T6" fmla="*/ 91 w 201"/>
                <a:gd name="T7" fmla="*/ 51 h 188"/>
                <a:gd name="T8" fmla="*/ 113 w 201"/>
                <a:gd name="T9" fmla="*/ 72 h 188"/>
                <a:gd name="T10" fmla="*/ 142 w 201"/>
                <a:gd name="T11" fmla="*/ 105 h 188"/>
                <a:gd name="T12" fmla="*/ 160 w 201"/>
                <a:gd name="T13" fmla="*/ 110 h 188"/>
                <a:gd name="T14" fmla="*/ 171 w 201"/>
                <a:gd name="T15" fmla="*/ 121 h 188"/>
                <a:gd name="T16" fmla="*/ 199 w 201"/>
                <a:gd name="T17" fmla="*/ 138 h 188"/>
                <a:gd name="T18" fmla="*/ 198 w 201"/>
                <a:gd name="T19" fmla="*/ 149 h 188"/>
                <a:gd name="T20" fmla="*/ 173 w 201"/>
                <a:gd name="T21" fmla="*/ 136 h 188"/>
                <a:gd name="T22" fmla="*/ 180 w 201"/>
                <a:gd name="T23" fmla="*/ 157 h 188"/>
                <a:gd name="T24" fmla="*/ 172 w 201"/>
                <a:gd name="T25" fmla="*/ 169 h 188"/>
                <a:gd name="T26" fmla="*/ 156 w 201"/>
                <a:gd name="T27" fmla="*/ 188 h 188"/>
                <a:gd name="T28" fmla="*/ 159 w 201"/>
                <a:gd name="T29" fmla="*/ 171 h 188"/>
                <a:gd name="T30" fmla="*/ 155 w 201"/>
                <a:gd name="T31" fmla="*/ 155 h 188"/>
                <a:gd name="T32" fmla="*/ 142 w 201"/>
                <a:gd name="T33" fmla="*/ 142 h 188"/>
                <a:gd name="T34" fmla="*/ 125 w 201"/>
                <a:gd name="T35" fmla="*/ 129 h 188"/>
                <a:gd name="T36" fmla="*/ 105 w 201"/>
                <a:gd name="T37" fmla="*/ 120 h 188"/>
                <a:gd name="T38" fmla="*/ 76 w 201"/>
                <a:gd name="T39" fmla="*/ 97 h 188"/>
                <a:gd name="T40" fmla="*/ 58 w 201"/>
                <a:gd name="T41" fmla="*/ 65 h 188"/>
                <a:gd name="T42" fmla="*/ 35 w 201"/>
                <a:gd name="T43" fmla="*/ 56 h 188"/>
                <a:gd name="T44" fmla="*/ 19 w 201"/>
                <a:gd name="T45" fmla="*/ 68 h 188"/>
                <a:gd name="T46" fmla="*/ 13 w 201"/>
                <a:gd name="T47" fmla="*/ 61 h 188"/>
                <a:gd name="T48" fmla="*/ 0 w 201"/>
                <a:gd name="T49" fmla="*/ 42 h 188"/>
                <a:gd name="T50" fmla="*/ 0 w 201"/>
                <a:gd name="T51" fmla="*/ 28 h 188"/>
                <a:gd name="T52" fmla="*/ 8 w 201"/>
                <a:gd name="T53" fmla="*/ 27 h 188"/>
                <a:gd name="T54" fmla="*/ 25 w 201"/>
                <a:gd name="T55" fmla="*/ 19 h 188"/>
                <a:gd name="T56" fmla="*/ 35 w 201"/>
                <a:gd name="T57" fmla="*/ 22 h 188"/>
                <a:gd name="T58" fmla="*/ 51 w 201"/>
                <a:gd name="T59" fmla="*/ 16 h 188"/>
                <a:gd name="T60" fmla="*/ 58 w 201"/>
                <a:gd name="T61" fmla="*/ 4 h 188"/>
                <a:gd name="T62" fmla="*/ 70 w 201"/>
                <a:gd name="T63" fmla="*/ 3 h 188"/>
                <a:gd name="T64" fmla="*/ 90 w 201"/>
                <a:gd name="T65" fmla="*/ 7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1" h="188">
                  <a:moveTo>
                    <a:pt x="90" y="7"/>
                  </a:moveTo>
                  <a:lnTo>
                    <a:pt x="114" y="12"/>
                  </a:lnTo>
                  <a:lnTo>
                    <a:pt x="113" y="22"/>
                  </a:lnTo>
                  <a:lnTo>
                    <a:pt x="117" y="31"/>
                  </a:lnTo>
                  <a:lnTo>
                    <a:pt x="104" y="28"/>
                  </a:lnTo>
                  <a:lnTo>
                    <a:pt x="91" y="35"/>
                  </a:lnTo>
                  <a:lnTo>
                    <a:pt x="93" y="45"/>
                  </a:lnTo>
                  <a:lnTo>
                    <a:pt x="91" y="51"/>
                  </a:lnTo>
                  <a:lnTo>
                    <a:pt x="97" y="61"/>
                  </a:lnTo>
                  <a:lnTo>
                    <a:pt x="113" y="72"/>
                  </a:lnTo>
                  <a:lnTo>
                    <a:pt x="122" y="89"/>
                  </a:lnTo>
                  <a:lnTo>
                    <a:pt x="142" y="105"/>
                  </a:lnTo>
                  <a:lnTo>
                    <a:pt x="155" y="105"/>
                  </a:lnTo>
                  <a:lnTo>
                    <a:pt x="160" y="110"/>
                  </a:lnTo>
                  <a:lnTo>
                    <a:pt x="155" y="114"/>
                  </a:lnTo>
                  <a:lnTo>
                    <a:pt x="171" y="121"/>
                  </a:lnTo>
                  <a:lnTo>
                    <a:pt x="183" y="127"/>
                  </a:lnTo>
                  <a:lnTo>
                    <a:pt x="199" y="138"/>
                  </a:lnTo>
                  <a:lnTo>
                    <a:pt x="201" y="142"/>
                  </a:lnTo>
                  <a:lnTo>
                    <a:pt x="198" y="149"/>
                  </a:lnTo>
                  <a:lnTo>
                    <a:pt x="188" y="140"/>
                  </a:lnTo>
                  <a:lnTo>
                    <a:pt x="173" y="136"/>
                  </a:lnTo>
                  <a:lnTo>
                    <a:pt x="167" y="150"/>
                  </a:lnTo>
                  <a:lnTo>
                    <a:pt x="180" y="157"/>
                  </a:lnTo>
                  <a:lnTo>
                    <a:pt x="179" y="168"/>
                  </a:lnTo>
                  <a:lnTo>
                    <a:pt x="172" y="169"/>
                  </a:lnTo>
                  <a:lnTo>
                    <a:pt x="163" y="187"/>
                  </a:lnTo>
                  <a:lnTo>
                    <a:pt x="156" y="188"/>
                  </a:lnTo>
                  <a:lnTo>
                    <a:pt x="156" y="182"/>
                  </a:lnTo>
                  <a:lnTo>
                    <a:pt x="159" y="171"/>
                  </a:lnTo>
                  <a:lnTo>
                    <a:pt x="162" y="167"/>
                  </a:lnTo>
                  <a:lnTo>
                    <a:pt x="155" y="155"/>
                  </a:lnTo>
                  <a:lnTo>
                    <a:pt x="149" y="144"/>
                  </a:lnTo>
                  <a:lnTo>
                    <a:pt x="142" y="142"/>
                  </a:lnTo>
                  <a:lnTo>
                    <a:pt x="136" y="133"/>
                  </a:lnTo>
                  <a:lnTo>
                    <a:pt x="125" y="129"/>
                  </a:lnTo>
                  <a:lnTo>
                    <a:pt x="118" y="121"/>
                  </a:lnTo>
                  <a:lnTo>
                    <a:pt x="105" y="120"/>
                  </a:lnTo>
                  <a:lnTo>
                    <a:pt x="91" y="110"/>
                  </a:lnTo>
                  <a:lnTo>
                    <a:pt x="76" y="97"/>
                  </a:lnTo>
                  <a:lnTo>
                    <a:pt x="64" y="85"/>
                  </a:lnTo>
                  <a:lnTo>
                    <a:pt x="58" y="65"/>
                  </a:lnTo>
                  <a:lnTo>
                    <a:pt x="49" y="63"/>
                  </a:lnTo>
                  <a:lnTo>
                    <a:pt x="35" y="56"/>
                  </a:lnTo>
                  <a:lnTo>
                    <a:pt x="28" y="58"/>
                  </a:lnTo>
                  <a:lnTo>
                    <a:pt x="19" y="68"/>
                  </a:lnTo>
                  <a:lnTo>
                    <a:pt x="12" y="69"/>
                  </a:lnTo>
                  <a:lnTo>
                    <a:pt x="13" y="61"/>
                  </a:lnTo>
                  <a:lnTo>
                    <a:pt x="4" y="58"/>
                  </a:lnTo>
                  <a:lnTo>
                    <a:pt x="0" y="42"/>
                  </a:lnTo>
                  <a:lnTo>
                    <a:pt x="5" y="36"/>
                  </a:lnTo>
                  <a:lnTo>
                    <a:pt x="0" y="28"/>
                  </a:lnTo>
                  <a:lnTo>
                    <a:pt x="0" y="23"/>
                  </a:lnTo>
                  <a:lnTo>
                    <a:pt x="8" y="27"/>
                  </a:lnTo>
                  <a:lnTo>
                    <a:pt x="16" y="26"/>
                  </a:lnTo>
                  <a:lnTo>
                    <a:pt x="25" y="19"/>
                  </a:lnTo>
                  <a:lnTo>
                    <a:pt x="27" y="22"/>
                  </a:lnTo>
                  <a:lnTo>
                    <a:pt x="35" y="22"/>
                  </a:lnTo>
                  <a:lnTo>
                    <a:pt x="38" y="13"/>
                  </a:lnTo>
                  <a:lnTo>
                    <a:pt x="51" y="16"/>
                  </a:lnTo>
                  <a:lnTo>
                    <a:pt x="58" y="12"/>
                  </a:lnTo>
                  <a:lnTo>
                    <a:pt x="58" y="4"/>
                  </a:lnTo>
                  <a:lnTo>
                    <a:pt x="68" y="7"/>
                  </a:lnTo>
                  <a:lnTo>
                    <a:pt x="70" y="3"/>
                  </a:lnTo>
                  <a:lnTo>
                    <a:pt x="86" y="0"/>
                  </a:lnTo>
                  <a:lnTo>
                    <a:pt x="90" y="7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39" name="Freeform 96">
              <a:extLst>
                <a:ext uri="{FF2B5EF4-FFF2-40B4-BE49-F238E27FC236}">
                  <a16:creationId xmlns:a16="http://schemas.microsoft.com/office/drawing/2014/main" id="{C1171B8B-892A-46B8-8814-CE7FC396F0E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3636" y="2375161"/>
              <a:ext cx="49493" cy="22142"/>
            </a:xfrm>
            <a:custGeom>
              <a:avLst/>
              <a:gdLst>
                <a:gd name="T0" fmla="*/ 14 w 38"/>
                <a:gd name="T1" fmla="*/ 0 h 17"/>
                <a:gd name="T2" fmla="*/ 26 w 38"/>
                <a:gd name="T3" fmla="*/ 2 h 17"/>
                <a:gd name="T4" fmla="*/ 35 w 38"/>
                <a:gd name="T5" fmla="*/ 7 h 17"/>
                <a:gd name="T6" fmla="*/ 38 w 38"/>
                <a:gd name="T7" fmla="*/ 13 h 17"/>
                <a:gd name="T8" fmla="*/ 25 w 38"/>
                <a:gd name="T9" fmla="*/ 13 h 17"/>
                <a:gd name="T10" fmla="*/ 19 w 38"/>
                <a:gd name="T11" fmla="*/ 17 h 17"/>
                <a:gd name="T12" fmla="*/ 9 w 38"/>
                <a:gd name="T13" fmla="*/ 13 h 17"/>
                <a:gd name="T14" fmla="*/ 0 w 38"/>
                <a:gd name="T15" fmla="*/ 6 h 17"/>
                <a:gd name="T16" fmla="*/ 2 w 38"/>
                <a:gd name="T17" fmla="*/ 1 h 17"/>
                <a:gd name="T18" fmla="*/ 10 w 38"/>
                <a:gd name="T19" fmla="*/ 0 h 17"/>
                <a:gd name="T20" fmla="*/ 14 w 38"/>
                <a:gd name="T2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" h="17">
                  <a:moveTo>
                    <a:pt x="14" y="0"/>
                  </a:moveTo>
                  <a:lnTo>
                    <a:pt x="26" y="2"/>
                  </a:lnTo>
                  <a:lnTo>
                    <a:pt x="35" y="7"/>
                  </a:lnTo>
                  <a:lnTo>
                    <a:pt x="38" y="13"/>
                  </a:lnTo>
                  <a:lnTo>
                    <a:pt x="25" y="13"/>
                  </a:lnTo>
                  <a:lnTo>
                    <a:pt x="19" y="17"/>
                  </a:lnTo>
                  <a:lnTo>
                    <a:pt x="9" y="13"/>
                  </a:lnTo>
                  <a:lnTo>
                    <a:pt x="0" y="6"/>
                  </a:lnTo>
                  <a:lnTo>
                    <a:pt x="2" y="1"/>
                  </a:lnTo>
                  <a:lnTo>
                    <a:pt x="10" y="0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40" name="Freeform 97">
              <a:extLst>
                <a:ext uri="{FF2B5EF4-FFF2-40B4-BE49-F238E27FC236}">
                  <a16:creationId xmlns:a16="http://schemas.microsoft.com/office/drawing/2014/main" id="{346219F0-081F-40CF-A0B7-7A5BB7E94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2839" y="1972701"/>
              <a:ext cx="91172" cy="113314"/>
            </a:xfrm>
            <a:custGeom>
              <a:avLst/>
              <a:gdLst>
                <a:gd name="T0" fmla="*/ 5 w 70"/>
                <a:gd name="T1" fmla="*/ 21 h 87"/>
                <a:gd name="T2" fmla="*/ 8 w 70"/>
                <a:gd name="T3" fmla="*/ 14 h 87"/>
                <a:gd name="T4" fmla="*/ 28 w 70"/>
                <a:gd name="T5" fmla="*/ 22 h 87"/>
                <a:gd name="T6" fmla="*/ 60 w 70"/>
                <a:gd name="T7" fmla="*/ 0 h 87"/>
                <a:gd name="T8" fmla="*/ 70 w 70"/>
                <a:gd name="T9" fmla="*/ 26 h 87"/>
                <a:gd name="T10" fmla="*/ 67 w 70"/>
                <a:gd name="T11" fmla="*/ 29 h 87"/>
                <a:gd name="T12" fmla="*/ 33 w 70"/>
                <a:gd name="T13" fmla="*/ 39 h 87"/>
                <a:gd name="T14" fmla="*/ 52 w 70"/>
                <a:gd name="T15" fmla="*/ 60 h 87"/>
                <a:gd name="T16" fmla="*/ 47 w 70"/>
                <a:gd name="T17" fmla="*/ 63 h 87"/>
                <a:gd name="T18" fmla="*/ 45 w 70"/>
                <a:gd name="T19" fmla="*/ 70 h 87"/>
                <a:gd name="T20" fmla="*/ 32 w 70"/>
                <a:gd name="T21" fmla="*/ 73 h 87"/>
                <a:gd name="T22" fmla="*/ 28 w 70"/>
                <a:gd name="T23" fmla="*/ 81 h 87"/>
                <a:gd name="T24" fmla="*/ 21 w 70"/>
                <a:gd name="T25" fmla="*/ 87 h 87"/>
                <a:gd name="T26" fmla="*/ 1 w 70"/>
                <a:gd name="T27" fmla="*/ 84 h 87"/>
                <a:gd name="T28" fmla="*/ 0 w 70"/>
                <a:gd name="T29" fmla="*/ 81 h 87"/>
                <a:gd name="T30" fmla="*/ 6 w 70"/>
                <a:gd name="T31" fmla="*/ 47 h 87"/>
                <a:gd name="T32" fmla="*/ 5 w 70"/>
                <a:gd name="T33" fmla="*/ 39 h 87"/>
                <a:gd name="T34" fmla="*/ 7 w 70"/>
                <a:gd name="T35" fmla="*/ 33 h 87"/>
                <a:gd name="T36" fmla="*/ 5 w 70"/>
                <a:gd name="T37" fmla="*/ 2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0" h="87">
                  <a:moveTo>
                    <a:pt x="5" y="21"/>
                  </a:moveTo>
                  <a:lnTo>
                    <a:pt x="8" y="14"/>
                  </a:lnTo>
                  <a:lnTo>
                    <a:pt x="28" y="22"/>
                  </a:lnTo>
                  <a:lnTo>
                    <a:pt x="60" y="0"/>
                  </a:lnTo>
                  <a:lnTo>
                    <a:pt x="70" y="26"/>
                  </a:lnTo>
                  <a:lnTo>
                    <a:pt x="67" y="29"/>
                  </a:lnTo>
                  <a:lnTo>
                    <a:pt x="33" y="39"/>
                  </a:lnTo>
                  <a:lnTo>
                    <a:pt x="52" y="60"/>
                  </a:lnTo>
                  <a:lnTo>
                    <a:pt x="47" y="63"/>
                  </a:lnTo>
                  <a:lnTo>
                    <a:pt x="45" y="70"/>
                  </a:lnTo>
                  <a:lnTo>
                    <a:pt x="32" y="73"/>
                  </a:lnTo>
                  <a:lnTo>
                    <a:pt x="28" y="81"/>
                  </a:lnTo>
                  <a:lnTo>
                    <a:pt x="21" y="87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6" y="47"/>
                  </a:lnTo>
                  <a:lnTo>
                    <a:pt x="5" y="39"/>
                  </a:lnTo>
                  <a:lnTo>
                    <a:pt x="7" y="33"/>
                  </a:lnTo>
                  <a:lnTo>
                    <a:pt x="5" y="21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41" name="Freeform 98">
              <a:extLst>
                <a:ext uri="{FF2B5EF4-FFF2-40B4-BE49-F238E27FC236}">
                  <a16:creationId xmlns:a16="http://schemas.microsoft.com/office/drawing/2014/main" id="{0B32CBF8-E1E4-4F0F-9C5B-06B49C6AC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41391" y="1946652"/>
              <a:ext cx="49493" cy="44284"/>
            </a:xfrm>
            <a:custGeom>
              <a:avLst/>
              <a:gdLst>
                <a:gd name="T0" fmla="*/ 33 w 38"/>
                <a:gd name="T1" fmla="*/ 4 h 34"/>
                <a:gd name="T2" fmla="*/ 38 w 38"/>
                <a:gd name="T3" fmla="*/ 11 h 34"/>
                <a:gd name="T4" fmla="*/ 34 w 38"/>
                <a:gd name="T5" fmla="*/ 24 h 34"/>
                <a:gd name="T6" fmla="*/ 24 w 38"/>
                <a:gd name="T7" fmla="*/ 17 h 34"/>
                <a:gd name="T8" fmla="*/ 17 w 38"/>
                <a:gd name="T9" fmla="*/ 22 h 34"/>
                <a:gd name="T10" fmla="*/ 17 w 38"/>
                <a:gd name="T11" fmla="*/ 34 h 34"/>
                <a:gd name="T12" fmla="*/ 4 w 38"/>
                <a:gd name="T13" fmla="*/ 28 h 34"/>
                <a:gd name="T14" fmla="*/ 0 w 38"/>
                <a:gd name="T15" fmla="*/ 18 h 34"/>
                <a:gd name="T16" fmla="*/ 4 w 38"/>
                <a:gd name="T17" fmla="*/ 6 h 34"/>
                <a:gd name="T18" fmla="*/ 15 w 38"/>
                <a:gd name="T19" fmla="*/ 8 h 34"/>
                <a:gd name="T20" fmla="*/ 19 w 38"/>
                <a:gd name="T21" fmla="*/ 0 h 34"/>
                <a:gd name="T22" fmla="*/ 33 w 38"/>
                <a:gd name="T23" fmla="*/ 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" h="34">
                  <a:moveTo>
                    <a:pt x="33" y="4"/>
                  </a:moveTo>
                  <a:lnTo>
                    <a:pt x="38" y="11"/>
                  </a:lnTo>
                  <a:lnTo>
                    <a:pt x="34" y="24"/>
                  </a:lnTo>
                  <a:lnTo>
                    <a:pt x="24" y="17"/>
                  </a:lnTo>
                  <a:lnTo>
                    <a:pt x="17" y="22"/>
                  </a:lnTo>
                  <a:lnTo>
                    <a:pt x="17" y="34"/>
                  </a:lnTo>
                  <a:lnTo>
                    <a:pt x="4" y="28"/>
                  </a:lnTo>
                  <a:lnTo>
                    <a:pt x="0" y="18"/>
                  </a:lnTo>
                  <a:lnTo>
                    <a:pt x="4" y="6"/>
                  </a:lnTo>
                  <a:lnTo>
                    <a:pt x="15" y="8"/>
                  </a:lnTo>
                  <a:lnTo>
                    <a:pt x="19" y="0"/>
                  </a:lnTo>
                  <a:lnTo>
                    <a:pt x="33" y="4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42" name="Freeform 99">
              <a:extLst>
                <a:ext uri="{FF2B5EF4-FFF2-40B4-BE49-F238E27FC236}">
                  <a16:creationId xmlns:a16="http://schemas.microsoft.com/office/drawing/2014/main" id="{0D5C6097-8854-448D-A0B6-736E65A30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268" y="1757795"/>
              <a:ext cx="226628" cy="278726"/>
            </a:xfrm>
            <a:custGeom>
              <a:avLst/>
              <a:gdLst>
                <a:gd name="T0" fmla="*/ 164 w 174"/>
                <a:gd name="T1" fmla="*/ 87 h 214"/>
                <a:gd name="T2" fmla="*/ 166 w 174"/>
                <a:gd name="T3" fmla="*/ 104 h 214"/>
                <a:gd name="T4" fmla="*/ 174 w 174"/>
                <a:gd name="T5" fmla="*/ 114 h 214"/>
                <a:gd name="T6" fmla="*/ 171 w 174"/>
                <a:gd name="T7" fmla="*/ 129 h 214"/>
                <a:gd name="T8" fmla="*/ 154 w 174"/>
                <a:gd name="T9" fmla="*/ 139 h 214"/>
                <a:gd name="T10" fmla="*/ 124 w 174"/>
                <a:gd name="T11" fmla="*/ 140 h 214"/>
                <a:gd name="T12" fmla="*/ 109 w 174"/>
                <a:gd name="T13" fmla="*/ 163 h 214"/>
                <a:gd name="T14" fmla="*/ 94 w 174"/>
                <a:gd name="T15" fmla="*/ 155 h 214"/>
                <a:gd name="T16" fmla="*/ 87 w 174"/>
                <a:gd name="T17" fmla="*/ 140 h 214"/>
                <a:gd name="T18" fmla="*/ 59 w 174"/>
                <a:gd name="T19" fmla="*/ 145 h 214"/>
                <a:gd name="T20" fmla="*/ 42 w 174"/>
                <a:gd name="T21" fmla="*/ 154 h 214"/>
                <a:gd name="T22" fmla="*/ 22 w 174"/>
                <a:gd name="T23" fmla="*/ 155 h 214"/>
                <a:gd name="T24" fmla="*/ 46 w 174"/>
                <a:gd name="T25" fmla="*/ 170 h 214"/>
                <a:gd name="T26" fmla="*/ 48 w 174"/>
                <a:gd name="T27" fmla="*/ 205 h 214"/>
                <a:gd name="T28" fmla="*/ 40 w 174"/>
                <a:gd name="T29" fmla="*/ 214 h 214"/>
                <a:gd name="T30" fmla="*/ 28 w 174"/>
                <a:gd name="T31" fmla="*/ 206 h 214"/>
                <a:gd name="T32" fmla="*/ 26 w 174"/>
                <a:gd name="T33" fmla="*/ 187 h 214"/>
                <a:gd name="T34" fmla="*/ 12 w 174"/>
                <a:gd name="T35" fmla="*/ 181 h 214"/>
                <a:gd name="T36" fmla="*/ 0 w 174"/>
                <a:gd name="T37" fmla="*/ 167 h 214"/>
                <a:gd name="T38" fmla="*/ 14 w 174"/>
                <a:gd name="T39" fmla="*/ 160 h 214"/>
                <a:gd name="T40" fmla="*/ 17 w 174"/>
                <a:gd name="T41" fmla="*/ 148 h 214"/>
                <a:gd name="T42" fmla="*/ 30 w 174"/>
                <a:gd name="T43" fmla="*/ 137 h 214"/>
                <a:gd name="T44" fmla="*/ 37 w 174"/>
                <a:gd name="T45" fmla="*/ 123 h 214"/>
                <a:gd name="T46" fmla="*/ 68 w 174"/>
                <a:gd name="T47" fmla="*/ 117 h 214"/>
                <a:gd name="T48" fmla="*/ 89 w 174"/>
                <a:gd name="T49" fmla="*/ 121 h 214"/>
                <a:gd name="T50" fmla="*/ 89 w 174"/>
                <a:gd name="T51" fmla="*/ 84 h 214"/>
                <a:gd name="T52" fmla="*/ 106 w 174"/>
                <a:gd name="T53" fmla="*/ 94 h 214"/>
                <a:gd name="T54" fmla="*/ 120 w 174"/>
                <a:gd name="T55" fmla="*/ 73 h 214"/>
                <a:gd name="T56" fmla="*/ 126 w 174"/>
                <a:gd name="T57" fmla="*/ 65 h 214"/>
                <a:gd name="T58" fmla="*/ 123 w 174"/>
                <a:gd name="T59" fmla="*/ 40 h 214"/>
                <a:gd name="T60" fmla="*/ 108 w 174"/>
                <a:gd name="T61" fmla="*/ 17 h 214"/>
                <a:gd name="T62" fmla="*/ 107 w 174"/>
                <a:gd name="T63" fmla="*/ 4 h 214"/>
                <a:gd name="T64" fmla="*/ 123 w 174"/>
                <a:gd name="T65" fmla="*/ 0 h 214"/>
                <a:gd name="T66" fmla="*/ 149 w 174"/>
                <a:gd name="T67" fmla="*/ 29 h 214"/>
                <a:gd name="T68" fmla="*/ 157 w 174"/>
                <a:gd name="T69" fmla="*/ 45 h 214"/>
                <a:gd name="T70" fmla="*/ 153 w 174"/>
                <a:gd name="T71" fmla="*/ 66 h 214"/>
                <a:gd name="T72" fmla="*/ 164 w 174"/>
                <a:gd name="T73" fmla="*/ 87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4" h="214">
                  <a:moveTo>
                    <a:pt x="164" y="87"/>
                  </a:moveTo>
                  <a:lnTo>
                    <a:pt x="166" y="104"/>
                  </a:lnTo>
                  <a:lnTo>
                    <a:pt x="174" y="114"/>
                  </a:lnTo>
                  <a:lnTo>
                    <a:pt x="171" y="129"/>
                  </a:lnTo>
                  <a:lnTo>
                    <a:pt x="154" y="139"/>
                  </a:lnTo>
                  <a:lnTo>
                    <a:pt x="124" y="140"/>
                  </a:lnTo>
                  <a:lnTo>
                    <a:pt x="109" y="163"/>
                  </a:lnTo>
                  <a:lnTo>
                    <a:pt x="94" y="155"/>
                  </a:lnTo>
                  <a:lnTo>
                    <a:pt x="87" y="140"/>
                  </a:lnTo>
                  <a:lnTo>
                    <a:pt x="59" y="145"/>
                  </a:lnTo>
                  <a:lnTo>
                    <a:pt x="42" y="154"/>
                  </a:lnTo>
                  <a:lnTo>
                    <a:pt x="22" y="155"/>
                  </a:lnTo>
                  <a:lnTo>
                    <a:pt x="46" y="170"/>
                  </a:lnTo>
                  <a:lnTo>
                    <a:pt x="48" y="205"/>
                  </a:lnTo>
                  <a:lnTo>
                    <a:pt x="40" y="214"/>
                  </a:lnTo>
                  <a:lnTo>
                    <a:pt x="28" y="206"/>
                  </a:lnTo>
                  <a:lnTo>
                    <a:pt x="26" y="187"/>
                  </a:lnTo>
                  <a:lnTo>
                    <a:pt x="12" y="181"/>
                  </a:lnTo>
                  <a:lnTo>
                    <a:pt x="0" y="167"/>
                  </a:lnTo>
                  <a:lnTo>
                    <a:pt x="14" y="160"/>
                  </a:lnTo>
                  <a:lnTo>
                    <a:pt x="17" y="148"/>
                  </a:lnTo>
                  <a:lnTo>
                    <a:pt x="30" y="137"/>
                  </a:lnTo>
                  <a:lnTo>
                    <a:pt x="37" y="123"/>
                  </a:lnTo>
                  <a:lnTo>
                    <a:pt x="68" y="117"/>
                  </a:lnTo>
                  <a:lnTo>
                    <a:pt x="89" y="121"/>
                  </a:lnTo>
                  <a:lnTo>
                    <a:pt x="89" y="84"/>
                  </a:lnTo>
                  <a:lnTo>
                    <a:pt x="106" y="94"/>
                  </a:lnTo>
                  <a:lnTo>
                    <a:pt x="120" y="73"/>
                  </a:lnTo>
                  <a:lnTo>
                    <a:pt x="126" y="65"/>
                  </a:lnTo>
                  <a:lnTo>
                    <a:pt x="123" y="40"/>
                  </a:lnTo>
                  <a:lnTo>
                    <a:pt x="108" y="17"/>
                  </a:lnTo>
                  <a:lnTo>
                    <a:pt x="107" y="4"/>
                  </a:lnTo>
                  <a:lnTo>
                    <a:pt x="123" y="0"/>
                  </a:lnTo>
                  <a:lnTo>
                    <a:pt x="149" y="29"/>
                  </a:lnTo>
                  <a:lnTo>
                    <a:pt x="157" y="45"/>
                  </a:lnTo>
                  <a:lnTo>
                    <a:pt x="153" y="66"/>
                  </a:lnTo>
                  <a:lnTo>
                    <a:pt x="164" y="87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43" name="Freeform 100">
              <a:extLst>
                <a:ext uri="{FF2B5EF4-FFF2-40B4-BE49-F238E27FC236}">
                  <a16:creationId xmlns:a16="http://schemas.microsoft.com/office/drawing/2014/main" id="{5EB57FE7-52F8-427A-8400-83D0CE106F2E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162" y="1645784"/>
              <a:ext cx="117221" cy="106802"/>
            </a:xfrm>
            <a:custGeom>
              <a:avLst/>
              <a:gdLst>
                <a:gd name="T0" fmla="*/ 51 w 90"/>
                <a:gd name="T1" fmla="*/ 29 h 82"/>
                <a:gd name="T2" fmla="*/ 65 w 90"/>
                <a:gd name="T3" fmla="*/ 33 h 82"/>
                <a:gd name="T4" fmla="*/ 71 w 90"/>
                <a:gd name="T5" fmla="*/ 24 h 82"/>
                <a:gd name="T6" fmla="*/ 90 w 90"/>
                <a:gd name="T7" fmla="*/ 47 h 82"/>
                <a:gd name="T8" fmla="*/ 69 w 90"/>
                <a:gd name="T9" fmla="*/ 53 h 82"/>
                <a:gd name="T10" fmla="*/ 67 w 90"/>
                <a:gd name="T11" fmla="*/ 73 h 82"/>
                <a:gd name="T12" fmla="*/ 32 w 90"/>
                <a:gd name="T13" fmla="*/ 59 h 82"/>
                <a:gd name="T14" fmla="*/ 36 w 90"/>
                <a:gd name="T15" fmla="*/ 82 h 82"/>
                <a:gd name="T16" fmla="*/ 18 w 90"/>
                <a:gd name="T17" fmla="*/ 82 h 82"/>
                <a:gd name="T18" fmla="*/ 3 w 90"/>
                <a:gd name="T19" fmla="*/ 62 h 82"/>
                <a:gd name="T20" fmla="*/ 2 w 90"/>
                <a:gd name="T21" fmla="*/ 46 h 82"/>
                <a:gd name="T22" fmla="*/ 19 w 90"/>
                <a:gd name="T23" fmla="*/ 45 h 82"/>
                <a:gd name="T24" fmla="*/ 6 w 90"/>
                <a:gd name="T25" fmla="*/ 16 h 82"/>
                <a:gd name="T26" fmla="*/ 0 w 90"/>
                <a:gd name="T27" fmla="*/ 0 h 82"/>
                <a:gd name="T28" fmla="*/ 33 w 90"/>
                <a:gd name="T29" fmla="*/ 22 h 82"/>
                <a:gd name="T30" fmla="*/ 51 w 90"/>
                <a:gd name="T31" fmla="*/ 29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0" h="82">
                  <a:moveTo>
                    <a:pt x="51" y="29"/>
                  </a:moveTo>
                  <a:lnTo>
                    <a:pt x="65" y="33"/>
                  </a:lnTo>
                  <a:lnTo>
                    <a:pt x="71" y="24"/>
                  </a:lnTo>
                  <a:lnTo>
                    <a:pt x="90" y="47"/>
                  </a:lnTo>
                  <a:lnTo>
                    <a:pt x="69" y="53"/>
                  </a:lnTo>
                  <a:lnTo>
                    <a:pt x="67" y="73"/>
                  </a:lnTo>
                  <a:lnTo>
                    <a:pt x="32" y="59"/>
                  </a:lnTo>
                  <a:lnTo>
                    <a:pt x="36" y="82"/>
                  </a:lnTo>
                  <a:lnTo>
                    <a:pt x="18" y="82"/>
                  </a:lnTo>
                  <a:lnTo>
                    <a:pt x="3" y="62"/>
                  </a:lnTo>
                  <a:lnTo>
                    <a:pt x="2" y="46"/>
                  </a:lnTo>
                  <a:lnTo>
                    <a:pt x="19" y="45"/>
                  </a:lnTo>
                  <a:lnTo>
                    <a:pt x="6" y="16"/>
                  </a:lnTo>
                  <a:lnTo>
                    <a:pt x="0" y="0"/>
                  </a:lnTo>
                  <a:lnTo>
                    <a:pt x="33" y="22"/>
                  </a:lnTo>
                  <a:lnTo>
                    <a:pt x="51" y="29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44" name="Freeform 101">
              <a:extLst>
                <a:ext uri="{FF2B5EF4-FFF2-40B4-BE49-F238E27FC236}">
                  <a16:creationId xmlns:a16="http://schemas.microsoft.com/office/drawing/2014/main" id="{744A14CF-D26D-4832-8A11-0FFDD0C0301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7369" y="1387897"/>
              <a:ext cx="849204" cy="389436"/>
            </a:xfrm>
            <a:custGeom>
              <a:avLst/>
              <a:gdLst>
                <a:gd name="T0" fmla="*/ 429 w 652"/>
                <a:gd name="T1" fmla="*/ 270 h 299"/>
                <a:gd name="T2" fmla="*/ 408 w 652"/>
                <a:gd name="T3" fmla="*/ 299 h 299"/>
                <a:gd name="T4" fmla="*/ 395 w 652"/>
                <a:gd name="T5" fmla="*/ 289 h 299"/>
                <a:gd name="T6" fmla="*/ 365 w 652"/>
                <a:gd name="T7" fmla="*/ 272 h 299"/>
                <a:gd name="T8" fmla="*/ 352 w 652"/>
                <a:gd name="T9" fmla="*/ 251 h 299"/>
                <a:gd name="T10" fmla="*/ 300 w 652"/>
                <a:gd name="T11" fmla="*/ 237 h 299"/>
                <a:gd name="T12" fmla="*/ 260 w 652"/>
                <a:gd name="T13" fmla="*/ 222 h 299"/>
                <a:gd name="T14" fmla="*/ 215 w 652"/>
                <a:gd name="T15" fmla="*/ 200 h 299"/>
                <a:gd name="T16" fmla="*/ 172 w 652"/>
                <a:gd name="T17" fmla="*/ 210 h 299"/>
                <a:gd name="T18" fmla="*/ 183 w 652"/>
                <a:gd name="T19" fmla="*/ 286 h 299"/>
                <a:gd name="T20" fmla="*/ 155 w 652"/>
                <a:gd name="T21" fmla="*/ 265 h 299"/>
                <a:gd name="T22" fmla="*/ 131 w 652"/>
                <a:gd name="T23" fmla="*/ 276 h 299"/>
                <a:gd name="T24" fmla="*/ 131 w 652"/>
                <a:gd name="T25" fmla="*/ 262 h 299"/>
                <a:gd name="T26" fmla="*/ 106 w 652"/>
                <a:gd name="T27" fmla="*/ 248 h 299"/>
                <a:gd name="T28" fmla="*/ 84 w 652"/>
                <a:gd name="T29" fmla="*/ 224 h 299"/>
                <a:gd name="T30" fmla="*/ 98 w 652"/>
                <a:gd name="T31" fmla="*/ 220 h 299"/>
                <a:gd name="T32" fmla="*/ 108 w 652"/>
                <a:gd name="T33" fmla="*/ 201 h 299"/>
                <a:gd name="T34" fmla="*/ 121 w 652"/>
                <a:gd name="T35" fmla="*/ 184 h 299"/>
                <a:gd name="T36" fmla="*/ 99 w 652"/>
                <a:gd name="T37" fmla="*/ 173 h 299"/>
                <a:gd name="T38" fmla="*/ 67 w 652"/>
                <a:gd name="T39" fmla="*/ 177 h 299"/>
                <a:gd name="T40" fmla="*/ 44 w 652"/>
                <a:gd name="T41" fmla="*/ 178 h 299"/>
                <a:gd name="T42" fmla="*/ 29 w 652"/>
                <a:gd name="T43" fmla="*/ 154 h 299"/>
                <a:gd name="T44" fmla="*/ 0 w 652"/>
                <a:gd name="T45" fmla="*/ 140 h 299"/>
                <a:gd name="T46" fmla="*/ 0 w 652"/>
                <a:gd name="T47" fmla="*/ 121 h 299"/>
                <a:gd name="T48" fmla="*/ 26 w 652"/>
                <a:gd name="T49" fmla="*/ 110 h 299"/>
                <a:gd name="T50" fmla="*/ 51 w 652"/>
                <a:gd name="T51" fmla="*/ 74 h 299"/>
                <a:gd name="T52" fmla="*/ 115 w 652"/>
                <a:gd name="T53" fmla="*/ 87 h 299"/>
                <a:gd name="T54" fmla="*/ 150 w 652"/>
                <a:gd name="T55" fmla="*/ 87 h 299"/>
                <a:gd name="T56" fmla="*/ 199 w 652"/>
                <a:gd name="T57" fmla="*/ 97 h 299"/>
                <a:gd name="T58" fmla="*/ 224 w 652"/>
                <a:gd name="T59" fmla="*/ 92 h 299"/>
                <a:gd name="T60" fmla="*/ 194 w 652"/>
                <a:gd name="T61" fmla="*/ 69 h 299"/>
                <a:gd name="T62" fmla="*/ 201 w 652"/>
                <a:gd name="T63" fmla="*/ 53 h 299"/>
                <a:gd name="T64" fmla="*/ 198 w 652"/>
                <a:gd name="T65" fmla="*/ 34 h 299"/>
                <a:gd name="T66" fmla="*/ 257 w 652"/>
                <a:gd name="T67" fmla="*/ 21 h 299"/>
                <a:gd name="T68" fmla="*/ 298 w 652"/>
                <a:gd name="T69" fmla="*/ 9 h 299"/>
                <a:gd name="T70" fmla="*/ 338 w 652"/>
                <a:gd name="T71" fmla="*/ 5 h 299"/>
                <a:gd name="T72" fmla="*/ 366 w 652"/>
                <a:gd name="T73" fmla="*/ 20 h 299"/>
                <a:gd name="T74" fmla="*/ 393 w 652"/>
                <a:gd name="T75" fmla="*/ 38 h 299"/>
                <a:gd name="T76" fmla="*/ 437 w 652"/>
                <a:gd name="T77" fmla="*/ 18 h 299"/>
                <a:gd name="T78" fmla="*/ 462 w 652"/>
                <a:gd name="T79" fmla="*/ 39 h 299"/>
                <a:gd name="T80" fmla="*/ 524 w 652"/>
                <a:gd name="T81" fmla="*/ 80 h 299"/>
                <a:gd name="T82" fmla="*/ 571 w 652"/>
                <a:gd name="T83" fmla="*/ 86 h 299"/>
                <a:gd name="T84" fmla="*/ 595 w 652"/>
                <a:gd name="T85" fmla="*/ 102 h 299"/>
                <a:gd name="T86" fmla="*/ 619 w 652"/>
                <a:gd name="T87" fmla="*/ 114 h 299"/>
                <a:gd name="T88" fmla="*/ 652 w 652"/>
                <a:gd name="T89" fmla="*/ 124 h 299"/>
                <a:gd name="T90" fmla="*/ 634 w 652"/>
                <a:gd name="T91" fmla="*/ 139 h 299"/>
                <a:gd name="T92" fmla="*/ 637 w 652"/>
                <a:gd name="T93" fmla="*/ 169 h 299"/>
                <a:gd name="T94" fmla="*/ 605 w 652"/>
                <a:gd name="T95" fmla="*/ 199 h 299"/>
                <a:gd name="T96" fmla="*/ 569 w 652"/>
                <a:gd name="T97" fmla="*/ 211 h 299"/>
                <a:gd name="T98" fmla="*/ 588 w 652"/>
                <a:gd name="T99" fmla="*/ 252 h 299"/>
                <a:gd name="T100" fmla="*/ 581 w 652"/>
                <a:gd name="T101" fmla="*/ 261 h 299"/>
                <a:gd name="T102" fmla="*/ 545 w 652"/>
                <a:gd name="T103" fmla="*/ 252 h 299"/>
                <a:gd name="T104" fmla="*/ 512 w 652"/>
                <a:gd name="T105" fmla="*/ 253 h 299"/>
                <a:gd name="T106" fmla="*/ 477 w 652"/>
                <a:gd name="T107" fmla="*/ 249 h 299"/>
                <a:gd name="T108" fmla="*/ 449 w 652"/>
                <a:gd name="T109" fmla="*/ 254 h 299"/>
                <a:gd name="T110" fmla="*/ 438 w 652"/>
                <a:gd name="T111" fmla="*/ 266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52" h="299">
                  <a:moveTo>
                    <a:pt x="438" y="266"/>
                  </a:moveTo>
                  <a:lnTo>
                    <a:pt x="429" y="270"/>
                  </a:lnTo>
                  <a:lnTo>
                    <a:pt x="412" y="284"/>
                  </a:lnTo>
                  <a:lnTo>
                    <a:pt x="408" y="299"/>
                  </a:lnTo>
                  <a:lnTo>
                    <a:pt x="402" y="299"/>
                  </a:lnTo>
                  <a:lnTo>
                    <a:pt x="395" y="289"/>
                  </a:lnTo>
                  <a:lnTo>
                    <a:pt x="373" y="288"/>
                  </a:lnTo>
                  <a:lnTo>
                    <a:pt x="365" y="272"/>
                  </a:lnTo>
                  <a:lnTo>
                    <a:pt x="357" y="271"/>
                  </a:lnTo>
                  <a:lnTo>
                    <a:pt x="352" y="251"/>
                  </a:lnTo>
                  <a:lnTo>
                    <a:pt x="328" y="236"/>
                  </a:lnTo>
                  <a:lnTo>
                    <a:pt x="300" y="237"/>
                  </a:lnTo>
                  <a:lnTo>
                    <a:pt x="281" y="240"/>
                  </a:lnTo>
                  <a:lnTo>
                    <a:pt x="260" y="222"/>
                  </a:lnTo>
                  <a:lnTo>
                    <a:pt x="245" y="214"/>
                  </a:lnTo>
                  <a:lnTo>
                    <a:pt x="215" y="200"/>
                  </a:lnTo>
                  <a:lnTo>
                    <a:pt x="211" y="198"/>
                  </a:lnTo>
                  <a:lnTo>
                    <a:pt x="172" y="210"/>
                  </a:lnTo>
                  <a:lnTo>
                    <a:pt x="192" y="285"/>
                  </a:lnTo>
                  <a:lnTo>
                    <a:pt x="183" y="286"/>
                  </a:lnTo>
                  <a:lnTo>
                    <a:pt x="168" y="270"/>
                  </a:lnTo>
                  <a:lnTo>
                    <a:pt x="155" y="265"/>
                  </a:lnTo>
                  <a:lnTo>
                    <a:pt x="137" y="269"/>
                  </a:lnTo>
                  <a:lnTo>
                    <a:pt x="131" y="276"/>
                  </a:lnTo>
                  <a:lnTo>
                    <a:pt x="129" y="271"/>
                  </a:lnTo>
                  <a:lnTo>
                    <a:pt x="131" y="262"/>
                  </a:lnTo>
                  <a:lnTo>
                    <a:pt x="127" y="255"/>
                  </a:lnTo>
                  <a:lnTo>
                    <a:pt x="106" y="248"/>
                  </a:lnTo>
                  <a:lnTo>
                    <a:pt x="94" y="230"/>
                  </a:lnTo>
                  <a:lnTo>
                    <a:pt x="84" y="224"/>
                  </a:lnTo>
                  <a:lnTo>
                    <a:pt x="81" y="218"/>
                  </a:lnTo>
                  <a:lnTo>
                    <a:pt x="98" y="220"/>
                  </a:lnTo>
                  <a:lnTo>
                    <a:pt x="95" y="205"/>
                  </a:lnTo>
                  <a:lnTo>
                    <a:pt x="108" y="201"/>
                  </a:lnTo>
                  <a:lnTo>
                    <a:pt x="123" y="204"/>
                  </a:lnTo>
                  <a:lnTo>
                    <a:pt x="121" y="184"/>
                  </a:lnTo>
                  <a:lnTo>
                    <a:pt x="115" y="172"/>
                  </a:lnTo>
                  <a:lnTo>
                    <a:pt x="99" y="173"/>
                  </a:lnTo>
                  <a:lnTo>
                    <a:pt x="84" y="168"/>
                  </a:lnTo>
                  <a:lnTo>
                    <a:pt x="67" y="177"/>
                  </a:lnTo>
                  <a:lnTo>
                    <a:pt x="53" y="181"/>
                  </a:lnTo>
                  <a:lnTo>
                    <a:pt x="44" y="178"/>
                  </a:lnTo>
                  <a:lnTo>
                    <a:pt x="43" y="167"/>
                  </a:lnTo>
                  <a:lnTo>
                    <a:pt x="29" y="154"/>
                  </a:lnTo>
                  <a:lnTo>
                    <a:pt x="17" y="154"/>
                  </a:lnTo>
                  <a:lnTo>
                    <a:pt x="0" y="140"/>
                  </a:lnTo>
                  <a:lnTo>
                    <a:pt x="6" y="125"/>
                  </a:lnTo>
                  <a:lnTo>
                    <a:pt x="0" y="121"/>
                  </a:lnTo>
                  <a:lnTo>
                    <a:pt x="7" y="99"/>
                  </a:lnTo>
                  <a:lnTo>
                    <a:pt x="26" y="110"/>
                  </a:lnTo>
                  <a:lnTo>
                    <a:pt x="25" y="96"/>
                  </a:lnTo>
                  <a:lnTo>
                    <a:pt x="51" y="74"/>
                  </a:lnTo>
                  <a:lnTo>
                    <a:pt x="76" y="73"/>
                  </a:lnTo>
                  <a:lnTo>
                    <a:pt x="115" y="87"/>
                  </a:lnTo>
                  <a:lnTo>
                    <a:pt x="136" y="95"/>
                  </a:lnTo>
                  <a:lnTo>
                    <a:pt x="150" y="87"/>
                  </a:lnTo>
                  <a:lnTo>
                    <a:pt x="175" y="87"/>
                  </a:lnTo>
                  <a:lnTo>
                    <a:pt x="199" y="97"/>
                  </a:lnTo>
                  <a:lnTo>
                    <a:pt x="202" y="91"/>
                  </a:lnTo>
                  <a:lnTo>
                    <a:pt x="224" y="92"/>
                  </a:lnTo>
                  <a:lnTo>
                    <a:pt x="225" y="82"/>
                  </a:lnTo>
                  <a:lnTo>
                    <a:pt x="194" y="69"/>
                  </a:lnTo>
                  <a:lnTo>
                    <a:pt x="206" y="59"/>
                  </a:lnTo>
                  <a:lnTo>
                    <a:pt x="201" y="53"/>
                  </a:lnTo>
                  <a:lnTo>
                    <a:pt x="214" y="48"/>
                  </a:lnTo>
                  <a:lnTo>
                    <a:pt x="198" y="34"/>
                  </a:lnTo>
                  <a:lnTo>
                    <a:pt x="202" y="28"/>
                  </a:lnTo>
                  <a:lnTo>
                    <a:pt x="257" y="21"/>
                  </a:lnTo>
                  <a:lnTo>
                    <a:pt x="263" y="16"/>
                  </a:lnTo>
                  <a:lnTo>
                    <a:pt x="298" y="9"/>
                  </a:lnTo>
                  <a:lnTo>
                    <a:pt x="309" y="0"/>
                  </a:lnTo>
                  <a:lnTo>
                    <a:pt x="338" y="5"/>
                  </a:lnTo>
                  <a:lnTo>
                    <a:pt x="352" y="25"/>
                  </a:lnTo>
                  <a:lnTo>
                    <a:pt x="366" y="20"/>
                  </a:lnTo>
                  <a:lnTo>
                    <a:pt x="389" y="27"/>
                  </a:lnTo>
                  <a:lnTo>
                    <a:pt x="393" y="38"/>
                  </a:lnTo>
                  <a:lnTo>
                    <a:pt x="407" y="37"/>
                  </a:lnTo>
                  <a:lnTo>
                    <a:pt x="437" y="18"/>
                  </a:lnTo>
                  <a:lnTo>
                    <a:pt x="434" y="24"/>
                  </a:lnTo>
                  <a:lnTo>
                    <a:pt x="462" y="39"/>
                  </a:lnTo>
                  <a:lnTo>
                    <a:pt x="520" y="90"/>
                  </a:lnTo>
                  <a:lnTo>
                    <a:pt x="524" y="80"/>
                  </a:lnTo>
                  <a:lnTo>
                    <a:pt x="551" y="92"/>
                  </a:lnTo>
                  <a:lnTo>
                    <a:pt x="571" y="86"/>
                  </a:lnTo>
                  <a:lnTo>
                    <a:pt x="582" y="90"/>
                  </a:lnTo>
                  <a:lnTo>
                    <a:pt x="595" y="102"/>
                  </a:lnTo>
                  <a:lnTo>
                    <a:pt x="608" y="106"/>
                  </a:lnTo>
                  <a:lnTo>
                    <a:pt x="619" y="114"/>
                  </a:lnTo>
                  <a:lnTo>
                    <a:pt x="638" y="111"/>
                  </a:lnTo>
                  <a:lnTo>
                    <a:pt x="652" y="124"/>
                  </a:lnTo>
                  <a:lnTo>
                    <a:pt x="647" y="137"/>
                  </a:lnTo>
                  <a:lnTo>
                    <a:pt x="634" y="139"/>
                  </a:lnTo>
                  <a:lnTo>
                    <a:pt x="642" y="160"/>
                  </a:lnTo>
                  <a:lnTo>
                    <a:pt x="637" y="169"/>
                  </a:lnTo>
                  <a:lnTo>
                    <a:pt x="602" y="162"/>
                  </a:lnTo>
                  <a:lnTo>
                    <a:pt x="605" y="199"/>
                  </a:lnTo>
                  <a:lnTo>
                    <a:pt x="599" y="203"/>
                  </a:lnTo>
                  <a:lnTo>
                    <a:pt x="569" y="211"/>
                  </a:lnTo>
                  <a:lnTo>
                    <a:pt x="597" y="247"/>
                  </a:lnTo>
                  <a:lnTo>
                    <a:pt x="588" y="252"/>
                  </a:lnTo>
                  <a:lnTo>
                    <a:pt x="593" y="264"/>
                  </a:lnTo>
                  <a:lnTo>
                    <a:pt x="581" y="261"/>
                  </a:lnTo>
                  <a:lnTo>
                    <a:pt x="571" y="254"/>
                  </a:lnTo>
                  <a:lnTo>
                    <a:pt x="545" y="252"/>
                  </a:lnTo>
                  <a:lnTo>
                    <a:pt x="517" y="251"/>
                  </a:lnTo>
                  <a:lnTo>
                    <a:pt x="512" y="253"/>
                  </a:lnTo>
                  <a:lnTo>
                    <a:pt x="485" y="245"/>
                  </a:lnTo>
                  <a:lnTo>
                    <a:pt x="477" y="249"/>
                  </a:lnTo>
                  <a:lnTo>
                    <a:pt x="479" y="261"/>
                  </a:lnTo>
                  <a:lnTo>
                    <a:pt x="449" y="254"/>
                  </a:lnTo>
                  <a:lnTo>
                    <a:pt x="439" y="257"/>
                  </a:lnTo>
                  <a:lnTo>
                    <a:pt x="438" y="266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45" name="Freeform 102">
              <a:extLst>
                <a:ext uri="{FF2B5EF4-FFF2-40B4-BE49-F238E27FC236}">
                  <a16:creationId xmlns:a16="http://schemas.microsoft.com/office/drawing/2014/main" id="{579C8A91-4050-43B9-AC79-0B1186A8195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1956" y="2726826"/>
              <a:ext cx="190159" cy="276122"/>
            </a:xfrm>
            <a:custGeom>
              <a:avLst/>
              <a:gdLst>
                <a:gd name="T0" fmla="*/ 131 w 146"/>
                <a:gd name="T1" fmla="*/ 132 h 212"/>
                <a:gd name="T2" fmla="*/ 141 w 146"/>
                <a:gd name="T3" fmla="*/ 149 h 212"/>
                <a:gd name="T4" fmla="*/ 128 w 146"/>
                <a:gd name="T5" fmla="*/ 158 h 212"/>
                <a:gd name="T6" fmla="*/ 124 w 146"/>
                <a:gd name="T7" fmla="*/ 166 h 212"/>
                <a:gd name="T8" fmla="*/ 117 w 146"/>
                <a:gd name="T9" fmla="*/ 168 h 212"/>
                <a:gd name="T10" fmla="*/ 114 w 146"/>
                <a:gd name="T11" fmla="*/ 183 h 212"/>
                <a:gd name="T12" fmla="*/ 108 w 146"/>
                <a:gd name="T13" fmla="*/ 191 h 212"/>
                <a:gd name="T14" fmla="*/ 104 w 146"/>
                <a:gd name="T15" fmla="*/ 205 h 212"/>
                <a:gd name="T16" fmla="*/ 97 w 146"/>
                <a:gd name="T17" fmla="*/ 212 h 212"/>
                <a:gd name="T18" fmla="*/ 71 w 146"/>
                <a:gd name="T19" fmla="*/ 191 h 212"/>
                <a:gd name="T20" fmla="*/ 70 w 146"/>
                <a:gd name="T21" fmla="*/ 179 h 212"/>
                <a:gd name="T22" fmla="*/ 3 w 146"/>
                <a:gd name="T23" fmla="*/ 136 h 212"/>
                <a:gd name="T24" fmla="*/ 0 w 146"/>
                <a:gd name="T25" fmla="*/ 134 h 212"/>
                <a:gd name="T26" fmla="*/ 0 w 146"/>
                <a:gd name="T27" fmla="*/ 112 h 212"/>
                <a:gd name="T28" fmla="*/ 5 w 146"/>
                <a:gd name="T29" fmla="*/ 104 h 212"/>
                <a:gd name="T30" fmla="*/ 14 w 146"/>
                <a:gd name="T31" fmla="*/ 90 h 212"/>
                <a:gd name="T32" fmla="*/ 21 w 146"/>
                <a:gd name="T33" fmla="*/ 75 h 212"/>
                <a:gd name="T34" fmla="*/ 13 w 146"/>
                <a:gd name="T35" fmla="*/ 51 h 212"/>
                <a:gd name="T36" fmla="*/ 11 w 146"/>
                <a:gd name="T37" fmla="*/ 41 h 212"/>
                <a:gd name="T38" fmla="*/ 2 w 146"/>
                <a:gd name="T39" fmla="*/ 26 h 212"/>
                <a:gd name="T40" fmla="*/ 13 w 146"/>
                <a:gd name="T41" fmla="*/ 14 h 212"/>
                <a:gd name="T42" fmla="*/ 25 w 146"/>
                <a:gd name="T43" fmla="*/ 0 h 212"/>
                <a:gd name="T44" fmla="*/ 35 w 146"/>
                <a:gd name="T45" fmla="*/ 4 h 212"/>
                <a:gd name="T46" fmla="*/ 35 w 146"/>
                <a:gd name="T47" fmla="*/ 15 h 212"/>
                <a:gd name="T48" fmla="*/ 41 w 146"/>
                <a:gd name="T49" fmla="*/ 22 h 212"/>
                <a:gd name="T50" fmla="*/ 54 w 146"/>
                <a:gd name="T51" fmla="*/ 22 h 212"/>
                <a:gd name="T52" fmla="*/ 77 w 146"/>
                <a:gd name="T53" fmla="*/ 40 h 212"/>
                <a:gd name="T54" fmla="*/ 83 w 146"/>
                <a:gd name="T55" fmla="*/ 40 h 212"/>
                <a:gd name="T56" fmla="*/ 88 w 146"/>
                <a:gd name="T57" fmla="*/ 39 h 212"/>
                <a:gd name="T58" fmla="*/ 92 w 146"/>
                <a:gd name="T59" fmla="*/ 42 h 212"/>
                <a:gd name="T60" fmla="*/ 104 w 146"/>
                <a:gd name="T61" fmla="*/ 43 h 212"/>
                <a:gd name="T62" fmla="*/ 109 w 146"/>
                <a:gd name="T63" fmla="*/ 35 h 212"/>
                <a:gd name="T64" fmla="*/ 126 w 146"/>
                <a:gd name="T65" fmla="*/ 26 h 212"/>
                <a:gd name="T66" fmla="*/ 133 w 146"/>
                <a:gd name="T67" fmla="*/ 33 h 212"/>
                <a:gd name="T68" fmla="*/ 146 w 146"/>
                <a:gd name="T69" fmla="*/ 33 h 212"/>
                <a:gd name="T70" fmla="*/ 130 w 146"/>
                <a:gd name="T71" fmla="*/ 56 h 212"/>
                <a:gd name="T72" fmla="*/ 131 w 146"/>
                <a:gd name="T73" fmla="*/ 13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6" h="212">
                  <a:moveTo>
                    <a:pt x="131" y="132"/>
                  </a:moveTo>
                  <a:lnTo>
                    <a:pt x="141" y="149"/>
                  </a:lnTo>
                  <a:lnTo>
                    <a:pt x="128" y="158"/>
                  </a:lnTo>
                  <a:lnTo>
                    <a:pt x="124" y="166"/>
                  </a:lnTo>
                  <a:lnTo>
                    <a:pt x="117" y="168"/>
                  </a:lnTo>
                  <a:lnTo>
                    <a:pt x="114" y="183"/>
                  </a:lnTo>
                  <a:lnTo>
                    <a:pt x="108" y="191"/>
                  </a:lnTo>
                  <a:lnTo>
                    <a:pt x="104" y="205"/>
                  </a:lnTo>
                  <a:lnTo>
                    <a:pt x="97" y="212"/>
                  </a:lnTo>
                  <a:lnTo>
                    <a:pt x="71" y="191"/>
                  </a:lnTo>
                  <a:lnTo>
                    <a:pt x="70" y="179"/>
                  </a:lnTo>
                  <a:lnTo>
                    <a:pt x="3" y="136"/>
                  </a:lnTo>
                  <a:lnTo>
                    <a:pt x="0" y="134"/>
                  </a:lnTo>
                  <a:lnTo>
                    <a:pt x="0" y="112"/>
                  </a:lnTo>
                  <a:lnTo>
                    <a:pt x="5" y="104"/>
                  </a:lnTo>
                  <a:lnTo>
                    <a:pt x="14" y="90"/>
                  </a:lnTo>
                  <a:lnTo>
                    <a:pt x="21" y="75"/>
                  </a:lnTo>
                  <a:lnTo>
                    <a:pt x="13" y="51"/>
                  </a:lnTo>
                  <a:lnTo>
                    <a:pt x="11" y="41"/>
                  </a:lnTo>
                  <a:lnTo>
                    <a:pt x="2" y="26"/>
                  </a:lnTo>
                  <a:lnTo>
                    <a:pt x="13" y="14"/>
                  </a:lnTo>
                  <a:lnTo>
                    <a:pt x="25" y="0"/>
                  </a:lnTo>
                  <a:lnTo>
                    <a:pt x="35" y="4"/>
                  </a:lnTo>
                  <a:lnTo>
                    <a:pt x="35" y="15"/>
                  </a:lnTo>
                  <a:lnTo>
                    <a:pt x="41" y="22"/>
                  </a:lnTo>
                  <a:lnTo>
                    <a:pt x="54" y="22"/>
                  </a:lnTo>
                  <a:lnTo>
                    <a:pt x="77" y="40"/>
                  </a:lnTo>
                  <a:lnTo>
                    <a:pt x="83" y="40"/>
                  </a:lnTo>
                  <a:lnTo>
                    <a:pt x="88" y="39"/>
                  </a:lnTo>
                  <a:lnTo>
                    <a:pt x="92" y="42"/>
                  </a:lnTo>
                  <a:lnTo>
                    <a:pt x="104" y="43"/>
                  </a:lnTo>
                  <a:lnTo>
                    <a:pt x="109" y="35"/>
                  </a:lnTo>
                  <a:lnTo>
                    <a:pt x="126" y="26"/>
                  </a:lnTo>
                  <a:lnTo>
                    <a:pt x="133" y="33"/>
                  </a:lnTo>
                  <a:lnTo>
                    <a:pt x="146" y="33"/>
                  </a:lnTo>
                  <a:lnTo>
                    <a:pt x="130" y="56"/>
                  </a:lnTo>
                  <a:lnTo>
                    <a:pt x="131" y="13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46" name="Freeform 103">
              <a:extLst>
                <a:ext uri="{FF2B5EF4-FFF2-40B4-BE49-F238E27FC236}">
                  <a16:creationId xmlns:a16="http://schemas.microsoft.com/office/drawing/2014/main" id="{AA760F92-C8B8-4CC3-8B18-B31998C00F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3519" y="1706999"/>
              <a:ext cx="216208" cy="106802"/>
            </a:xfrm>
            <a:custGeom>
              <a:avLst/>
              <a:gdLst>
                <a:gd name="T0" fmla="*/ 11 w 166"/>
                <a:gd name="T1" fmla="*/ 21 h 82"/>
                <a:gd name="T2" fmla="*/ 12 w 166"/>
                <a:gd name="T3" fmla="*/ 12 h 82"/>
                <a:gd name="T4" fmla="*/ 22 w 166"/>
                <a:gd name="T5" fmla="*/ 9 h 82"/>
                <a:gd name="T6" fmla="*/ 52 w 166"/>
                <a:gd name="T7" fmla="*/ 16 h 82"/>
                <a:gd name="T8" fmla="*/ 50 w 166"/>
                <a:gd name="T9" fmla="*/ 4 h 82"/>
                <a:gd name="T10" fmla="*/ 58 w 166"/>
                <a:gd name="T11" fmla="*/ 0 h 82"/>
                <a:gd name="T12" fmla="*/ 85 w 166"/>
                <a:gd name="T13" fmla="*/ 8 h 82"/>
                <a:gd name="T14" fmla="*/ 90 w 166"/>
                <a:gd name="T15" fmla="*/ 6 h 82"/>
                <a:gd name="T16" fmla="*/ 118 w 166"/>
                <a:gd name="T17" fmla="*/ 7 h 82"/>
                <a:gd name="T18" fmla="*/ 144 w 166"/>
                <a:gd name="T19" fmla="*/ 9 h 82"/>
                <a:gd name="T20" fmla="*/ 154 w 166"/>
                <a:gd name="T21" fmla="*/ 16 h 82"/>
                <a:gd name="T22" fmla="*/ 166 w 166"/>
                <a:gd name="T23" fmla="*/ 19 h 82"/>
                <a:gd name="T24" fmla="*/ 165 w 166"/>
                <a:gd name="T25" fmla="*/ 24 h 82"/>
                <a:gd name="T26" fmla="*/ 142 w 166"/>
                <a:gd name="T27" fmla="*/ 35 h 82"/>
                <a:gd name="T28" fmla="*/ 139 w 166"/>
                <a:gd name="T29" fmla="*/ 43 h 82"/>
                <a:gd name="T30" fmla="*/ 118 w 166"/>
                <a:gd name="T31" fmla="*/ 46 h 82"/>
                <a:gd name="T32" fmla="*/ 116 w 166"/>
                <a:gd name="T33" fmla="*/ 58 h 82"/>
                <a:gd name="T34" fmla="*/ 97 w 166"/>
                <a:gd name="T35" fmla="*/ 56 h 82"/>
                <a:gd name="T36" fmla="*/ 87 w 166"/>
                <a:gd name="T37" fmla="*/ 60 h 82"/>
                <a:gd name="T38" fmla="*/ 74 w 166"/>
                <a:gd name="T39" fmla="*/ 70 h 82"/>
                <a:gd name="T40" fmla="*/ 77 w 166"/>
                <a:gd name="T41" fmla="*/ 74 h 82"/>
                <a:gd name="T42" fmla="*/ 74 w 166"/>
                <a:gd name="T43" fmla="*/ 79 h 82"/>
                <a:gd name="T44" fmla="*/ 43 w 166"/>
                <a:gd name="T45" fmla="*/ 82 h 82"/>
                <a:gd name="T46" fmla="*/ 20 w 166"/>
                <a:gd name="T47" fmla="*/ 76 h 82"/>
                <a:gd name="T48" fmla="*/ 2 w 166"/>
                <a:gd name="T49" fmla="*/ 77 h 82"/>
                <a:gd name="T50" fmla="*/ 0 w 166"/>
                <a:gd name="T51" fmla="*/ 65 h 82"/>
                <a:gd name="T52" fmla="*/ 20 w 166"/>
                <a:gd name="T53" fmla="*/ 69 h 82"/>
                <a:gd name="T54" fmla="*/ 24 w 166"/>
                <a:gd name="T55" fmla="*/ 62 h 82"/>
                <a:gd name="T56" fmla="*/ 37 w 166"/>
                <a:gd name="T57" fmla="*/ 64 h 82"/>
                <a:gd name="T58" fmla="*/ 55 w 166"/>
                <a:gd name="T59" fmla="*/ 49 h 82"/>
                <a:gd name="T60" fmla="*/ 31 w 166"/>
                <a:gd name="T61" fmla="*/ 39 h 82"/>
                <a:gd name="T62" fmla="*/ 21 w 166"/>
                <a:gd name="T63" fmla="*/ 44 h 82"/>
                <a:gd name="T64" fmla="*/ 6 w 166"/>
                <a:gd name="T65" fmla="*/ 36 h 82"/>
                <a:gd name="T66" fmla="*/ 16 w 166"/>
                <a:gd name="T67" fmla="*/ 23 h 82"/>
                <a:gd name="T68" fmla="*/ 11 w 166"/>
                <a:gd name="T69" fmla="*/ 2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6" h="82">
                  <a:moveTo>
                    <a:pt x="11" y="21"/>
                  </a:moveTo>
                  <a:lnTo>
                    <a:pt x="12" y="12"/>
                  </a:lnTo>
                  <a:lnTo>
                    <a:pt x="22" y="9"/>
                  </a:lnTo>
                  <a:lnTo>
                    <a:pt x="52" y="16"/>
                  </a:lnTo>
                  <a:lnTo>
                    <a:pt x="50" y="4"/>
                  </a:lnTo>
                  <a:lnTo>
                    <a:pt x="58" y="0"/>
                  </a:lnTo>
                  <a:lnTo>
                    <a:pt x="85" y="8"/>
                  </a:lnTo>
                  <a:lnTo>
                    <a:pt x="90" y="6"/>
                  </a:lnTo>
                  <a:lnTo>
                    <a:pt x="118" y="7"/>
                  </a:lnTo>
                  <a:lnTo>
                    <a:pt x="144" y="9"/>
                  </a:lnTo>
                  <a:lnTo>
                    <a:pt x="154" y="16"/>
                  </a:lnTo>
                  <a:lnTo>
                    <a:pt x="166" y="19"/>
                  </a:lnTo>
                  <a:lnTo>
                    <a:pt x="165" y="24"/>
                  </a:lnTo>
                  <a:lnTo>
                    <a:pt x="142" y="35"/>
                  </a:lnTo>
                  <a:lnTo>
                    <a:pt x="139" y="43"/>
                  </a:lnTo>
                  <a:lnTo>
                    <a:pt x="118" y="46"/>
                  </a:lnTo>
                  <a:lnTo>
                    <a:pt x="116" y="58"/>
                  </a:lnTo>
                  <a:lnTo>
                    <a:pt x="97" y="56"/>
                  </a:lnTo>
                  <a:lnTo>
                    <a:pt x="87" y="60"/>
                  </a:lnTo>
                  <a:lnTo>
                    <a:pt x="74" y="70"/>
                  </a:lnTo>
                  <a:lnTo>
                    <a:pt x="77" y="74"/>
                  </a:lnTo>
                  <a:lnTo>
                    <a:pt x="74" y="79"/>
                  </a:lnTo>
                  <a:lnTo>
                    <a:pt x="43" y="82"/>
                  </a:lnTo>
                  <a:lnTo>
                    <a:pt x="20" y="76"/>
                  </a:lnTo>
                  <a:lnTo>
                    <a:pt x="2" y="77"/>
                  </a:lnTo>
                  <a:lnTo>
                    <a:pt x="0" y="65"/>
                  </a:lnTo>
                  <a:lnTo>
                    <a:pt x="20" y="69"/>
                  </a:lnTo>
                  <a:lnTo>
                    <a:pt x="24" y="62"/>
                  </a:lnTo>
                  <a:lnTo>
                    <a:pt x="37" y="64"/>
                  </a:lnTo>
                  <a:lnTo>
                    <a:pt x="55" y="49"/>
                  </a:lnTo>
                  <a:lnTo>
                    <a:pt x="31" y="39"/>
                  </a:lnTo>
                  <a:lnTo>
                    <a:pt x="21" y="44"/>
                  </a:lnTo>
                  <a:lnTo>
                    <a:pt x="6" y="36"/>
                  </a:lnTo>
                  <a:lnTo>
                    <a:pt x="16" y="23"/>
                  </a:lnTo>
                  <a:lnTo>
                    <a:pt x="11" y="21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47" name="Freeform 104">
              <a:extLst>
                <a:ext uri="{FF2B5EF4-FFF2-40B4-BE49-F238E27FC236}">
                  <a16:creationId xmlns:a16="http://schemas.microsoft.com/office/drawing/2014/main" id="{8E508A8C-C7CC-4854-9B46-26DDFF029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0914" y="2481963"/>
              <a:ext cx="126339" cy="110710"/>
            </a:xfrm>
            <a:custGeom>
              <a:avLst/>
              <a:gdLst>
                <a:gd name="T0" fmla="*/ 27 w 97"/>
                <a:gd name="T1" fmla="*/ 81 h 85"/>
                <a:gd name="T2" fmla="*/ 18 w 97"/>
                <a:gd name="T3" fmla="*/ 71 h 85"/>
                <a:gd name="T4" fmla="*/ 7 w 97"/>
                <a:gd name="T5" fmla="*/ 49 h 85"/>
                <a:gd name="T6" fmla="*/ 0 w 97"/>
                <a:gd name="T7" fmla="*/ 24 h 85"/>
                <a:gd name="T8" fmla="*/ 10 w 97"/>
                <a:gd name="T9" fmla="*/ 7 h 85"/>
                <a:gd name="T10" fmla="*/ 33 w 97"/>
                <a:gd name="T11" fmla="*/ 3 h 85"/>
                <a:gd name="T12" fmla="*/ 51 w 97"/>
                <a:gd name="T13" fmla="*/ 6 h 85"/>
                <a:gd name="T14" fmla="*/ 67 w 97"/>
                <a:gd name="T15" fmla="*/ 14 h 85"/>
                <a:gd name="T16" fmla="*/ 73 w 97"/>
                <a:gd name="T17" fmla="*/ 0 h 85"/>
                <a:gd name="T18" fmla="*/ 90 w 97"/>
                <a:gd name="T19" fmla="*/ 7 h 85"/>
                <a:gd name="T20" fmla="*/ 96 w 97"/>
                <a:gd name="T21" fmla="*/ 21 h 85"/>
                <a:gd name="T22" fmla="*/ 97 w 97"/>
                <a:gd name="T23" fmla="*/ 46 h 85"/>
                <a:gd name="T24" fmla="*/ 68 w 97"/>
                <a:gd name="T25" fmla="*/ 62 h 85"/>
                <a:gd name="T26" fmla="*/ 77 w 97"/>
                <a:gd name="T27" fmla="*/ 75 h 85"/>
                <a:gd name="T28" fmla="*/ 58 w 97"/>
                <a:gd name="T29" fmla="*/ 76 h 85"/>
                <a:gd name="T30" fmla="*/ 42 w 97"/>
                <a:gd name="T31" fmla="*/ 85 h 85"/>
                <a:gd name="T32" fmla="*/ 27 w 97"/>
                <a:gd name="T33" fmla="*/ 81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7" h="85">
                  <a:moveTo>
                    <a:pt x="27" y="81"/>
                  </a:moveTo>
                  <a:lnTo>
                    <a:pt x="18" y="71"/>
                  </a:lnTo>
                  <a:lnTo>
                    <a:pt x="7" y="49"/>
                  </a:lnTo>
                  <a:lnTo>
                    <a:pt x="0" y="24"/>
                  </a:lnTo>
                  <a:lnTo>
                    <a:pt x="10" y="7"/>
                  </a:lnTo>
                  <a:lnTo>
                    <a:pt x="33" y="3"/>
                  </a:lnTo>
                  <a:lnTo>
                    <a:pt x="51" y="6"/>
                  </a:lnTo>
                  <a:lnTo>
                    <a:pt x="67" y="14"/>
                  </a:lnTo>
                  <a:lnTo>
                    <a:pt x="73" y="0"/>
                  </a:lnTo>
                  <a:lnTo>
                    <a:pt x="90" y="7"/>
                  </a:lnTo>
                  <a:lnTo>
                    <a:pt x="96" y="21"/>
                  </a:lnTo>
                  <a:lnTo>
                    <a:pt x="97" y="46"/>
                  </a:lnTo>
                  <a:lnTo>
                    <a:pt x="68" y="62"/>
                  </a:lnTo>
                  <a:lnTo>
                    <a:pt x="77" y="75"/>
                  </a:lnTo>
                  <a:lnTo>
                    <a:pt x="58" y="76"/>
                  </a:lnTo>
                  <a:lnTo>
                    <a:pt x="42" y="85"/>
                  </a:lnTo>
                  <a:lnTo>
                    <a:pt x="27" y="8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48" name="Freeform 105">
              <a:extLst>
                <a:ext uri="{FF2B5EF4-FFF2-40B4-BE49-F238E27FC236}">
                  <a16:creationId xmlns:a16="http://schemas.microsoft.com/office/drawing/2014/main" id="{BFC29748-ABB7-4E44-B227-1F7C93B7E0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1232" y="1832035"/>
              <a:ext cx="100290" cy="113314"/>
            </a:xfrm>
            <a:custGeom>
              <a:avLst/>
              <a:gdLst>
                <a:gd name="T0" fmla="*/ 29 w 77"/>
                <a:gd name="T1" fmla="*/ 0 h 87"/>
                <a:gd name="T2" fmla="*/ 55 w 77"/>
                <a:gd name="T3" fmla="*/ 24 h 87"/>
                <a:gd name="T4" fmla="*/ 66 w 77"/>
                <a:gd name="T5" fmla="*/ 38 h 87"/>
                <a:gd name="T6" fmla="*/ 77 w 77"/>
                <a:gd name="T7" fmla="*/ 62 h 87"/>
                <a:gd name="T8" fmla="*/ 75 w 77"/>
                <a:gd name="T9" fmla="*/ 73 h 87"/>
                <a:gd name="T10" fmla="*/ 61 w 77"/>
                <a:gd name="T11" fmla="*/ 77 h 87"/>
                <a:gd name="T12" fmla="*/ 51 w 77"/>
                <a:gd name="T13" fmla="*/ 85 h 87"/>
                <a:gd name="T14" fmla="*/ 36 w 77"/>
                <a:gd name="T15" fmla="*/ 87 h 87"/>
                <a:gd name="T16" fmla="*/ 29 w 77"/>
                <a:gd name="T17" fmla="*/ 76 h 87"/>
                <a:gd name="T18" fmla="*/ 26 w 77"/>
                <a:gd name="T19" fmla="*/ 61 h 87"/>
                <a:gd name="T20" fmla="*/ 9 w 77"/>
                <a:gd name="T21" fmla="*/ 39 h 87"/>
                <a:gd name="T22" fmla="*/ 20 w 77"/>
                <a:gd name="T23" fmla="*/ 35 h 87"/>
                <a:gd name="T24" fmla="*/ 0 w 77"/>
                <a:gd name="T25" fmla="*/ 18 h 87"/>
                <a:gd name="T26" fmla="*/ 1 w 77"/>
                <a:gd name="T27" fmla="*/ 16 h 87"/>
                <a:gd name="T28" fmla="*/ 8 w 77"/>
                <a:gd name="T29" fmla="*/ 17 h 87"/>
                <a:gd name="T30" fmla="*/ 11 w 77"/>
                <a:gd name="T31" fmla="*/ 7 h 87"/>
                <a:gd name="T32" fmla="*/ 22 w 77"/>
                <a:gd name="T33" fmla="*/ 6 h 87"/>
                <a:gd name="T34" fmla="*/ 29 w 77"/>
                <a:gd name="T35" fmla="*/ 5 h 87"/>
                <a:gd name="T36" fmla="*/ 29 w 77"/>
                <a:gd name="T37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7" h="87">
                  <a:moveTo>
                    <a:pt x="29" y="0"/>
                  </a:moveTo>
                  <a:lnTo>
                    <a:pt x="55" y="24"/>
                  </a:lnTo>
                  <a:lnTo>
                    <a:pt x="66" y="38"/>
                  </a:lnTo>
                  <a:lnTo>
                    <a:pt x="77" y="62"/>
                  </a:lnTo>
                  <a:lnTo>
                    <a:pt x="75" y="73"/>
                  </a:lnTo>
                  <a:lnTo>
                    <a:pt x="61" y="77"/>
                  </a:lnTo>
                  <a:lnTo>
                    <a:pt x="51" y="85"/>
                  </a:lnTo>
                  <a:lnTo>
                    <a:pt x="36" y="87"/>
                  </a:lnTo>
                  <a:lnTo>
                    <a:pt x="29" y="76"/>
                  </a:lnTo>
                  <a:lnTo>
                    <a:pt x="26" y="61"/>
                  </a:lnTo>
                  <a:lnTo>
                    <a:pt x="9" y="39"/>
                  </a:lnTo>
                  <a:lnTo>
                    <a:pt x="20" y="35"/>
                  </a:lnTo>
                  <a:lnTo>
                    <a:pt x="0" y="18"/>
                  </a:lnTo>
                  <a:lnTo>
                    <a:pt x="1" y="16"/>
                  </a:lnTo>
                  <a:lnTo>
                    <a:pt x="8" y="17"/>
                  </a:lnTo>
                  <a:lnTo>
                    <a:pt x="11" y="7"/>
                  </a:lnTo>
                  <a:lnTo>
                    <a:pt x="22" y="6"/>
                  </a:lnTo>
                  <a:lnTo>
                    <a:pt x="29" y="5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49" name="Freeform 106">
              <a:extLst>
                <a:ext uri="{FF2B5EF4-FFF2-40B4-BE49-F238E27FC236}">
                  <a16:creationId xmlns:a16="http://schemas.microsoft.com/office/drawing/2014/main" id="{AD2BDACB-8088-438D-AFB1-3DF9AA06E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8151" y="1706999"/>
              <a:ext cx="36469" cy="37772"/>
            </a:xfrm>
            <a:custGeom>
              <a:avLst/>
              <a:gdLst>
                <a:gd name="T0" fmla="*/ 12 w 28"/>
                <a:gd name="T1" fmla="*/ 25 h 29"/>
                <a:gd name="T2" fmla="*/ 12 w 28"/>
                <a:gd name="T3" fmla="*/ 29 h 29"/>
                <a:gd name="T4" fmla="*/ 10 w 28"/>
                <a:gd name="T5" fmla="*/ 29 h 29"/>
                <a:gd name="T6" fmla="*/ 8 w 28"/>
                <a:gd name="T7" fmla="*/ 22 h 29"/>
                <a:gd name="T8" fmla="*/ 4 w 28"/>
                <a:gd name="T9" fmla="*/ 20 h 29"/>
                <a:gd name="T10" fmla="*/ 0 w 28"/>
                <a:gd name="T11" fmla="*/ 14 h 29"/>
                <a:gd name="T12" fmla="*/ 2 w 28"/>
                <a:gd name="T13" fmla="*/ 9 h 29"/>
                <a:gd name="T14" fmla="*/ 6 w 28"/>
                <a:gd name="T15" fmla="*/ 8 h 29"/>
                <a:gd name="T16" fmla="*/ 8 w 28"/>
                <a:gd name="T17" fmla="*/ 1 h 29"/>
                <a:gd name="T18" fmla="*/ 11 w 28"/>
                <a:gd name="T19" fmla="*/ 0 h 29"/>
                <a:gd name="T20" fmla="*/ 13 w 28"/>
                <a:gd name="T21" fmla="*/ 3 h 29"/>
                <a:gd name="T22" fmla="*/ 17 w 28"/>
                <a:gd name="T23" fmla="*/ 4 h 29"/>
                <a:gd name="T24" fmla="*/ 19 w 28"/>
                <a:gd name="T25" fmla="*/ 7 h 29"/>
                <a:gd name="T26" fmla="*/ 22 w 28"/>
                <a:gd name="T27" fmla="*/ 8 h 29"/>
                <a:gd name="T28" fmla="*/ 26 w 28"/>
                <a:gd name="T29" fmla="*/ 12 h 29"/>
                <a:gd name="T30" fmla="*/ 28 w 28"/>
                <a:gd name="T31" fmla="*/ 12 h 29"/>
                <a:gd name="T32" fmla="*/ 27 w 28"/>
                <a:gd name="T33" fmla="*/ 17 h 29"/>
                <a:gd name="T34" fmla="*/ 25 w 28"/>
                <a:gd name="T35" fmla="*/ 20 h 29"/>
                <a:gd name="T36" fmla="*/ 25 w 28"/>
                <a:gd name="T37" fmla="*/ 21 h 29"/>
                <a:gd name="T38" fmla="*/ 22 w 28"/>
                <a:gd name="T39" fmla="*/ 22 h 29"/>
                <a:gd name="T40" fmla="*/ 12 w 28"/>
                <a:gd name="T41" fmla="*/ 25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" h="29">
                  <a:moveTo>
                    <a:pt x="12" y="25"/>
                  </a:moveTo>
                  <a:lnTo>
                    <a:pt x="12" y="29"/>
                  </a:lnTo>
                  <a:lnTo>
                    <a:pt x="10" y="29"/>
                  </a:lnTo>
                  <a:lnTo>
                    <a:pt x="8" y="22"/>
                  </a:lnTo>
                  <a:lnTo>
                    <a:pt x="4" y="20"/>
                  </a:lnTo>
                  <a:lnTo>
                    <a:pt x="0" y="14"/>
                  </a:lnTo>
                  <a:lnTo>
                    <a:pt x="2" y="9"/>
                  </a:lnTo>
                  <a:lnTo>
                    <a:pt x="6" y="8"/>
                  </a:lnTo>
                  <a:lnTo>
                    <a:pt x="8" y="1"/>
                  </a:lnTo>
                  <a:lnTo>
                    <a:pt x="11" y="0"/>
                  </a:lnTo>
                  <a:lnTo>
                    <a:pt x="13" y="3"/>
                  </a:lnTo>
                  <a:lnTo>
                    <a:pt x="17" y="4"/>
                  </a:lnTo>
                  <a:lnTo>
                    <a:pt x="19" y="7"/>
                  </a:lnTo>
                  <a:lnTo>
                    <a:pt x="22" y="8"/>
                  </a:lnTo>
                  <a:lnTo>
                    <a:pt x="26" y="12"/>
                  </a:lnTo>
                  <a:lnTo>
                    <a:pt x="28" y="12"/>
                  </a:lnTo>
                  <a:lnTo>
                    <a:pt x="27" y="17"/>
                  </a:lnTo>
                  <a:lnTo>
                    <a:pt x="25" y="20"/>
                  </a:lnTo>
                  <a:lnTo>
                    <a:pt x="25" y="21"/>
                  </a:lnTo>
                  <a:lnTo>
                    <a:pt x="22" y="22"/>
                  </a:lnTo>
                  <a:lnTo>
                    <a:pt x="12" y="25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50" name="Freeform 107">
              <a:extLst>
                <a:ext uri="{FF2B5EF4-FFF2-40B4-BE49-F238E27FC236}">
                  <a16:creationId xmlns:a16="http://schemas.microsoft.com/office/drawing/2014/main" id="{9EF872AC-C798-4ACC-9BC5-269DEFDCFE9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2448" y="2062571"/>
              <a:ext cx="44284" cy="41679"/>
            </a:xfrm>
            <a:custGeom>
              <a:avLst/>
              <a:gdLst>
                <a:gd name="T0" fmla="*/ 22 w 34"/>
                <a:gd name="T1" fmla="*/ 2 h 32"/>
                <a:gd name="T2" fmla="*/ 27 w 34"/>
                <a:gd name="T3" fmla="*/ 11 h 32"/>
                <a:gd name="T4" fmla="*/ 26 w 34"/>
                <a:gd name="T5" fmla="*/ 16 h 32"/>
                <a:gd name="T6" fmla="*/ 34 w 34"/>
                <a:gd name="T7" fmla="*/ 31 h 32"/>
                <a:gd name="T8" fmla="*/ 21 w 34"/>
                <a:gd name="T9" fmla="*/ 32 h 32"/>
                <a:gd name="T10" fmla="*/ 16 w 34"/>
                <a:gd name="T11" fmla="*/ 22 h 32"/>
                <a:gd name="T12" fmla="*/ 0 w 34"/>
                <a:gd name="T13" fmla="*/ 20 h 32"/>
                <a:gd name="T14" fmla="*/ 10 w 34"/>
                <a:gd name="T15" fmla="*/ 0 h 32"/>
                <a:gd name="T16" fmla="*/ 22 w 34"/>
                <a:gd name="T17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32">
                  <a:moveTo>
                    <a:pt x="22" y="2"/>
                  </a:moveTo>
                  <a:lnTo>
                    <a:pt x="27" y="11"/>
                  </a:lnTo>
                  <a:lnTo>
                    <a:pt x="26" y="16"/>
                  </a:lnTo>
                  <a:lnTo>
                    <a:pt x="34" y="31"/>
                  </a:lnTo>
                  <a:lnTo>
                    <a:pt x="21" y="32"/>
                  </a:lnTo>
                  <a:lnTo>
                    <a:pt x="16" y="22"/>
                  </a:lnTo>
                  <a:lnTo>
                    <a:pt x="0" y="20"/>
                  </a:lnTo>
                  <a:lnTo>
                    <a:pt x="10" y="0"/>
                  </a:lnTo>
                  <a:lnTo>
                    <a:pt x="22" y="2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51" name="Freeform 108">
              <a:extLst>
                <a:ext uri="{FF2B5EF4-FFF2-40B4-BE49-F238E27FC236}">
                  <a16:creationId xmlns:a16="http://schemas.microsoft.com/office/drawing/2014/main" id="{7A53D2D3-361D-4863-BEC3-ABF5BE627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2766" y="2268360"/>
              <a:ext cx="196672" cy="231838"/>
            </a:xfrm>
            <a:custGeom>
              <a:avLst/>
              <a:gdLst>
                <a:gd name="T0" fmla="*/ 111 w 151"/>
                <a:gd name="T1" fmla="*/ 170 h 178"/>
                <a:gd name="T2" fmla="*/ 116 w 151"/>
                <a:gd name="T3" fmla="*/ 161 h 178"/>
                <a:gd name="T4" fmla="*/ 114 w 151"/>
                <a:gd name="T5" fmla="*/ 143 h 178"/>
                <a:gd name="T6" fmla="*/ 97 w 151"/>
                <a:gd name="T7" fmla="*/ 125 h 178"/>
                <a:gd name="T8" fmla="*/ 93 w 151"/>
                <a:gd name="T9" fmla="*/ 104 h 178"/>
                <a:gd name="T10" fmla="*/ 77 w 151"/>
                <a:gd name="T11" fmla="*/ 87 h 178"/>
                <a:gd name="T12" fmla="*/ 63 w 151"/>
                <a:gd name="T13" fmla="*/ 86 h 178"/>
                <a:gd name="T14" fmla="*/ 60 w 151"/>
                <a:gd name="T15" fmla="*/ 93 h 178"/>
                <a:gd name="T16" fmla="*/ 50 w 151"/>
                <a:gd name="T17" fmla="*/ 94 h 178"/>
                <a:gd name="T18" fmla="*/ 44 w 151"/>
                <a:gd name="T19" fmla="*/ 90 h 178"/>
                <a:gd name="T20" fmla="*/ 26 w 151"/>
                <a:gd name="T21" fmla="*/ 103 h 178"/>
                <a:gd name="T22" fmla="*/ 23 w 151"/>
                <a:gd name="T23" fmla="*/ 84 h 178"/>
                <a:gd name="T24" fmla="*/ 24 w 151"/>
                <a:gd name="T25" fmla="*/ 62 h 178"/>
                <a:gd name="T26" fmla="*/ 12 w 151"/>
                <a:gd name="T27" fmla="*/ 61 h 178"/>
                <a:gd name="T28" fmla="*/ 9 w 151"/>
                <a:gd name="T29" fmla="*/ 49 h 178"/>
                <a:gd name="T30" fmla="*/ 0 w 151"/>
                <a:gd name="T31" fmla="*/ 42 h 178"/>
                <a:gd name="T32" fmla="*/ 3 w 151"/>
                <a:gd name="T33" fmla="*/ 34 h 178"/>
                <a:gd name="T34" fmla="*/ 16 w 151"/>
                <a:gd name="T35" fmla="*/ 21 h 178"/>
                <a:gd name="T36" fmla="*/ 18 w 151"/>
                <a:gd name="T37" fmla="*/ 26 h 178"/>
                <a:gd name="T38" fmla="*/ 28 w 151"/>
                <a:gd name="T39" fmla="*/ 26 h 178"/>
                <a:gd name="T40" fmla="*/ 21 w 151"/>
                <a:gd name="T41" fmla="*/ 3 h 178"/>
                <a:gd name="T42" fmla="*/ 30 w 151"/>
                <a:gd name="T43" fmla="*/ 0 h 178"/>
                <a:gd name="T44" fmla="*/ 43 w 151"/>
                <a:gd name="T45" fmla="*/ 16 h 178"/>
                <a:gd name="T46" fmla="*/ 55 w 151"/>
                <a:gd name="T47" fmla="*/ 35 h 178"/>
                <a:gd name="T48" fmla="*/ 77 w 151"/>
                <a:gd name="T49" fmla="*/ 35 h 178"/>
                <a:gd name="T50" fmla="*/ 87 w 151"/>
                <a:gd name="T51" fmla="*/ 53 h 178"/>
                <a:gd name="T52" fmla="*/ 76 w 151"/>
                <a:gd name="T53" fmla="*/ 59 h 178"/>
                <a:gd name="T54" fmla="*/ 72 w 151"/>
                <a:gd name="T55" fmla="*/ 66 h 178"/>
                <a:gd name="T56" fmla="*/ 96 w 151"/>
                <a:gd name="T57" fmla="*/ 79 h 178"/>
                <a:gd name="T58" fmla="*/ 115 w 151"/>
                <a:gd name="T59" fmla="*/ 103 h 178"/>
                <a:gd name="T60" fmla="*/ 129 w 151"/>
                <a:gd name="T61" fmla="*/ 122 h 178"/>
                <a:gd name="T62" fmla="*/ 145 w 151"/>
                <a:gd name="T63" fmla="*/ 136 h 178"/>
                <a:gd name="T64" fmla="*/ 151 w 151"/>
                <a:gd name="T65" fmla="*/ 151 h 178"/>
                <a:gd name="T66" fmla="*/ 150 w 151"/>
                <a:gd name="T67" fmla="*/ 171 h 178"/>
                <a:gd name="T68" fmla="*/ 133 w 151"/>
                <a:gd name="T69" fmla="*/ 164 h 178"/>
                <a:gd name="T70" fmla="*/ 127 w 151"/>
                <a:gd name="T71" fmla="*/ 178 h 178"/>
                <a:gd name="T72" fmla="*/ 111 w 151"/>
                <a:gd name="T73" fmla="*/ 17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1" h="178">
                  <a:moveTo>
                    <a:pt x="111" y="170"/>
                  </a:moveTo>
                  <a:lnTo>
                    <a:pt x="116" y="161"/>
                  </a:lnTo>
                  <a:lnTo>
                    <a:pt x="114" y="143"/>
                  </a:lnTo>
                  <a:lnTo>
                    <a:pt x="97" y="125"/>
                  </a:lnTo>
                  <a:lnTo>
                    <a:pt x="93" y="104"/>
                  </a:lnTo>
                  <a:lnTo>
                    <a:pt x="77" y="87"/>
                  </a:lnTo>
                  <a:lnTo>
                    <a:pt x="63" y="86"/>
                  </a:lnTo>
                  <a:lnTo>
                    <a:pt x="60" y="93"/>
                  </a:lnTo>
                  <a:lnTo>
                    <a:pt x="50" y="94"/>
                  </a:lnTo>
                  <a:lnTo>
                    <a:pt x="44" y="90"/>
                  </a:lnTo>
                  <a:lnTo>
                    <a:pt x="26" y="103"/>
                  </a:lnTo>
                  <a:lnTo>
                    <a:pt x="23" y="84"/>
                  </a:lnTo>
                  <a:lnTo>
                    <a:pt x="24" y="62"/>
                  </a:lnTo>
                  <a:lnTo>
                    <a:pt x="12" y="61"/>
                  </a:lnTo>
                  <a:lnTo>
                    <a:pt x="9" y="49"/>
                  </a:lnTo>
                  <a:lnTo>
                    <a:pt x="0" y="42"/>
                  </a:lnTo>
                  <a:lnTo>
                    <a:pt x="3" y="34"/>
                  </a:lnTo>
                  <a:lnTo>
                    <a:pt x="16" y="21"/>
                  </a:lnTo>
                  <a:lnTo>
                    <a:pt x="18" y="26"/>
                  </a:lnTo>
                  <a:lnTo>
                    <a:pt x="28" y="26"/>
                  </a:lnTo>
                  <a:lnTo>
                    <a:pt x="21" y="3"/>
                  </a:lnTo>
                  <a:lnTo>
                    <a:pt x="30" y="0"/>
                  </a:lnTo>
                  <a:lnTo>
                    <a:pt x="43" y="16"/>
                  </a:lnTo>
                  <a:lnTo>
                    <a:pt x="55" y="35"/>
                  </a:lnTo>
                  <a:lnTo>
                    <a:pt x="77" y="35"/>
                  </a:lnTo>
                  <a:lnTo>
                    <a:pt x="87" y="53"/>
                  </a:lnTo>
                  <a:lnTo>
                    <a:pt x="76" y="59"/>
                  </a:lnTo>
                  <a:lnTo>
                    <a:pt x="72" y="66"/>
                  </a:lnTo>
                  <a:lnTo>
                    <a:pt x="96" y="79"/>
                  </a:lnTo>
                  <a:lnTo>
                    <a:pt x="115" y="103"/>
                  </a:lnTo>
                  <a:lnTo>
                    <a:pt x="129" y="122"/>
                  </a:lnTo>
                  <a:lnTo>
                    <a:pt x="145" y="136"/>
                  </a:lnTo>
                  <a:lnTo>
                    <a:pt x="151" y="151"/>
                  </a:lnTo>
                  <a:lnTo>
                    <a:pt x="150" y="171"/>
                  </a:lnTo>
                  <a:lnTo>
                    <a:pt x="133" y="164"/>
                  </a:lnTo>
                  <a:lnTo>
                    <a:pt x="127" y="178"/>
                  </a:lnTo>
                  <a:lnTo>
                    <a:pt x="111" y="17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52" name="Freeform 109">
              <a:extLst>
                <a:ext uri="{FF2B5EF4-FFF2-40B4-BE49-F238E27FC236}">
                  <a16:creationId xmlns:a16="http://schemas.microsoft.com/office/drawing/2014/main" id="{85F0E5C7-D548-48D2-BDFC-CA643DD819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7630" y="1938837"/>
              <a:ext cx="31259" cy="41679"/>
            </a:xfrm>
            <a:custGeom>
              <a:avLst/>
              <a:gdLst>
                <a:gd name="T0" fmla="*/ 12 w 24"/>
                <a:gd name="T1" fmla="*/ 28 h 32"/>
                <a:gd name="T2" fmla="*/ 7 w 24"/>
                <a:gd name="T3" fmla="*/ 29 h 32"/>
                <a:gd name="T4" fmla="*/ 6 w 24"/>
                <a:gd name="T5" fmla="*/ 32 h 32"/>
                <a:gd name="T6" fmla="*/ 0 w 24"/>
                <a:gd name="T7" fmla="*/ 32 h 32"/>
                <a:gd name="T8" fmla="*/ 5 w 24"/>
                <a:gd name="T9" fmla="*/ 15 h 32"/>
                <a:gd name="T10" fmla="*/ 12 w 24"/>
                <a:gd name="T11" fmla="*/ 1 h 32"/>
                <a:gd name="T12" fmla="*/ 12 w 24"/>
                <a:gd name="T13" fmla="*/ 0 h 32"/>
                <a:gd name="T14" fmla="*/ 20 w 24"/>
                <a:gd name="T15" fmla="*/ 1 h 32"/>
                <a:gd name="T16" fmla="*/ 24 w 24"/>
                <a:gd name="T17" fmla="*/ 9 h 32"/>
                <a:gd name="T18" fmla="*/ 15 w 24"/>
                <a:gd name="T19" fmla="*/ 17 h 32"/>
                <a:gd name="T20" fmla="*/ 12 w 24"/>
                <a:gd name="T21" fmla="*/ 2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2">
                  <a:moveTo>
                    <a:pt x="12" y="28"/>
                  </a:moveTo>
                  <a:lnTo>
                    <a:pt x="7" y="29"/>
                  </a:lnTo>
                  <a:lnTo>
                    <a:pt x="6" y="32"/>
                  </a:lnTo>
                  <a:lnTo>
                    <a:pt x="0" y="32"/>
                  </a:lnTo>
                  <a:lnTo>
                    <a:pt x="5" y="15"/>
                  </a:lnTo>
                  <a:lnTo>
                    <a:pt x="12" y="1"/>
                  </a:lnTo>
                  <a:lnTo>
                    <a:pt x="12" y="0"/>
                  </a:lnTo>
                  <a:lnTo>
                    <a:pt x="20" y="1"/>
                  </a:lnTo>
                  <a:lnTo>
                    <a:pt x="24" y="9"/>
                  </a:lnTo>
                  <a:lnTo>
                    <a:pt x="15" y="17"/>
                  </a:lnTo>
                  <a:lnTo>
                    <a:pt x="12" y="28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53" name="Freeform 110">
              <a:extLst>
                <a:ext uri="{FF2B5EF4-FFF2-40B4-BE49-F238E27FC236}">
                  <a16:creationId xmlns:a16="http://schemas.microsoft.com/office/drawing/2014/main" id="{2808B840-4DF1-4890-B675-CE2B3B1289B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8310" y="2644771"/>
              <a:ext cx="92475" cy="113314"/>
            </a:xfrm>
            <a:custGeom>
              <a:avLst/>
              <a:gdLst>
                <a:gd name="T0" fmla="*/ 68 w 71"/>
                <a:gd name="T1" fmla="*/ 87 h 87"/>
                <a:gd name="T2" fmla="*/ 63 w 71"/>
                <a:gd name="T3" fmla="*/ 87 h 87"/>
                <a:gd name="T4" fmla="*/ 44 w 71"/>
                <a:gd name="T5" fmla="*/ 77 h 87"/>
                <a:gd name="T6" fmla="*/ 27 w 71"/>
                <a:gd name="T7" fmla="*/ 61 h 87"/>
                <a:gd name="T8" fmla="*/ 12 w 71"/>
                <a:gd name="T9" fmla="*/ 50 h 87"/>
                <a:gd name="T10" fmla="*/ 0 w 71"/>
                <a:gd name="T11" fmla="*/ 37 h 87"/>
                <a:gd name="T12" fmla="*/ 4 w 71"/>
                <a:gd name="T13" fmla="*/ 30 h 87"/>
                <a:gd name="T14" fmla="*/ 5 w 71"/>
                <a:gd name="T15" fmla="*/ 24 h 87"/>
                <a:gd name="T16" fmla="*/ 13 w 71"/>
                <a:gd name="T17" fmla="*/ 12 h 87"/>
                <a:gd name="T18" fmla="*/ 22 w 71"/>
                <a:gd name="T19" fmla="*/ 3 h 87"/>
                <a:gd name="T20" fmla="*/ 26 w 71"/>
                <a:gd name="T21" fmla="*/ 2 h 87"/>
                <a:gd name="T22" fmla="*/ 31 w 71"/>
                <a:gd name="T23" fmla="*/ 0 h 87"/>
                <a:gd name="T24" fmla="*/ 38 w 71"/>
                <a:gd name="T25" fmla="*/ 13 h 87"/>
                <a:gd name="T26" fmla="*/ 37 w 71"/>
                <a:gd name="T27" fmla="*/ 21 h 87"/>
                <a:gd name="T28" fmla="*/ 41 w 71"/>
                <a:gd name="T29" fmla="*/ 26 h 87"/>
                <a:gd name="T30" fmla="*/ 46 w 71"/>
                <a:gd name="T31" fmla="*/ 26 h 87"/>
                <a:gd name="T32" fmla="*/ 49 w 71"/>
                <a:gd name="T33" fmla="*/ 17 h 87"/>
                <a:gd name="T34" fmla="*/ 55 w 71"/>
                <a:gd name="T35" fmla="*/ 18 h 87"/>
                <a:gd name="T36" fmla="*/ 54 w 71"/>
                <a:gd name="T37" fmla="*/ 24 h 87"/>
                <a:gd name="T38" fmla="*/ 55 w 71"/>
                <a:gd name="T39" fmla="*/ 34 h 87"/>
                <a:gd name="T40" fmla="*/ 52 w 71"/>
                <a:gd name="T41" fmla="*/ 43 h 87"/>
                <a:gd name="T42" fmla="*/ 57 w 71"/>
                <a:gd name="T43" fmla="*/ 49 h 87"/>
                <a:gd name="T44" fmla="*/ 63 w 71"/>
                <a:gd name="T45" fmla="*/ 50 h 87"/>
                <a:gd name="T46" fmla="*/ 70 w 71"/>
                <a:gd name="T47" fmla="*/ 59 h 87"/>
                <a:gd name="T48" fmla="*/ 71 w 71"/>
                <a:gd name="T49" fmla="*/ 67 h 87"/>
                <a:gd name="T50" fmla="*/ 69 w 71"/>
                <a:gd name="T51" fmla="*/ 70 h 87"/>
                <a:gd name="T52" fmla="*/ 68 w 71"/>
                <a:gd name="T53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1" h="87">
                  <a:moveTo>
                    <a:pt x="68" y="87"/>
                  </a:moveTo>
                  <a:lnTo>
                    <a:pt x="63" y="87"/>
                  </a:lnTo>
                  <a:lnTo>
                    <a:pt x="44" y="77"/>
                  </a:lnTo>
                  <a:lnTo>
                    <a:pt x="27" y="61"/>
                  </a:lnTo>
                  <a:lnTo>
                    <a:pt x="12" y="50"/>
                  </a:lnTo>
                  <a:lnTo>
                    <a:pt x="0" y="37"/>
                  </a:lnTo>
                  <a:lnTo>
                    <a:pt x="4" y="30"/>
                  </a:lnTo>
                  <a:lnTo>
                    <a:pt x="5" y="24"/>
                  </a:lnTo>
                  <a:lnTo>
                    <a:pt x="13" y="12"/>
                  </a:lnTo>
                  <a:lnTo>
                    <a:pt x="22" y="3"/>
                  </a:lnTo>
                  <a:lnTo>
                    <a:pt x="26" y="2"/>
                  </a:lnTo>
                  <a:lnTo>
                    <a:pt x="31" y="0"/>
                  </a:lnTo>
                  <a:lnTo>
                    <a:pt x="38" y="13"/>
                  </a:lnTo>
                  <a:lnTo>
                    <a:pt x="37" y="21"/>
                  </a:lnTo>
                  <a:lnTo>
                    <a:pt x="41" y="26"/>
                  </a:lnTo>
                  <a:lnTo>
                    <a:pt x="46" y="26"/>
                  </a:lnTo>
                  <a:lnTo>
                    <a:pt x="49" y="17"/>
                  </a:lnTo>
                  <a:lnTo>
                    <a:pt x="55" y="18"/>
                  </a:lnTo>
                  <a:lnTo>
                    <a:pt x="54" y="24"/>
                  </a:lnTo>
                  <a:lnTo>
                    <a:pt x="55" y="34"/>
                  </a:lnTo>
                  <a:lnTo>
                    <a:pt x="52" y="43"/>
                  </a:lnTo>
                  <a:lnTo>
                    <a:pt x="57" y="49"/>
                  </a:lnTo>
                  <a:lnTo>
                    <a:pt x="63" y="50"/>
                  </a:lnTo>
                  <a:lnTo>
                    <a:pt x="70" y="59"/>
                  </a:lnTo>
                  <a:lnTo>
                    <a:pt x="71" y="67"/>
                  </a:lnTo>
                  <a:lnTo>
                    <a:pt x="69" y="70"/>
                  </a:lnTo>
                  <a:lnTo>
                    <a:pt x="68" y="8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54" name="Freeform 111">
              <a:extLst>
                <a:ext uri="{FF2B5EF4-FFF2-40B4-BE49-F238E27FC236}">
                  <a16:creationId xmlns:a16="http://schemas.microsoft.com/office/drawing/2014/main" id="{A574E212-00A9-4B09-9368-14AB87CED1E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6733" y="1979214"/>
              <a:ext cx="372503" cy="367294"/>
            </a:xfrm>
            <a:custGeom>
              <a:avLst/>
              <a:gdLst>
                <a:gd name="T0" fmla="*/ 101 w 286"/>
                <a:gd name="T1" fmla="*/ 213 h 282"/>
                <a:gd name="T2" fmla="*/ 88 w 286"/>
                <a:gd name="T3" fmla="*/ 221 h 282"/>
                <a:gd name="T4" fmla="*/ 78 w 286"/>
                <a:gd name="T5" fmla="*/ 210 h 282"/>
                <a:gd name="T6" fmla="*/ 49 w 286"/>
                <a:gd name="T7" fmla="*/ 201 h 282"/>
                <a:gd name="T8" fmla="*/ 41 w 286"/>
                <a:gd name="T9" fmla="*/ 188 h 282"/>
                <a:gd name="T10" fmla="*/ 27 w 286"/>
                <a:gd name="T11" fmla="*/ 178 h 282"/>
                <a:gd name="T12" fmla="*/ 19 w 286"/>
                <a:gd name="T13" fmla="*/ 182 h 282"/>
                <a:gd name="T14" fmla="*/ 12 w 286"/>
                <a:gd name="T15" fmla="*/ 170 h 282"/>
                <a:gd name="T16" fmla="*/ 11 w 286"/>
                <a:gd name="T17" fmla="*/ 162 h 282"/>
                <a:gd name="T18" fmla="*/ 0 w 286"/>
                <a:gd name="T19" fmla="*/ 146 h 282"/>
                <a:gd name="T20" fmla="*/ 7 w 286"/>
                <a:gd name="T21" fmla="*/ 138 h 282"/>
                <a:gd name="T22" fmla="*/ 5 w 286"/>
                <a:gd name="T23" fmla="*/ 125 h 282"/>
                <a:gd name="T24" fmla="*/ 7 w 286"/>
                <a:gd name="T25" fmla="*/ 113 h 282"/>
                <a:gd name="T26" fmla="*/ 6 w 286"/>
                <a:gd name="T27" fmla="*/ 104 h 282"/>
                <a:gd name="T28" fmla="*/ 9 w 286"/>
                <a:gd name="T29" fmla="*/ 87 h 282"/>
                <a:gd name="T30" fmla="*/ 7 w 286"/>
                <a:gd name="T31" fmla="*/ 77 h 282"/>
                <a:gd name="T32" fmla="*/ 1 w 286"/>
                <a:gd name="T33" fmla="*/ 59 h 282"/>
                <a:gd name="T34" fmla="*/ 10 w 286"/>
                <a:gd name="T35" fmla="*/ 54 h 282"/>
                <a:gd name="T36" fmla="*/ 11 w 286"/>
                <a:gd name="T37" fmla="*/ 45 h 282"/>
                <a:gd name="T38" fmla="*/ 9 w 286"/>
                <a:gd name="T39" fmla="*/ 37 h 282"/>
                <a:gd name="T40" fmla="*/ 21 w 286"/>
                <a:gd name="T41" fmla="*/ 29 h 282"/>
                <a:gd name="T42" fmla="*/ 26 w 286"/>
                <a:gd name="T43" fmla="*/ 22 h 282"/>
                <a:gd name="T44" fmla="*/ 34 w 286"/>
                <a:gd name="T45" fmla="*/ 16 h 282"/>
                <a:gd name="T46" fmla="*/ 35 w 286"/>
                <a:gd name="T47" fmla="*/ 0 h 282"/>
                <a:gd name="T48" fmla="*/ 55 w 286"/>
                <a:gd name="T49" fmla="*/ 7 h 282"/>
                <a:gd name="T50" fmla="*/ 63 w 286"/>
                <a:gd name="T51" fmla="*/ 6 h 282"/>
                <a:gd name="T52" fmla="*/ 77 w 286"/>
                <a:gd name="T53" fmla="*/ 9 h 282"/>
                <a:gd name="T54" fmla="*/ 101 w 286"/>
                <a:gd name="T55" fmla="*/ 18 h 282"/>
                <a:gd name="T56" fmla="*/ 110 w 286"/>
                <a:gd name="T57" fmla="*/ 37 h 282"/>
                <a:gd name="T58" fmla="*/ 126 w 286"/>
                <a:gd name="T59" fmla="*/ 41 h 282"/>
                <a:gd name="T60" fmla="*/ 151 w 286"/>
                <a:gd name="T61" fmla="*/ 50 h 282"/>
                <a:gd name="T62" fmla="*/ 170 w 286"/>
                <a:gd name="T63" fmla="*/ 60 h 282"/>
                <a:gd name="T64" fmla="*/ 178 w 286"/>
                <a:gd name="T65" fmla="*/ 54 h 282"/>
                <a:gd name="T66" fmla="*/ 186 w 286"/>
                <a:gd name="T67" fmla="*/ 45 h 282"/>
                <a:gd name="T68" fmla="*/ 181 w 286"/>
                <a:gd name="T69" fmla="*/ 29 h 282"/>
                <a:gd name="T70" fmla="*/ 186 w 286"/>
                <a:gd name="T71" fmla="*/ 19 h 282"/>
                <a:gd name="T72" fmla="*/ 198 w 286"/>
                <a:gd name="T73" fmla="*/ 9 h 282"/>
                <a:gd name="T74" fmla="*/ 210 w 286"/>
                <a:gd name="T75" fmla="*/ 6 h 282"/>
                <a:gd name="T76" fmla="*/ 234 w 286"/>
                <a:gd name="T77" fmla="*/ 11 h 282"/>
                <a:gd name="T78" fmla="*/ 241 w 286"/>
                <a:gd name="T79" fmla="*/ 20 h 282"/>
                <a:gd name="T80" fmla="*/ 247 w 286"/>
                <a:gd name="T81" fmla="*/ 20 h 282"/>
                <a:gd name="T82" fmla="*/ 253 w 286"/>
                <a:gd name="T83" fmla="*/ 23 h 282"/>
                <a:gd name="T84" fmla="*/ 270 w 286"/>
                <a:gd name="T85" fmla="*/ 26 h 282"/>
                <a:gd name="T86" fmla="*/ 275 w 286"/>
                <a:gd name="T87" fmla="*/ 33 h 282"/>
                <a:gd name="T88" fmla="*/ 270 w 286"/>
                <a:gd name="T89" fmla="*/ 43 h 282"/>
                <a:gd name="T90" fmla="*/ 273 w 286"/>
                <a:gd name="T91" fmla="*/ 51 h 282"/>
                <a:gd name="T92" fmla="*/ 269 w 286"/>
                <a:gd name="T93" fmla="*/ 64 h 282"/>
                <a:gd name="T94" fmla="*/ 275 w 286"/>
                <a:gd name="T95" fmla="*/ 81 h 282"/>
                <a:gd name="T96" fmla="*/ 280 w 286"/>
                <a:gd name="T97" fmla="*/ 155 h 282"/>
                <a:gd name="T98" fmla="*/ 284 w 286"/>
                <a:gd name="T99" fmla="*/ 231 h 282"/>
                <a:gd name="T100" fmla="*/ 286 w 286"/>
                <a:gd name="T101" fmla="*/ 273 h 282"/>
                <a:gd name="T102" fmla="*/ 265 w 286"/>
                <a:gd name="T103" fmla="*/ 273 h 282"/>
                <a:gd name="T104" fmla="*/ 265 w 286"/>
                <a:gd name="T105" fmla="*/ 282 h 282"/>
                <a:gd name="T106" fmla="*/ 192 w 286"/>
                <a:gd name="T107" fmla="*/ 242 h 282"/>
                <a:gd name="T108" fmla="*/ 119 w 286"/>
                <a:gd name="T109" fmla="*/ 202 h 282"/>
                <a:gd name="T110" fmla="*/ 101 w 286"/>
                <a:gd name="T111" fmla="*/ 213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86" h="282">
                  <a:moveTo>
                    <a:pt x="101" y="213"/>
                  </a:moveTo>
                  <a:lnTo>
                    <a:pt x="88" y="221"/>
                  </a:lnTo>
                  <a:lnTo>
                    <a:pt x="78" y="210"/>
                  </a:lnTo>
                  <a:lnTo>
                    <a:pt x="49" y="201"/>
                  </a:lnTo>
                  <a:lnTo>
                    <a:pt x="41" y="188"/>
                  </a:lnTo>
                  <a:lnTo>
                    <a:pt x="27" y="178"/>
                  </a:lnTo>
                  <a:lnTo>
                    <a:pt x="19" y="182"/>
                  </a:lnTo>
                  <a:lnTo>
                    <a:pt x="12" y="170"/>
                  </a:lnTo>
                  <a:lnTo>
                    <a:pt x="11" y="162"/>
                  </a:lnTo>
                  <a:lnTo>
                    <a:pt x="0" y="146"/>
                  </a:lnTo>
                  <a:lnTo>
                    <a:pt x="7" y="138"/>
                  </a:lnTo>
                  <a:lnTo>
                    <a:pt x="5" y="125"/>
                  </a:lnTo>
                  <a:lnTo>
                    <a:pt x="7" y="113"/>
                  </a:lnTo>
                  <a:lnTo>
                    <a:pt x="6" y="104"/>
                  </a:lnTo>
                  <a:lnTo>
                    <a:pt x="9" y="87"/>
                  </a:lnTo>
                  <a:lnTo>
                    <a:pt x="7" y="77"/>
                  </a:lnTo>
                  <a:lnTo>
                    <a:pt x="1" y="59"/>
                  </a:lnTo>
                  <a:lnTo>
                    <a:pt x="10" y="54"/>
                  </a:lnTo>
                  <a:lnTo>
                    <a:pt x="11" y="45"/>
                  </a:lnTo>
                  <a:lnTo>
                    <a:pt x="9" y="37"/>
                  </a:lnTo>
                  <a:lnTo>
                    <a:pt x="21" y="29"/>
                  </a:lnTo>
                  <a:lnTo>
                    <a:pt x="26" y="22"/>
                  </a:lnTo>
                  <a:lnTo>
                    <a:pt x="34" y="16"/>
                  </a:lnTo>
                  <a:lnTo>
                    <a:pt x="35" y="0"/>
                  </a:lnTo>
                  <a:lnTo>
                    <a:pt x="55" y="7"/>
                  </a:lnTo>
                  <a:lnTo>
                    <a:pt x="63" y="6"/>
                  </a:lnTo>
                  <a:lnTo>
                    <a:pt x="77" y="9"/>
                  </a:lnTo>
                  <a:lnTo>
                    <a:pt x="101" y="18"/>
                  </a:lnTo>
                  <a:lnTo>
                    <a:pt x="110" y="37"/>
                  </a:lnTo>
                  <a:lnTo>
                    <a:pt x="126" y="41"/>
                  </a:lnTo>
                  <a:lnTo>
                    <a:pt x="151" y="50"/>
                  </a:lnTo>
                  <a:lnTo>
                    <a:pt x="170" y="60"/>
                  </a:lnTo>
                  <a:lnTo>
                    <a:pt x="178" y="54"/>
                  </a:lnTo>
                  <a:lnTo>
                    <a:pt x="186" y="45"/>
                  </a:lnTo>
                  <a:lnTo>
                    <a:pt x="181" y="29"/>
                  </a:lnTo>
                  <a:lnTo>
                    <a:pt x="186" y="19"/>
                  </a:lnTo>
                  <a:lnTo>
                    <a:pt x="198" y="9"/>
                  </a:lnTo>
                  <a:lnTo>
                    <a:pt x="210" y="6"/>
                  </a:lnTo>
                  <a:lnTo>
                    <a:pt x="234" y="11"/>
                  </a:lnTo>
                  <a:lnTo>
                    <a:pt x="241" y="20"/>
                  </a:lnTo>
                  <a:lnTo>
                    <a:pt x="247" y="20"/>
                  </a:lnTo>
                  <a:lnTo>
                    <a:pt x="253" y="23"/>
                  </a:lnTo>
                  <a:lnTo>
                    <a:pt x="270" y="26"/>
                  </a:lnTo>
                  <a:lnTo>
                    <a:pt x="275" y="33"/>
                  </a:lnTo>
                  <a:lnTo>
                    <a:pt x="270" y="43"/>
                  </a:lnTo>
                  <a:lnTo>
                    <a:pt x="273" y="51"/>
                  </a:lnTo>
                  <a:lnTo>
                    <a:pt x="269" y="64"/>
                  </a:lnTo>
                  <a:lnTo>
                    <a:pt x="275" y="81"/>
                  </a:lnTo>
                  <a:lnTo>
                    <a:pt x="280" y="155"/>
                  </a:lnTo>
                  <a:lnTo>
                    <a:pt x="284" y="231"/>
                  </a:lnTo>
                  <a:lnTo>
                    <a:pt x="286" y="273"/>
                  </a:lnTo>
                  <a:lnTo>
                    <a:pt x="265" y="273"/>
                  </a:lnTo>
                  <a:lnTo>
                    <a:pt x="265" y="282"/>
                  </a:lnTo>
                  <a:lnTo>
                    <a:pt x="192" y="242"/>
                  </a:lnTo>
                  <a:lnTo>
                    <a:pt x="119" y="202"/>
                  </a:lnTo>
                  <a:lnTo>
                    <a:pt x="101" y="21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55" name="Freeform 112">
              <a:extLst>
                <a:ext uri="{FF2B5EF4-FFF2-40B4-BE49-F238E27FC236}">
                  <a16:creationId xmlns:a16="http://schemas.microsoft.com/office/drawing/2014/main" id="{4B0CB50E-DD4A-4897-834D-2DDD9F0055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417" y="2609604"/>
              <a:ext cx="50796" cy="104197"/>
            </a:xfrm>
            <a:custGeom>
              <a:avLst/>
              <a:gdLst>
                <a:gd name="T0" fmla="*/ 39 w 39"/>
                <a:gd name="T1" fmla="*/ 48 h 80"/>
                <a:gd name="T2" fmla="*/ 37 w 39"/>
                <a:gd name="T3" fmla="*/ 70 h 80"/>
                <a:gd name="T4" fmla="*/ 29 w 39"/>
                <a:gd name="T5" fmla="*/ 76 h 80"/>
                <a:gd name="T6" fmla="*/ 14 w 39"/>
                <a:gd name="T7" fmla="*/ 80 h 80"/>
                <a:gd name="T8" fmla="*/ 4 w 39"/>
                <a:gd name="T9" fmla="*/ 64 h 80"/>
                <a:gd name="T10" fmla="*/ 0 w 39"/>
                <a:gd name="T11" fmla="*/ 34 h 80"/>
                <a:gd name="T12" fmla="*/ 6 w 39"/>
                <a:gd name="T13" fmla="*/ 0 h 80"/>
                <a:gd name="T14" fmla="*/ 19 w 39"/>
                <a:gd name="T15" fmla="*/ 12 h 80"/>
                <a:gd name="T16" fmla="*/ 29 w 39"/>
                <a:gd name="T17" fmla="*/ 26 h 80"/>
                <a:gd name="T18" fmla="*/ 39 w 39"/>
                <a:gd name="T19" fmla="*/ 48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" h="80">
                  <a:moveTo>
                    <a:pt x="39" y="48"/>
                  </a:moveTo>
                  <a:lnTo>
                    <a:pt x="37" y="70"/>
                  </a:lnTo>
                  <a:lnTo>
                    <a:pt x="29" y="76"/>
                  </a:lnTo>
                  <a:lnTo>
                    <a:pt x="14" y="80"/>
                  </a:lnTo>
                  <a:lnTo>
                    <a:pt x="4" y="64"/>
                  </a:lnTo>
                  <a:lnTo>
                    <a:pt x="0" y="34"/>
                  </a:lnTo>
                  <a:lnTo>
                    <a:pt x="6" y="0"/>
                  </a:lnTo>
                  <a:lnTo>
                    <a:pt x="19" y="12"/>
                  </a:lnTo>
                  <a:lnTo>
                    <a:pt x="29" y="26"/>
                  </a:lnTo>
                  <a:lnTo>
                    <a:pt x="39" y="4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56" name="Freeform 113">
              <a:extLst>
                <a:ext uri="{FF2B5EF4-FFF2-40B4-BE49-F238E27FC236}">
                  <a16:creationId xmlns:a16="http://schemas.microsoft.com/office/drawing/2014/main" id="{877DEF4E-21A7-4F92-AEAB-474C2CA072E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0495" y="3651572"/>
              <a:ext cx="54703" cy="53401"/>
            </a:xfrm>
            <a:custGeom>
              <a:avLst/>
              <a:gdLst>
                <a:gd name="T0" fmla="*/ 36 w 42"/>
                <a:gd name="T1" fmla="*/ 6 h 41"/>
                <a:gd name="T2" fmla="*/ 42 w 42"/>
                <a:gd name="T3" fmla="*/ 12 h 41"/>
                <a:gd name="T4" fmla="*/ 36 w 42"/>
                <a:gd name="T5" fmla="*/ 22 h 41"/>
                <a:gd name="T6" fmla="*/ 32 w 42"/>
                <a:gd name="T7" fmla="*/ 29 h 41"/>
                <a:gd name="T8" fmla="*/ 22 w 42"/>
                <a:gd name="T9" fmla="*/ 32 h 41"/>
                <a:gd name="T10" fmla="*/ 18 w 42"/>
                <a:gd name="T11" fmla="*/ 39 h 41"/>
                <a:gd name="T12" fmla="*/ 12 w 42"/>
                <a:gd name="T13" fmla="*/ 41 h 41"/>
                <a:gd name="T14" fmla="*/ 0 w 42"/>
                <a:gd name="T15" fmla="*/ 25 h 41"/>
                <a:gd name="T16" fmla="*/ 10 w 42"/>
                <a:gd name="T17" fmla="*/ 12 h 41"/>
                <a:gd name="T18" fmla="*/ 20 w 42"/>
                <a:gd name="T19" fmla="*/ 4 h 41"/>
                <a:gd name="T20" fmla="*/ 29 w 42"/>
                <a:gd name="T21" fmla="*/ 0 h 41"/>
                <a:gd name="T22" fmla="*/ 36 w 42"/>
                <a:gd name="T23" fmla="*/ 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" h="41">
                  <a:moveTo>
                    <a:pt x="36" y="6"/>
                  </a:moveTo>
                  <a:lnTo>
                    <a:pt x="42" y="12"/>
                  </a:lnTo>
                  <a:lnTo>
                    <a:pt x="36" y="22"/>
                  </a:lnTo>
                  <a:lnTo>
                    <a:pt x="32" y="29"/>
                  </a:lnTo>
                  <a:lnTo>
                    <a:pt x="22" y="32"/>
                  </a:lnTo>
                  <a:lnTo>
                    <a:pt x="18" y="39"/>
                  </a:lnTo>
                  <a:lnTo>
                    <a:pt x="12" y="41"/>
                  </a:lnTo>
                  <a:lnTo>
                    <a:pt x="0" y="25"/>
                  </a:lnTo>
                  <a:lnTo>
                    <a:pt x="10" y="12"/>
                  </a:lnTo>
                  <a:lnTo>
                    <a:pt x="20" y="4"/>
                  </a:lnTo>
                  <a:lnTo>
                    <a:pt x="29" y="0"/>
                  </a:lnTo>
                  <a:lnTo>
                    <a:pt x="36" y="6"/>
                  </a:lnTo>
                  <a:close/>
                </a:path>
              </a:pathLst>
            </a:custGeom>
            <a:solidFill>
              <a:srgbClr val="00CFFF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57" name="Freeform 114">
              <a:extLst>
                <a:ext uri="{FF2B5EF4-FFF2-40B4-BE49-F238E27FC236}">
                  <a16:creationId xmlns:a16="http://schemas.microsoft.com/office/drawing/2014/main" id="{362C8715-9041-414F-AE1B-E1ACFC68D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8613" y="1363150"/>
              <a:ext cx="114616" cy="62518"/>
            </a:xfrm>
            <a:custGeom>
              <a:avLst/>
              <a:gdLst>
                <a:gd name="T0" fmla="*/ 31 w 88"/>
                <a:gd name="T1" fmla="*/ 40 h 48"/>
                <a:gd name="T2" fmla="*/ 29 w 88"/>
                <a:gd name="T3" fmla="*/ 35 h 48"/>
                <a:gd name="T4" fmla="*/ 30 w 88"/>
                <a:gd name="T5" fmla="*/ 30 h 48"/>
                <a:gd name="T6" fmla="*/ 22 w 88"/>
                <a:gd name="T7" fmla="*/ 27 h 48"/>
                <a:gd name="T8" fmla="*/ 6 w 88"/>
                <a:gd name="T9" fmla="*/ 23 h 48"/>
                <a:gd name="T10" fmla="*/ 0 w 88"/>
                <a:gd name="T11" fmla="*/ 7 h 48"/>
                <a:gd name="T12" fmla="*/ 17 w 88"/>
                <a:gd name="T13" fmla="*/ 0 h 48"/>
                <a:gd name="T14" fmla="*/ 42 w 88"/>
                <a:gd name="T15" fmla="*/ 2 h 48"/>
                <a:gd name="T16" fmla="*/ 57 w 88"/>
                <a:gd name="T17" fmla="*/ 0 h 48"/>
                <a:gd name="T18" fmla="*/ 60 w 88"/>
                <a:gd name="T19" fmla="*/ 4 h 48"/>
                <a:gd name="T20" fmla="*/ 68 w 88"/>
                <a:gd name="T21" fmla="*/ 5 h 48"/>
                <a:gd name="T22" fmla="*/ 85 w 88"/>
                <a:gd name="T23" fmla="*/ 15 h 48"/>
                <a:gd name="T24" fmla="*/ 88 w 88"/>
                <a:gd name="T25" fmla="*/ 24 h 48"/>
                <a:gd name="T26" fmla="*/ 76 w 88"/>
                <a:gd name="T27" fmla="*/ 30 h 48"/>
                <a:gd name="T28" fmla="*/ 74 w 88"/>
                <a:gd name="T29" fmla="*/ 41 h 48"/>
                <a:gd name="T30" fmla="*/ 58 w 88"/>
                <a:gd name="T31" fmla="*/ 48 h 48"/>
                <a:gd name="T32" fmla="*/ 44 w 88"/>
                <a:gd name="T33" fmla="*/ 48 h 48"/>
                <a:gd name="T34" fmla="*/ 39 w 88"/>
                <a:gd name="T35" fmla="*/ 42 h 48"/>
                <a:gd name="T36" fmla="*/ 31 w 88"/>
                <a:gd name="T37" fmla="*/ 4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8" h="48">
                  <a:moveTo>
                    <a:pt x="31" y="40"/>
                  </a:moveTo>
                  <a:lnTo>
                    <a:pt x="29" y="35"/>
                  </a:lnTo>
                  <a:lnTo>
                    <a:pt x="30" y="30"/>
                  </a:lnTo>
                  <a:lnTo>
                    <a:pt x="22" y="27"/>
                  </a:lnTo>
                  <a:lnTo>
                    <a:pt x="6" y="23"/>
                  </a:lnTo>
                  <a:lnTo>
                    <a:pt x="0" y="7"/>
                  </a:lnTo>
                  <a:lnTo>
                    <a:pt x="17" y="0"/>
                  </a:lnTo>
                  <a:lnTo>
                    <a:pt x="42" y="2"/>
                  </a:lnTo>
                  <a:lnTo>
                    <a:pt x="57" y="0"/>
                  </a:lnTo>
                  <a:lnTo>
                    <a:pt x="60" y="4"/>
                  </a:lnTo>
                  <a:lnTo>
                    <a:pt x="68" y="5"/>
                  </a:lnTo>
                  <a:lnTo>
                    <a:pt x="85" y="15"/>
                  </a:lnTo>
                  <a:lnTo>
                    <a:pt x="88" y="24"/>
                  </a:lnTo>
                  <a:lnTo>
                    <a:pt x="76" y="30"/>
                  </a:lnTo>
                  <a:lnTo>
                    <a:pt x="74" y="41"/>
                  </a:lnTo>
                  <a:lnTo>
                    <a:pt x="58" y="48"/>
                  </a:lnTo>
                  <a:lnTo>
                    <a:pt x="44" y="48"/>
                  </a:lnTo>
                  <a:lnTo>
                    <a:pt x="39" y="42"/>
                  </a:lnTo>
                  <a:lnTo>
                    <a:pt x="31" y="40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58" name="Freeform 115">
              <a:extLst>
                <a:ext uri="{FF2B5EF4-FFF2-40B4-BE49-F238E27FC236}">
                  <a16:creationId xmlns:a16="http://schemas.microsoft.com/office/drawing/2014/main" id="{E42D1296-EF8C-40CD-8EE3-0CBDA7166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9048" y="1524655"/>
              <a:ext cx="11723" cy="18234"/>
            </a:xfrm>
            <a:custGeom>
              <a:avLst/>
              <a:gdLst>
                <a:gd name="T0" fmla="*/ 6 w 9"/>
                <a:gd name="T1" fmla="*/ 0 h 14"/>
                <a:gd name="T2" fmla="*/ 9 w 9"/>
                <a:gd name="T3" fmla="*/ 5 h 14"/>
                <a:gd name="T4" fmla="*/ 8 w 9"/>
                <a:gd name="T5" fmla="*/ 14 h 14"/>
                <a:gd name="T6" fmla="*/ 4 w 9"/>
                <a:gd name="T7" fmla="*/ 14 h 14"/>
                <a:gd name="T8" fmla="*/ 0 w 9"/>
                <a:gd name="T9" fmla="*/ 13 h 14"/>
                <a:gd name="T10" fmla="*/ 2 w 9"/>
                <a:gd name="T11" fmla="*/ 1 h 14"/>
                <a:gd name="T12" fmla="*/ 6 w 9"/>
                <a:gd name="T1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4">
                  <a:moveTo>
                    <a:pt x="6" y="0"/>
                  </a:moveTo>
                  <a:lnTo>
                    <a:pt x="9" y="5"/>
                  </a:lnTo>
                  <a:lnTo>
                    <a:pt x="8" y="14"/>
                  </a:lnTo>
                  <a:lnTo>
                    <a:pt x="4" y="14"/>
                  </a:lnTo>
                  <a:lnTo>
                    <a:pt x="0" y="13"/>
                  </a:lnTo>
                  <a:lnTo>
                    <a:pt x="2" y="1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59" name="Freeform 116">
              <a:extLst>
                <a:ext uri="{FF2B5EF4-FFF2-40B4-BE49-F238E27FC236}">
                  <a16:creationId xmlns:a16="http://schemas.microsoft.com/office/drawing/2014/main" id="{98AD07B1-1CFA-4B1A-A3C9-1705C3C674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7311" y="1321471"/>
              <a:ext cx="141969" cy="61216"/>
            </a:xfrm>
            <a:custGeom>
              <a:avLst/>
              <a:gdLst>
                <a:gd name="T0" fmla="*/ 1 w 109"/>
                <a:gd name="T1" fmla="*/ 39 h 47"/>
                <a:gd name="T2" fmla="*/ 0 w 109"/>
                <a:gd name="T3" fmla="*/ 24 h 47"/>
                <a:gd name="T4" fmla="*/ 5 w 109"/>
                <a:gd name="T5" fmla="*/ 11 h 47"/>
                <a:gd name="T6" fmla="*/ 18 w 109"/>
                <a:gd name="T7" fmla="*/ 5 h 47"/>
                <a:gd name="T8" fmla="*/ 33 w 109"/>
                <a:gd name="T9" fmla="*/ 19 h 47"/>
                <a:gd name="T10" fmla="*/ 45 w 109"/>
                <a:gd name="T11" fmla="*/ 19 h 47"/>
                <a:gd name="T12" fmla="*/ 45 w 109"/>
                <a:gd name="T13" fmla="*/ 4 h 47"/>
                <a:gd name="T14" fmla="*/ 57 w 109"/>
                <a:gd name="T15" fmla="*/ 0 h 47"/>
                <a:gd name="T16" fmla="*/ 64 w 109"/>
                <a:gd name="T17" fmla="*/ 3 h 47"/>
                <a:gd name="T18" fmla="*/ 79 w 109"/>
                <a:gd name="T19" fmla="*/ 10 h 47"/>
                <a:gd name="T20" fmla="*/ 91 w 109"/>
                <a:gd name="T21" fmla="*/ 10 h 47"/>
                <a:gd name="T22" fmla="*/ 99 w 109"/>
                <a:gd name="T23" fmla="*/ 15 h 47"/>
                <a:gd name="T24" fmla="*/ 102 w 109"/>
                <a:gd name="T25" fmla="*/ 24 h 47"/>
                <a:gd name="T26" fmla="*/ 109 w 109"/>
                <a:gd name="T27" fmla="*/ 36 h 47"/>
                <a:gd name="T28" fmla="*/ 94 w 109"/>
                <a:gd name="T29" fmla="*/ 43 h 47"/>
                <a:gd name="T30" fmla="*/ 86 w 109"/>
                <a:gd name="T31" fmla="*/ 47 h 47"/>
                <a:gd name="T32" fmla="*/ 69 w 109"/>
                <a:gd name="T33" fmla="*/ 37 h 47"/>
                <a:gd name="T34" fmla="*/ 61 w 109"/>
                <a:gd name="T35" fmla="*/ 36 h 47"/>
                <a:gd name="T36" fmla="*/ 58 w 109"/>
                <a:gd name="T37" fmla="*/ 32 h 47"/>
                <a:gd name="T38" fmla="*/ 43 w 109"/>
                <a:gd name="T39" fmla="*/ 34 h 47"/>
                <a:gd name="T40" fmla="*/ 18 w 109"/>
                <a:gd name="T41" fmla="*/ 32 h 47"/>
                <a:gd name="T42" fmla="*/ 1 w 109"/>
                <a:gd name="T43" fmla="*/ 3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9" h="47">
                  <a:moveTo>
                    <a:pt x="1" y="39"/>
                  </a:moveTo>
                  <a:lnTo>
                    <a:pt x="0" y="24"/>
                  </a:lnTo>
                  <a:lnTo>
                    <a:pt x="5" y="11"/>
                  </a:lnTo>
                  <a:lnTo>
                    <a:pt x="18" y="5"/>
                  </a:lnTo>
                  <a:lnTo>
                    <a:pt x="33" y="19"/>
                  </a:lnTo>
                  <a:lnTo>
                    <a:pt x="45" y="19"/>
                  </a:lnTo>
                  <a:lnTo>
                    <a:pt x="45" y="4"/>
                  </a:lnTo>
                  <a:lnTo>
                    <a:pt x="57" y="0"/>
                  </a:lnTo>
                  <a:lnTo>
                    <a:pt x="64" y="3"/>
                  </a:lnTo>
                  <a:lnTo>
                    <a:pt x="79" y="10"/>
                  </a:lnTo>
                  <a:lnTo>
                    <a:pt x="91" y="10"/>
                  </a:lnTo>
                  <a:lnTo>
                    <a:pt x="99" y="15"/>
                  </a:lnTo>
                  <a:lnTo>
                    <a:pt x="102" y="24"/>
                  </a:lnTo>
                  <a:lnTo>
                    <a:pt x="109" y="36"/>
                  </a:lnTo>
                  <a:lnTo>
                    <a:pt x="94" y="43"/>
                  </a:lnTo>
                  <a:lnTo>
                    <a:pt x="86" y="47"/>
                  </a:lnTo>
                  <a:lnTo>
                    <a:pt x="69" y="37"/>
                  </a:lnTo>
                  <a:lnTo>
                    <a:pt x="61" y="36"/>
                  </a:lnTo>
                  <a:lnTo>
                    <a:pt x="58" y="32"/>
                  </a:lnTo>
                  <a:lnTo>
                    <a:pt x="43" y="34"/>
                  </a:lnTo>
                  <a:lnTo>
                    <a:pt x="18" y="32"/>
                  </a:lnTo>
                  <a:lnTo>
                    <a:pt x="1" y="39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60" name="Freeform 117">
              <a:extLst>
                <a:ext uri="{FF2B5EF4-FFF2-40B4-BE49-F238E27FC236}">
                  <a16:creationId xmlns:a16="http://schemas.microsoft.com/office/drawing/2014/main" id="{19DEE49A-E326-4F36-9D7A-649EF7B7CB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7104" y="1908877"/>
              <a:ext cx="278676" cy="218817"/>
            </a:xfrm>
            <a:custGeom>
              <a:avLst/>
              <a:gdLst>
                <a:gd name="T0" fmla="*/ 227 w 287"/>
                <a:gd name="T1" fmla="*/ 9 h 297"/>
                <a:gd name="T2" fmla="*/ 261 w 287"/>
                <a:gd name="T3" fmla="*/ 12 h 297"/>
                <a:gd name="T4" fmla="*/ 275 w 287"/>
                <a:gd name="T5" fmla="*/ 25 h 297"/>
                <a:gd name="T6" fmla="*/ 282 w 287"/>
                <a:gd name="T7" fmla="*/ 60 h 297"/>
                <a:gd name="T8" fmla="*/ 284 w 287"/>
                <a:gd name="T9" fmla="*/ 72 h 297"/>
                <a:gd name="T10" fmla="*/ 253 w 287"/>
                <a:gd name="T11" fmla="*/ 84 h 297"/>
                <a:gd name="T12" fmla="*/ 242 w 287"/>
                <a:gd name="T13" fmla="*/ 101 h 297"/>
                <a:gd name="T14" fmla="*/ 214 w 287"/>
                <a:gd name="T15" fmla="*/ 119 h 297"/>
                <a:gd name="T16" fmla="*/ 182 w 287"/>
                <a:gd name="T17" fmla="*/ 128 h 297"/>
                <a:gd name="T18" fmla="*/ 153 w 287"/>
                <a:gd name="T19" fmla="*/ 168 h 297"/>
                <a:gd name="T20" fmla="*/ 150 w 287"/>
                <a:gd name="T21" fmla="*/ 168 h 297"/>
                <a:gd name="T22" fmla="*/ 139 w 287"/>
                <a:gd name="T23" fmla="*/ 180 h 297"/>
                <a:gd name="T24" fmla="*/ 125 w 287"/>
                <a:gd name="T25" fmla="*/ 184 h 297"/>
                <a:gd name="T26" fmla="*/ 104 w 287"/>
                <a:gd name="T27" fmla="*/ 184 h 297"/>
                <a:gd name="T28" fmla="*/ 92 w 287"/>
                <a:gd name="T29" fmla="*/ 202 h 297"/>
                <a:gd name="T30" fmla="*/ 58 w 287"/>
                <a:gd name="T31" fmla="*/ 250 h 297"/>
                <a:gd name="T32" fmla="*/ 43 w 287"/>
                <a:gd name="T33" fmla="*/ 288 h 297"/>
                <a:gd name="T34" fmla="*/ 0 w 287"/>
                <a:gd name="T35" fmla="*/ 297 h 297"/>
                <a:gd name="T36" fmla="*/ 1 w 287"/>
                <a:gd name="T37" fmla="*/ 288 h 297"/>
                <a:gd name="T38" fmla="*/ 14 w 287"/>
                <a:gd name="T39" fmla="*/ 271 h 297"/>
                <a:gd name="T40" fmla="*/ 20 w 287"/>
                <a:gd name="T41" fmla="*/ 249 h 297"/>
                <a:gd name="T42" fmla="*/ 37 w 287"/>
                <a:gd name="T43" fmla="*/ 233 h 297"/>
                <a:gd name="T44" fmla="*/ 42 w 287"/>
                <a:gd name="T45" fmla="*/ 210 h 297"/>
                <a:gd name="T46" fmla="*/ 61 w 287"/>
                <a:gd name="T47" fmla="*/ 189 h 297"/>
                <a:gd name="T48" fmla="*/ 74 w 287"/>
                <a:gd name="T49" fmla="*/ 168 h 297"/>
                <a:gd name="T50" fmla="*/ 99 w 287"/>
                <a:gd name="T51" fmla="*/ 158 h 297"/>
                <a:gd name="T52" fmla="*/ 123 w 287"/>
                <a:gd name="T53" fmla="*/ 138 h 297"/>
                <a:gd name="T54" fmla="*/ 134 w 287"/>
                <a:gd name="T55" fmla="*/ 95 h 297"/>
                <a:gd name="T56" fmla="*/ 144 w 287"/>
                <a:gd name="T57" fmla="*/ 66 h 297"/>
                <a:gd name="T58" fmla="*/ 173 w 287"/>
                <a:gd name="T59" fmla="*/ 43 h 297"/>
                <a:gd name="T60" fmla="*/ 198 w 287"/>
                <a:gd name="T61" fmla="*/ 13 h 297"/>
                <a:gd name="T62" fmla="*/ 217 w 287"/>
                <a:gd name="T63" fmla="*/ 0 h 297"/>
                <a:gd name="connsiteX0" fmla="*/ 7561 w 10000"/>
                <a:gd name="connsiteY0" fmla="*/ 0 h 10000"/>
                <a:gd name="connsiteX1" fmla="*/ 7909 w 10000"/>
                <a:gd name="connsiteY1" fmla="*/ 303 h 10000"/>
                <a:gd name="connsiteX2" fmla="*/ 8502 w 10000"/>
                <a:gd name="connsiteY2" fmla="*/ 236 h 10000"/>
                <a:gd name="connsiteX3" fmla="*/ 9094 w 10000"/>
                <a:gd name="connsiteY3" fmla="*/ 404 h 10000"/>
                <a:gd name="connsiteX4" fmla="*/ 9373 w 10000"/>
                <a:gd name="connsiteY4" fmla="*/ 404 h 10000"/>
                <a:gd name="connsiteX5" fmla="*/ 9582 w 10000"/>
                <a:gd name="connsiteY5" fmla="*/ 842 h 10000"/>
                <a:gd name="connsiteX6" fmla="*/ 9617 w 10000"/>
                <a:gd name="connsiteY6" fmla="*/ 1279 h 10000"/>
                <a:gd name="connsiteX7" fmla="*/ 9826 w 10000"/>
                <a:gd name="connsiteY7" fmla="*/ 2020 h 10000"/>
                <a:gd name="connsiteX8" fmla="*/ 10000 w 10000"/>
                <a:gd name="connsiteY8" fmla="*/ 2155 h 10000"/>
                <a:gd name="connsiteX9" fmla="*/ 9895 w 10000"/>
                <a:gd name="connsiteY9" fmla="*/ 2424 h 10000"/>
                <a:gd name="connsiteX10" fmla="*/ 9094 w 10000"/>
                <a:gd name="connsiteY10" fmla="*/ 2559 h 10000"/>
                <a:gd name="connsiteX11" fmla="*/ 8815 w 10000"/>
                <a:gd name="connsiteY11" fmla="*/ 2828 h 10000"/>
                <a:gd name="connsiteX12" fmla="*/ 8432 w 10000"/>
                <a:gd name="connsiteY12" fmla="*/ 2862 h 10000"/>
                <a:gd name="connsiteX13" fmla="*/ 8432 w 10000"/>
                <a:gd name="connsiteY13" fmla="*/ 3401 h 10000"/>
                <a:gd name="connsiteX14" fmla="*/ 7700 w 10000"/>
                <a:gd name="connsiteY14" fmla="*/ 3670 h 10000"/>
                <a:gd name="connsiteX15" fmla="*/ 7456 w 10000"/>
                <a:gd name="connsiteY15" fmla="*/ 4007 h 10000"/>
                <a:gd name="connsiteX16" fmla="*/ 6969 w 10000"/>
                <a:gd name="connsiteY16" fmla="*/ 4209 h 10000"/>
                <a:gd name="connsiteX17" fmla="*/ 6341 w 10000"/>
                <a:gd name="connsiteY17" fmla="*/ 4310 h 10000"/>
                <a:gd name="connsiteX18" fmla="*/ 5331 w 10000"/>
                <a:gd name="connsiteY18" fmla="*/ 4815 h 10000"/>
                <a:gd name="connsiteX19" fmla="*/ 5331 w 10000"/>
                <a:gd name="connsiteY19" fmla="*/ 5657 h 10000"/>
                <a:gd name="connsiteX20" fmla="*/ 5226 w 10000"/>
                <a:gd name="connsiteY20" fmla="*/ 5657 h 10000"/>
                <a:gd name="connsiteX21" fmla="*/ 5226 w 10000"/>
                <a:gd name="connsiteY21" fmla="*/ 5657 h 10000"/>
                <a:gd name="connsiteX22" fmla="*/ 5226 w 10000"/>
                <a:gd name="connsiteY22" fmla="*/ 6027 h 10000"/>
                <a:gd name="connsiteX23" fmla="*/ 4843 w 10000"/>
                <a:gd name="connsiteY23" fmla="*/ 6061 h 10000"/>
                <a:gd name="connsiteX24" fmla="*/ 4634 w 10000"/>
                <a:gd name="connsiteY24" fmla="*/ 6195 h 10000"/>
                <a:gd name="connsiteX25" fmla="*/ 4355 w 10000"/>
                <a:gd name="connsiteY25" fmla="*/ 6195 h 10000"/>
                <a:gd name="connsiteX26" fmla="*/ 4146 w 10000"/>
                <a:gd name="connsiteY26" fmla="*/ 6128 h 10000"/>
                <a:gd name="connsiteX27" fmla="*/ 3624 w 10000"/>
                <a:gd name="connsiteY27" fmla="*/ 6195 h 10000"/>
                <a:gd name="connsiteX28" fmla="*/ 3415 w 10000"/>
                <a:gd name="connsiteY28" fmla="*/ 6734 h 10000"/>
                <a:gd name="connsiteX29" fmla="*/ 3206 w 10000"/>
                <a:gd name="connsiteY29" fmla="*/ 6801 h 10000"/>
                <a:gd name="connsiteX30" fmla="*/ 2892 w 10000"/>
                <a:gd name="connsiteY30" fmla="*/ 7677 h 10000"/>
                <a:gd name="connsiteX31" fmla="*/ 2021 w 10000"/>
                <a:gd name="connsiteY31" fmla="*/ 8418 h 10000"/>
                <a:gd name="connsiteX32" fmla="*/ 1777 w 10000"/>
                <a:gd name="connsiteY32" fmla="*/ 9394 h 10000"/>
                <a:gd name="connsiteX33" fmla="*/ 1498 w 10000"/>
                <a:gd name="connsiteY33" fmla="*/ 9697 h 10000"/>
                <a:gd name="connsiteX34" fmla="*/ 1429 w 10000"/>
                <a:gd name="connsiteY34" fmla="*/ 9966 h 10000"/>
                <a:gd name="connsiteX35" fmla="*/ 0 w 10000"/>
                <a:gd name="connsiteY35" fmla="*/ 10000 h 10000"/>
                <a:gd name="connsiteX36" fmla="*/ 35 w 10000"/>
                <a:gd name="connsiteY36" fmla="*/ 9697 h 10000"/>
                <a:gd name="connsiteX37" fmla="*/ 279 w 10000"/>
                <a:gd name="connsiteY37" fmla="*/ 9495 h 10000"/>
                <a:gd name="connsiteX38" fmla="*/ 488 w 10000"/>
                <a:gd name="connsiteY38" fmla="*/ 9125 h 10000"/>
                <a:gd name="connsiteX39" fmla="*/ 453 w 10000"/>
                <a:gd name="connsiteY39" fmla="*/ 8889 h 10000"/>
                <a:gd name="connsiteX40" fmla="*/ 697 w 10000"/>
                <a:gd name="connsiteY40" fmla="*/ 8384 h 10000"/>
                <a:gd name="connsiteX41" fmla="*/ 1045 w 10000"/>
                <a:gd name="connsiteY41" fmla="*/ 7946 h 10000"/>
                <a:gd name="connsiteX42" fmla="*/ 1289 w 10000"/>
                <a:gd name="connsiteY42" fmla="*/ 7845 h 10000"/>
                <a:gd name="connsiteX43" fmla="*/ 1463 w 10000"/>
                <a:gd name="connsiteY43" fmla="*/ 7441 h 10000"/>
                <a:gd name="connsiteX44" fmla="*/ 1463 w 10000"/>
                <a:gd name="connsiteY44" fmla="*/ 7071 h 10000"/>
                <a:gd name="connsiteX45" fmla="*/ 1707 w 10000"/>
                <a:gd name="connsiteY45" fmla="*/ 6633 h 10000"/>
                <a:gd name="connsiteX46" fmla="*/ 2125 w 10000"/>
                <a:gd name="connsiteY46" fmla="*/ 6364 h 10000"/>
                <a:gd name="connsiteX47" fmla="*/ 2544 w 10000"/>
                <a:gd name="connsiteY47" fmla="*/ 5657 h 10000"/>
                <a:gd name="connsiteX48" fmla="*/ 2578 w 10000"/>
                <a:gd name="connsiteY48" fmla="*/ 5657 h 10000"/>
                <a:gd name="connsiteX49" fmla="*/ 2892 w 10000"/>
                <a:gd name="connsiteY49" fmla="*/ 5387 h 10000"/>
                <a:gd name="connsiteX50" fmla="*/ 3449 w 10000"/>
                <a:gd name="connsiteY50" fmla="*/ 5320 h 10000"/>
                <a:gd name="connsiteX51" fmla="*/ 3972 w 10000"/>
                <a:gd name="connsiteY51" fmla="*/ 4848 h 10000"/>
                <a:gd name="connsiteX52" fmla="*/ 4286 w 10000"/>
                <a:gd name="connsiteY52" fmla="*/ 4646 h 10000"/>
                <a:gd name="connsiteX53" fmla="*/ 4808 w 10000"/>
                <a:gd name="connsiteY53" fmla="*/ 4074 h 10000"/>
                <a:gd name="connsiteX54" fmla="*/ 4669 w 10000"/>
                <a:gd name="connsiteY54" fmla="*/ 3199 h 10000"/>
                <a:gd name="connsiteX55" fmla="*/ 4913 w 10000"/>
                <a:gd name="connsiteY55" fmla="*/ 2593 h 10000"/>
                <a:gd name="connsiteX56" fmla="*/ 5017 w 10000"/>
                <a:gd name="connsiteY56" fmla="*/ 2222 h 10000"/>
                <a:gd name="connsiteX57" fmla="*/ 5436 w 10000"/>
                <a:gd name="connsiteY57" fmla="*/ 1751 h 10000"/>
                <a:gd name="connsiteX58" fmla="*/ 6028 w 10000"/>
                <a:gd name="connsiteY58" fmla="*/ 1448 h 10000"/>
                <a:gd name="connsiteX59" fmla="*/ 6481 w 10000"/>
                <a:gd name="connsiteY59" fmla="*/ 1145 h 10000"/>
                <a:gd name="connsiteX60" fmla="*/ 6899 w 10000"/>
                <a:gd name="connsiteY60" fmla="*/ 438 h 10000"/>
                <a:gd name="connsiteX61" fmla="*/ 7108 w 10000"/>
                <a:gd name="connsiteY61" fmla="*/ 0 h 10000"/>
                <a:gd name="connsiteX62" fmla="*/ 7561 w 10000"/>
                <a:gd name="connsiteY62" fmla="*/ 0 h 10000"/>
                <a:gd name="connsiteX0" fmla="*/ 7561 w 10000"/>
                <a:gd name="connsiteY0" fmla="*/ 0 h 10000"/>
                <a:gd name="connsiteX1" fmla="*/ 7909 w 10000"/>
                <a:gd name="connsiteY1" fmla="*/ 303 h 10000"/>
                <a:gd name="connsiteX2" fmla="*/ 8502 w 10000"/>
                <a:gd name="connsiteY2" fmla="*/ 236 h 10000"/>
                <a:gd name="connsiteX3" fmla="*/ 9094 w 10000"/>
                <a:gd name="connsiteY3" fmla="*/ 404 h 10000"/>
                <a:gd name="connsiteX4" fmla="*/ 9373 w 10000"/>
                <a:gd name="connsiteY4" fmla="*/ 404 h 10000"/>
                <a:gd name="connsiteX5" fmla="*/ 9582 w 10000"/>
                <a:gd name="connsiteY5" fmla="*/ 842 h 10000"/>
                <a:gd name="connsiteX6" fmla="*/ 9617 w 10000"/>
                <a:gd name="connsiteY6" fmla="*/ 1279 h 10000"/>
                <a:gd name="connsiteX7" fmla="*/ 9826 w 10000"/>
                <a:gd name="connsiteY7" fmla="*/ 2020 h 10000"/>
                <a:gd name="connsiteX8" fmla="*/ 10000 w 10000"/>
                <a:gd name="connsiteY8" fmla="*/ 2155 h 10000"/>
                <a:gd name="connsiteX9" fmla="*/ 9895 w 10000"/>
                <a:gd name="connsiteY9" fmla="*/ 2424 h 10000"/>
                <a:gd name="connsiteX10" fmla="*/ 9094 w 10000"/>
                <a:gd name="connsiteY10" fmla="*/ 2559 h 10000"/>
                <a:gd name="connsiteX11" fmla="*/ 8815 w 10000"/>
                <a:gd name="connsiteY11" fmla="*/ 2828 h 10000"/>
                <a:gd name="connsiteX12" fmla="*/ 8432 w 10000"/>
                <a:gd name="connsiteY12" fmla="*/ 2862 h 10000"/>
                <a:gd name="connsiteX13" fmla="*/ 8432 w 10000"/>
                <a:gd name="connsiteY13" fmla="*/ 3401 h 10000"/>
                <a:gd name="connsiteX14" fmla="*/ 7700 w 10000"/>
                <a:gd name="connsiteY14" fmla="*/ 3670 h 10000"/>
                <a:gd name="connsiteX15" fmla="*/ 7456 w 10000"/>
                <a:gd name="connsiteY15" fmla="*/ 4007 h 10000"/>
                <a:gd name="connsiteX16" fmla="*/ 6969 w 10000"/>
                <a:gd name="connsiteY16" fmla="*/ 4209 h 10000"/>
                <a:gd name="connsiteX17" fmla="*/ 6341 w 10000"/>
                <a:gd name="connsiteY17" fmla="*/ 4310 h 10000"/>
                <a:gd name="connsiteX18" fmla="*/ 5331 w 10000"/>
                <a:gd name="connsiteY18" fmla="*/ 4815 h 10000"/>
                <a:gd name="connsiteX19" fmla="*/ 5331 w 10000"/>
                <a:gd name="connsiteY19" fmla="*/ 5657 h 10000"/>
                <a:gd name="connsiteX20" fmla="*/ 5226 w 10000"/>
                <a:gd name="connsiteY20" fmla="*/ 5657 h 10000"/>
                <a:gd name="connsiteX21" fmla="*/ 5226 w 10000"/>
                <a:gd name="connsiteY21" fmla="*/ 5657 h 10000"/>
                <a:gd name="connsiteX22" fmla="*/ 5226 w 10000"/>
                <a:gd name="connsiteY22" fmla="*/ 6027 h 10000"/>
                <a:gd name="connsiteX23" fmla="*/ 4843 w 10000"/>
                <a:gd name="connsiteY23" fmla="*/ 6061 h 10000"/>
                <a:gd name="connsiteX24" fmla="*/ 4634 w 10000"/>
                <a:gd name="connsiteY24" fmla="*/ 6195 h 10000"/>
                <a:gd name="connsiteX25" fmla="*/ 4355 w 10000"/>
                <a:gd name="connsiteY25" fmla="*/ 6195 h 10000"/>
                <a:gd name="connsiteX26" fmla="*/ 4146 w 10000"/>
                <a:gd name="connsiteY26" fmla="*/ 6128 h 10000"/>
                <a:gd name="connsiteX27" fmla="*/ 3624 w 10000"/>
                <a:gd name="connsiteY27" fmla="*/ 6195 h 10000"/>
                <a:gd name="connsiteX28" fmla="*/ 3415 w 10000"/>
                <a:gd name="connsiteY28" fmla="*/ 6734 h 10000"/>
                <a:gd name="connsiteX29" fmla="*/ 3206 w 10000"/>
                <a:gd name="connsiteY29" fmla="*/ 6801 h 10000"/>
                <a:gd name="connsiteX30" fmla="*/ 2892 w 10000"/>
                <a:gd name="connsiteY30" fmla="*/ 7677 h 10000"/>
                <a:gd name="connsiteX31" fmla="*/ 2021 w 10000"/>
                <a:gd name="connsiteY31" fmla="*/ 8418 h 10000"/>
                <a:gd name="connsiteX32" fmla="*/ 1777 w 10000"/>
                <a:gd name="connsiteY32" fmla="*/ 9394 h 10000"/>
                <a:gd name="connsiteX33" fmla="*/ 1498 w 10000"/>
                <a:gd name="connsiteY33" fmla="*/ 9697 h 10000"/>
                <a:gd name="connsiteX34" fmla="*/ 0 w 10000"/>
                <a:gd name="connsiteY34" fmla="*/ 10000 h 10000"/>
                <a:gd name="connsiteX35" fmla="*/ 35 w 10000"/>
                <a:gd name="connsiteY35" fmla="*/ 9697 h 10000"/>
                <a:gd name="connsiteX36" fmla="*/ 279 w 10000"/>
                <a:gd name="connsiteY36" fmla="*/ 9495 h 10000"/>
                <a:gd name="connsiteX37" fmla="*/ 488 w 10000"/>
                <a:gd name="connsiteY37" fmla="*/ 9125 h 10000"/>
                <a:gd name="connsiteX38" fmla="*/ 453 w 10000"/>
                <a:gd name="connsiteY38" fmla="*/ 8889 h 10000"/>
                <a:gd name="connsiteX39" fmla="*/ 697 w 10000"/>
                <a:gd name="connsiteY39" fmla="*/ 8384 h 10000"/>
                <a:gd name="connsiteX40" fmla="*/ 1045 w 10000"/>
                <a:gd name="connsiteY40" fmla="*/ 7946 h 10000"/>
                <a:gd name="connsiteX41" fmla="*/ 1289 w 10000"/>
                <a:gd name="connsiteY41" fmla="*/ 7845 h 10000"/>
                <a:gd name="connsiteX42" fmla="*/ 1463 w 10000"/>
                <a:gd name="connsiteY42" fmla="*/ 7441 h 10000"/>
                <a:gd name="connsiteX43" fmla="*/ 1463 w 10000"/>
                <a:gd name="connsiteY43" fmla="*/ 7071 h 10000"/>
                <a:gd name="connsiteX44" fmla="*/ 1707 w 10000"/>
                <a:gd name="connsiteY44" fmla="*/ 6633 h 10000"/>
                <a:gd name="connsiteX45" fmla="*/ 2125 w 10000"/>
                <a:gd name="connsiteY45" fmla="*/ 6364 h 10000"/>
                <a:gd name="connsiteX46" fmla="*/ 2544 w 10000"/>
                <a:gd name="connsiteY46" fmla="*/ 5657 h 10000"/>
                <a:gd name="connsiteX47" fmla="*/ 2578 w 10000"/>
                <a:gd name="connsiteY47" fmla="*/ 5657 h 10000"/>
                <a:gd name="connsiteX48" fmla="*/ 2892 w 10000"/>
                <a:gd name="connsiteY48" fmla="*/ 5387 h 10000"/>
                <a:gd name="connsiteX49" fmla="*/ 3449 w 10000"/>
                <a:gd name="connsiteY49" fmla="*/ 5320 h 10000"/>
                <a:gd name="connsiteX50" fmla="*/ 3972 w 10000"/>
                <a:gd name="connsiteY50" fmla="*/ 4848 h 10000"/>
                <a:gd name="connsiteX51" fmla="*/ 4286 w 10000"/>
                <a:gd name="connsiteY51" fmla="*/ 4646 h 10000"/>
                <a:gd name="connsiteX52" fmla="*/ 4808 w 10000"/>
                <a:gd name="connsiteY52" fmla="*/ 4074 h 10000"/>
                <a:gd name="connsiteX53" fmla="*/ 4669 w 10000"/>
                <a:gd name="connsiteY53" fmla="*/ 3199 h 10000"/>
                <a:gd name="connsiteX54" fmla="*/ 4913 w 10000"/>
                <a:gd name="connsiteY54" fmla="*/ 2593 h 10000"/>
                <a:gd name="connsiteX55" fmla="*/ 5017 w 10000"/>
                <a:gd name="connsiteY55" fmla="*/ 2222 h 10000"/>
                <a:gd name="connsiteX56" fmla="*/ 5436 w 10000"/>
                <a:gd name="connsiteY56" fmla="*/ 1751 h 10000"/>
                <a:gd name="connsiteX57" fmla="*/ 6028 w 10000"/>
                <a:gd name="connsiteY57" fmla="*/ 1448 h 10000"/>
                <a:gd name="connsiteX58" fmla="*/ 6481 w 10000"/>
                <a:gd name="connsiteY58" fmla="*/ 1145 h 10000"/>
                <a:gd name="connsiteX59" fmla="*/ 6899 w 10000"/>
                <a:gd name="connsiteY59" fmla="*/ 438 h 10000"/>
                <a:gd name="connsiteX60" fmla="*/ 7108 w 10000"/>
                <a:gd name="connsiteY60" fmla="*/ 0 h 10000"/>
                <a:gd name="connsiteX61" fmla="*/ 7561 w 10000"/>
                <a:gd name="connsiteY61" fmla="*/ 0 h 10000"/>
                <a:gd name="connsiteX0" fmla="*/ 7561 w 10000"/>
                <a:gd name="connsiteY0" fmla="*/ 0 h 10000"/>
                <a:gd name="connsiteX1" fmla="*/ 7909 w 10000"/>
                <a:gd name="connsiteY1" fmla="*/ 303 h 10000"/>
                <a:gd name="connsiteX2" fmla="*/ 8502 w 10000"/>
                <a:gd name="connsiteY2" fmla="*/ 236 h 10000"/>
                <a:gd name="connsiteX3" fmla="*/ 9094 w 10000"/>
                <a:gd name="connsiteY3" fmla="*/ 404 h 10000"/>
                <a:gd name="connsiteX4" fmla="*/ 9373 w 10000"/>
                <a:gd name="connsiteY4" fmla="*/ 404 h 10000"/>
                <a:gd name="connsiteX5" fmla="*/ 9582 w 10000"/>
                <a:gd name="connsiteY5" fmla="*/ 842 h 10000"/>
                <a:gd name="connsiteX6" fmla="*/ 9617 w 10000"/>
                <a:gd name="connsiteY6" fmla="*/ 1279 h 10000"/>
                <a:gd name="connsiteX7" fmla="*/ 9826 w 10000"/>
                <a:gd name="connsiteY7" fmla="*/ 2020 h 10000"/>
                <a:gd name="connsiteX8" fmla="*/ 10000 w 10000"/>
                <a:gd name="connsiteY8" fmla="*/ 2155 h 10000"/>
                <a:gd name="connsiteX9" fmla="*/ 9895 w 10000"/>
                <a:gd name="connsiteY9" fmla="*/ 2424 h 10000"/>
                <a:gd name="connsiteX10" fmla="*/ 9094 w 10000"/>
                <a:gd name="connsiteY10" fmla="*/ 2559 h 10000"/>
                <a:gd name="connsiteX11" fmla="*/ 8815 w 10000"/>
                <a:gd name="connsiteY11" fmla="*/ 2828 h 10000"/>
                <a:gd name="connsiteX12" fmla="*/ 8432 w 10000"/>
                <a:gd name="connsiteY12" fmla="*/ 2862 h 10000"/>
                <a:gd name="connsiteX13" fmla="*/ 8432 w 10000"/>
                <a:gd name="connsiteY13" fmla="*/ 3401 h 10000"/>
                <a:gd name="connsiteX14" fmla="*/ 7700 w 10000"/>
                <a:gd name="connsiteY14" fmla="*/ 3670 h 10000"/>
                <a:gd name="connsiteX15" fmla="*/ 7456 w 10000"/>
                <a:gd name="connsiteY15" fmla="*/ 4007 h 10000"/>
                <a:gd name="connsiteX16" fmla="*/ 6969 w 10000"/>
                <a:gd name="connsiteY16" fmla="*/ 4209 h 10000"/>
                <a:gd name="connsiteX17" fmla="*/ 6341 w 10000"/>
                <a:gd name="connsiteY17" fmla="*/ 4310 h 10000"/>
                <a:gd name="connsiteX18" fmla="*/ 5331 w 10000"/>
                <a:gd name="connsiteY18" fmla="*/ 4815 h 10000"/>
                <a:gd name="connsiteX19" fmla="*/ 5331 w 10000"/>
                <a:gd name="connsiteY19" fmla="*/ 5657 h 10000"/>
                <a:gd name="connsiteX20" fmla="*/ 5226 w 10000"/>
                <a:gd name="connsiteY20" fmla="*/ 5657 h 10000"/>
                <a:gd name="connsiteX21" fmla="*/ 5226 w 10000"/>
                <a:gd name="connsiteY21" fmla="*/ 5657 h 10000"/>
                <a:gd name="connsiteX22" fmla="*/ 5226 w 10000"/>
                <a:gd name="connsiteY22" fmla="*/ 6027 h 10000"/>
                <a:gd name="connsiteX23" fmla="*/ 4843 w 10000"/>
                <a:gd name="connsiteY23" fmla="*/ 6061 h 10000"/>
                <a:gd name="connsiteX24" fmla="*/ 4634 w 10000"/>
                <a:gd name="connsiteY24" fmla="*/ 6195 h 10000"/>
                <a:gd name="connsiteX25" fmla="*/ 4355 w 10000"/>
                <a:gd name="connsiteY25" fmla="*/ 6195 h 10000"/>
                <a:gd name="connsiteX26" fmla="*/ 4146 w 10000"/>
                <a:gd name="connsiteY26" fmla="*/ 6128 h 10000"/>
                <a:gd name="connsiteX27" fmla="*/ 3624 w 10000"/>
                <a:gd name="connsiteY27" fmla="*/ 6195 h 10000"/>
                <a:gd name="connsiteX28" fmla="*/ 3415 w 10000"/>
                <a:gd name="connsiteY28" fmla="*/ 6734 h 10000"/>
                <a:gd name="connsiteX29" fmla="*/ 3206 w 10000"/>
                <a:gd name="connsiteY29" fmla="*/ 6801 h 10000"/>
                <a:gd name="connsiteX30" fmla="*/ 2892 w 10000"/>
                <a:gd name="connsiteY30" fmla="*/ 7677 h 10000"/>
                <a:gd name="connsiteX31" fmla="*/ 2021 w 10000"/>
                <a:gd name="connsiteY31" fmla="*/ 8418 h 10000"/>
                <a:gd name="connsiteX32" fmla="*/ 1777 w 10000"/>
                <a:gd name="connsiteY32" fmla="*/ 9394 h 10000"/>
                <a:gd name="connsiteX33" fmla="*/ 0 w 10000"/>
                <a:gd name="connsiteY33" fmla="*/ 10000 h 10000"/>
                <a:gd name="connsiteX34" fmla="*/ 35 w 10000"/>
                <a:gd name="connsiteY34" fmla="*/ 9697 h 10000"/>
                <a:gd name="connsiteX35" fmla="*/ 279 w 10000"/>
                <a:gd name="connsiteY35" fmla="*/ 9495 h 10000"/>
                <a:gd name="connsiteX36" fmla="*/ 488 w 10000"/>
                <a:gd name="connsiteY36" fmla="*/ 9125 h 10000"/>
                <a:gd name="connsiteX37" fmla="*/ 453 w 10000"/>
                <a:gd name="connsiteY37" fmla="*/ 8889 h 10000"/>
                <a:gd name="connsiteX38" fmla="*/ 697 w 10000"/>
                <a:gd name="connsiteY38" fmla="*/ 8384 h 10000"/>
                <a:gd name="connsiteX39" fmla="*/ 1045 w 10000"/>
                <a:gd name="connsiteY39" fmla="*/ 7946 h 10000"/>
                <a:gd name="connsiteX40" fmla="*/ 1289 w 10000"/>
                <a:gd name="connsiteY40" fmla="*/ 7845 h 10000"/>
                <a:gd name="connsiteX41" fmla="*/ 1463 w 10000"/>
                <a:gd name="connsiteY41" fmla="*/ 7441 h 10000"/>
                <a:gd name="connsiteX42" fmla="*/ 1463 w 10000"/>
                <a:gd name="connsiteY42" fmla="*/ 7071 h 10000"/>
                <a:gd name="connsiteX43" fmla="*/ 1707 w 10000"/>
                <a:gd name="connsiteY43" fmla="*/ 6633 h 10000"/>
                <a:gd name="connsiteX44" fmla="*/ 2125 w 10000"/>
                <a:gd name="connsiteY44" fmla="*/ 6364 h 10000"/>
                <a:gd name="connsiteX45" fmla="*/ 2544 w 10000"/>
                <a:gd name="connsiteY45" fmla="*/ 5657 h 10000"/>
                <a:gd name="connsiteX46" fmla="*/ 2578 w 10000"/>
                <a:gd name="connsiteY46" fmla="*/ 5657 h 10000"/>
                <a:gd name="connsiteX47" fmla="*/ 2892 w 10000"/>
                <a:gd name="connsiteY47" fmla="*/ 5387 h 10000"/>
                <a:gd name="connsiteX48" fmla="*/ 3449 w 10000"/>
                <a:gd name="connsiteY48" fmla="*/ 5320 h 10000"/>
                <a:gd name="connsiteX49" fmla="*/ 3972 w 10000"/>
                <a:gd name="connsiteY49" fmla="*/ 4848 h 10000"/>
                <a:gd name="connsiteX50" fmla="*/ 4286 w 10000"/>
                <a:gd name="connsiteY50" fmla="*/ 4646 h 10000"/>
                <a:gd name="connsiteX51" fmla="*/ 4808 w 10000"/>
                <a:gd name="connsiteY51" fmla="*/ 4074 h 10000"/>
                <a:gd name="connsiteX52" fmla="*/ 4669 w 10000"/>
                <a:gd name="connsiteY52" fmla="*/ 3199 h 10000"/>
                <a:gd name="connsiteX53" fmla="*/ 4913 w 10000"/>
                <a:gd name="connsiteY53" fmla="*/ 2593 h 10000"/>
                <a:gd name="connsiteX54" fmla="*/ 5017 w 10000"/>
                <a:gd name="connsiteY54" fmla="*/ 2222 h 10000"/>
                <a:gd name="connsiteX55" fmla="*/ 5436 w 10000"/>
                <a:gd name="connsiteY55" fmla="*/ 1751 h 10000"/>
                <a:gd name="connsiteX56" fmla="*/ 6028 w 10000"/>
                <a:gd name="connsiteY56" fmla="*/ 1448 h 10000"/>
                <a:gd name="connsiteX57" fmla="*/ 6481 w 10000"/>
                <a:gd name="connsiteY57" fmla="*/ 1145 h 10000"/>
                <a:gd name="connsiteX58" fmla="*/ 6899 w 10000"/>
                <a:gd name="connsiteY58" fmla="*/ 438 h 10000"/>
                <a:gd name="connsiteX59" fmla="*/ 7108 w 10000"/>
                <a:gd name="connsiteY59" fmla="*/ 0 h 10000"/>
                <a:gd name="connsiteX60" fmla="*/ 7561 w 10000"/>
                <a:gd name="connsiteY60" fmla="*/ 0 h 10000"/>
                <a:gd name="connsiteX0" fmla="*/ 7526 w 9965"/>
                <a:gd name="connsiteY0" fmla="*/ 0 h 9697"/>
                <a:gd name="connsiteX1" fmla="*/ 7874 w 9965"/>
                <a:gd name="connsiteY1" fmla="*/ 303 h 9697"/>
                <a:gd name="connsiteX2" fmla="*/ 8467 w 9965"/>
                <a:gd name="connsiteY2" fmla="*/ 236 h 9697"/>
                <a:gd name="connsiteX3" fmla="*/ 9059 w 9965"/>
                <a:gd name="connsiteY3" fmla="*/ 404 h 9697"/>
                <a:gd name="connsiteX4" fmla="*/ 9338 w 9965"/>
                <a:gd name="connsiteY4" fmla="*/ 404 h 9697"/>
                <a:gd name="connsiteX5" fmla="*/ 9547 w 9965"/>
                <a:gd name="connsiteY5" fmla="*/ 842 h 9697"/>
                <a:gd name="connsiteX6" fmla="*/ 9582 w 9965"/>
                <a:gd name="connsiteY6" fmla="*/ 1279 h 9697"/>
                <a:gd name="connsiteX7" fmla="*/ 9791 w 9965"/>
                <a:gd name="connsiteY7" fmla="*/ 2020 h 9697"/>
                <a:gd name="connsiteX8" fmla="*/ 9965 w 9965"/>
                <a:gd name="connsiteY8" fmla="*/ 2155 h 9697"/>
                <a:gd name="connsiteX9" fmla="*/ 9860 w 9965"/>
                <a:gd name="connsiteY9" fmla="*/ 2424 h 9697"/>
                <a:gd name="connsiteX10" fmla="*/ 9059 w 9965"/>
                <a:gd name="connsiteY10" fmla="*/ 2559 h 9697"/>
                <a:gd name="connsiteX11" fmla="*/ 8780 w 9965"/>
                <a:gd name="connsiteY11" fmla="*/ 2828 h 9697"/>
                <a:gd name="connsiteX12" fmla="*/ 8397 w 9965"/>
                <a:gd name="connsiteY12" fmla="*/ 2862 h 9697"/>
                <a:gd name="connsiteX13" fmla="*/ 8397 w 9965"/>
                <a:gd name="connsiteY13" fmla="*/ 3401 h 9697"/>
                <a:gd name="connsiteX14" fmla="*/ 7665 w 9965"/>
                <a:gd name="connsiteY14" fmla="*/ 3670 h 9697"/>
                <a:gd name="connsiteX15" fmla="*/ 7421 w 9965"/>
                <a:gd name="connsiteY15" fmla="*/ 4007 h 9697"/>
                <a:gd name="connsiteX16" fmla="*/ 6934 w 9965"/>
                <a:gd name="connsiteY16" fmla="*/ 4209 h 9697"/>
                <a:gd name="connsiteX17" fmla="*/ 6306 w 9965"/>
                <a:gd name="connsiteY17" fmla="*/ 4310 h 9697"/>
                <a:gd name="connsiteX18" fmla="*/ 5296 w 9965"/>
                <a:gd name="connsiteY18" fmla="*/ 4815 h 9697"/>
                <a:gd name="connsiteX19" fmla="*/ 5296 w 9965"/>
                <a:gd name="connsiteY19" fmla="*/ 5657 h 9697"/>
                <a:gd name="connsiteX20" fmla="*/ 5191 w 9965"/>
                <a:gd name="connsiteY20" fmla="*/ 5657 h 9697"/>
                <a:gd name="connsiteX21" fmla="*/ 5191 w 9965"/>
                <a:gd name="connsiteY21" fmla="*/ 5657 h 9697"/>
                <a:gd name="connsiteX22" fmla="*/ 5191 w 9965"/>
                <a:gd name="connsiteY22" fmla="*/ 6027 h 9697"/>
                <a:gd name="connsiteX23" fmla="*/ 4808 w 9965"/>
                <a:gd name="connsiteY23" fmla="*/ 6061 h 9697"/>
                <a:gd name="connsiteX24" fmla="*/ 4599 w 9965"/>
                <a:gd name="connsiteY24" fmla="*/ 6195 h 9697"/>
                <a:gd name="connsiteX25" fmla="*/ 4320 w 9965"/>
                <a:gd name="connsiteY25" fmla="*/ 6195 h 9697"/>
                <a:gd name="connsiteX26" fmla="*/ 4111 w 9965"/>
                <a:gd name="connsiteY26" fmla="*/ 6128 h 9697"/>
                <a:gd name="connsiteX27" fmla="*/ 3589 w 9965"/>
                <a:gd name="connsiteY27" fmla="*/ 6195 h 9697"/>
                <a:gd name="connsiteX28" fmla="*/ 3380 w 9965"/>
                <a:gd name="connsiteY28" fmla="*/ 6734 h 9697"/>
                <a:gd name="connsiteX29" fmla="*/ 3171 w 9965"/>
                <a:gd name="connsiteY29" fmla="*/ 6801 h 9697"/>
                <a:gd name="connsiteX30" fmla="*/ 2857 w 9965"/>
                <a:gd name="connsiteY30" fmla="*/ 7677 h 9697"/>
                <a:gd name="connsiteX31" fmla="*/ 1986 w 9965"/>
                <a:gd name="connsiteY31" fmla="*/ 8418 h 9697"/>
                <a:gd name="connsiteX32" fmla="*/ 1742 w 9965"/>
                <a:gd name="connsiteY32" fmla="*/ 9394 h 9697"/>
                <a:gd name="connsiteX33" fmla="*/ 0 w 9965"/>
                <a:gd name="connsiteY33" fmla="*/ 9697 h 9697"/>
                <a:gd name="connsiteX34" fmla="*/ 244 w 9965"/>
                <a:gd name="connsiteY34" fmla="*/ 9495 h 9697"/>
                <a:gd name="connsiteX35" fmla="*/ 453 w 9965"/>
                <a:gd name="connsiteY35" fmla="*/ 9125 h 9697"/>
                <a:gd name="connsiteX36" fmla="*/ 418 w 9965"/>
                <a:gd name="connsiteY36" fmla="*/ 8889 h 9697"/>
                <a:gd name="connsiteX37" fmla="*/ 662 w 9965"/>
                <a:gd name="connsiteY37" fmla="*/ 8384 h 9697"/>
                <a:gd name="connsiteX38" fmla="*/ 1010 w 9965"/>
                <a:gd name="connsiteY38" fmla="*/ 7946 h 9697"/>
                <a:gd name="connsiteX39" fmla="*/ 1254 w 9965"/>
                <a:gd name="connsiteY39" fmla="*/ 7845 h 9697"/>
                <a:gd name="connsiteX40" fmla="*/ 1428 w 9965"/>
                <a:gd name="connsiteY40" fmla="*/ 7441 h 9697"/>
                <a:gd name="connsiteX41" fmla="*/ 1428 w 9965"/>
                <a:gd name="connsiteY41" fmla="*/ 7071 h 9697"/>
                <a:gd name="connsiteX42" fmla="*/ 1672 w 9965"/>
                <a:gd name="connsiteY42" fmla="*/ 6633 h 9697"/>
                <a:gd name="connsiteX43" fmla="*/ 2090 w 9965"/>
                <a:gd name="connsiteY43" fmla="*/ 6364 h 9697"/>
                <a:gd name="connsiteX44" fmla="*/ 2509 w 9965"/>
                <a:gd name="connsiteY44" fmla="*/ 5657 h 9697"/>
                <a:gd name="connsiteX45" fmla="*/ 2543 w 9965"/>
                <a:gd name="connsiteY45" fmla="*/ 5657 h 9697"/>
                <a:gd name="connsiteX46" fmla="*/ 2857 w 9965"/>
                <a:gd name="connsiteY46" fmla="*/ 5387 h 9697"/>
                <a:gd name="connsiteX47" fmla="*/ 3414 w 9965"/>
                <a:gd name="connsiteY47" fmla="*/ 5320 h 9697"/>
                <a:gd name="connsiteX48" fmla="*/ 3937 w 9965"/>
                <a:gd name="connsiteY48" fmla="*/ 4848 h 9697"/>
                <a:gd name="connsiteX49" fmla="*/ 4251 w 9965"/>
                <a:gd name="connsiteY49" fmla="*/ 4646 h 9697"/>
                <a:gd name="connsiteX50" fmla="*/ 4773 w 9965"/>
                <a:gd name="connsiteY50" fmla="*/ 4074 h 9697"/>
                <a:gd name="connsiteX51" fmla="*/ 4634 w 9965"/>
                <a:gd name="connsiteY51" fmla="*/ 3199 h 9697"/>
                <a:gd name="connsiteX52" fmla="*/ 4878 w 9965"/>
                <a:gd name="connsiteY52" fmla="*/ 2593 h 9697"/>
                <a:gd name="connsiteX53" fmla="*/ 4982 w 9965"/>
                <a:gd name="connsiteY53" fmla="*/ 2222 h 9697"/>
                <a:gd name="connsiteX54" fmla="*/ 5401 w 9965"/>
                <a:gd name="connsiteY54" fmla="*/ 1751 h 9697"/>
                <a:gd name="connsiteX55" fmla="*/ 5993 w 9965"/>
                <a:gd name="connsiteY55" fmla="*/ 1448 h 9697"/>
                <a:gd name="connsiteX56" fmla="*/ 6446 w 9965"/>
                <a:gd name="connsiteY56" fmla="*/ 1145 h 9697"/>
                <a:gd name="connsiteX57" fmla="*/ 6864 w 9965"/>
                <a:gd name="connsiteY57" fmla="*/ 438 h 9697"/>
                <a:gd name="connsiteX58" fmla="*/ 7073 w 9965"/>
                <a:gd name="connsiteY58" fmla="*/ 0 h 9697"/>
                <a:gd name="connsiteX59" fmla="*/ 7526 w 9965"/>
                <a:gd name="connsiteY59" fmla="*/ 0 h 9697"/>
                <a:gd name="connsiteX0" fmla="*/ 7552 w 10000"/>
                <a:gd name="connsiteY0" fmla="*/ 0 h 10000"/>
                <a:gd name="connsiteX1" fmla="*/ 7902 w 10000"/>
                <a:gd name="connsiteY1" fmla="*/ 312 h 10000"/>
                <a:gd name="connsiteX2" fmla="*/ 8497 w 10000"/>
                <a:gd name="connsiteY2" fmla="*/ 243 h 10000"/>
                <a:gd name="connsiteX3" fmla="*/ 9091 w 10000"/>
                <a:gd name="connsiteY3" fmla="*/ 417 h 10000"/>
                <a:gd name="connsiteX4" fmla="*/ 9371 w 10000"/>
                <a:gd name="connsiteY4" fmla="*/ 417 h 10000"/>
                <a:gd name="connsiteX5" fmla="*/ 9581 w 10000"/>
                <a:gd name="connsiteY5" fmla="*/ 868 h 10000"/>
                <a:gd name="connsiteX6" fmla="*/ 9616 w 10000"/>
                <a:gd name="connsiteY6" fmla="*/ 1319 h 10000"/>
                <a:gd name="connsiteX7" fmla="*/ 9825 w 10000"/>
                <a:gd name="connsiteY7" fmla="*/ 2083 h 10000"/>
                <a:gd name="connsiteX8" fmla="*/ 10000 w 10000"/>
                <a:gd name="connsiteY8" fmla="*/ 2222 h 10000"/>
                <a:gd name="connsiteX9" fmla="*/ 9895 w 10000"/>
                <a:gd name="connsiteY9" fmla="*/ 2500 h 10000"/>
                <a:gd name="connsiteX10" fmla="*/ 9091 w 10000"/>
                <a:gd name="connsiteY10" fmla="*/ 2639 h 10000"/>
                <a:gd name="connsiteX11" fmla="*/ 8811 w 10000"/>
                <a:gd name="connsiteY11" fmla="*/ 2916 h 10000"/>
                <a:gd name="connsiteX12" fmla="*/ 8426 w 10000"/>
                <a:gd name="connsiteY12" fmla="*/ 2951 h 10000"/>
                <a:gd name="connsiteX13" fmla="*/ 8426 w 10000"/>
                <a:gd name="connsiteY13" fmla="*/ 3507 h 10000"/>
                <a:gd name="connsiteX14" fmla="*/ 7692 w 10000"/>
                <a:gd name="connsiteY14" fmla="*/ 3785 h 10000"/>
                <a:gd name="connsiteX15" fmla="*/ 7447 w 10000"/>
                <a:gd name="connsiteY15" fmla="*/ 4132 h 10000"/>
                <a:gd name="connsiteX16" fmla="*/ 6958 w 10000"/>
                <a:gd name="connsiteY16" fmla="*/ 4341 h 10000"/>
                <a:gd name="connsiteX17" fmla="*/ 6328 w 10000"/>
                <a:gd name="connsiteY17" fmla="*/ 4445 h 10000"/>
                <a:gd name="connsiteX18" fmla="*/ 5315 w 10000"/>
                <a:gd name="connsiteY18" fmla="*/ 4965 h 10000"/>
                <a:gd name="connsiteX19" fmla="*/ 5315 w 10000"/>
                <a:gd name="connsiteY19" fmla="*/ 5834 h 10000"/>
                <a:gd name="connsiteX20" fmla="*/ 5209 w 10000"/>
                <a:gd name="connsiteY20" fmla="*/ 5834 h 10000"/>
                <a:gd name="connsiteX21" fmla="*/ 5209 w 10000"/>
                <a:gd name="connsiteY21" fmla="*/ 5834 h 10000"/>
                <a:gd name="connsiteX22" fmla="*/ 5209 w 10000"/>
                <a:gd name="connsiteY22" fmla="*/ 6215 h 10000"/>
                <a:gd name="connsiteX23" fmla="*/ 4825 w 10000"/>
                <a:gd name="connsiteY23" fmla="*/ 6250 h 10000"/>
                <a:gd name="connsiteX24" fmla="*/ 4615 w 10000"/>
                <a:gd name="connsiteY24" fmla="*/ 6389 h 10000"/>
                <a:gd name="connsiteX25" fmla="*/ 4335 w 10000"/>
                <a:gd name="connsiteY25" fmla="*/ 6389 h 10000"/>
                <a:gd name="connsiteX26" fmla="*/ 4125 w 10000"/>
                <a:gd name="connsiteY26" fmla="*/ 6319 h 10000"/>
                <a:gd name="connsiteX27" fmla="*/ 3602 w 10000"/>
                <a:gd name="connsiteY27" fmla="*/ 6389 h 10000"/>
                <a:gd name="connsiteX28" fmla="*/ 3392 w 10000"/>
                <a:gd name="connsiteY28" fmla="*/ 6944 h 10000"/>
                <a:gd name="connsiteX29" fmla="*/ 3182 w 10000"/>
                <a:gd name="connsiteY29" fmla="*/ 7014 h 10000"/>
                <a:gd name="connsiteX30" fmla="*/ 2867 w 10000"/>
                <a:gd name="connsiteY30" fmla="*/ 7917 h 10000"/>
                <a:gd name="connsiteX31" fmla="*/ 1993 w 10000"/>
                <a:gd name="connsiteY31" fmla="*/ 8681 h 10000"/>
                <a:gd name="connsiteX32" fmla="*/ 1748 w 10000"/>
                <a:gd name="connsiteY32" fmla="*/ 9688 h 10000"/>
                <a:gd name="connsiteX33" fmla="*/ 0 w 10000"/>
                <a:gd name="connsiteY33" fmla="*/ 10000 h 10000"/>
                <a:gd name="connsiteX34" fmla="*/ 455 w 10000"/>
                <a:gd name="connsiteY34" fmla="*/ 9410 h 10000"/>
                <a:gd name="connsiteX35" fmla="*/ 419 w 10000"/>
                <a:gd name="connsiteY35" fmla="*/ 9167 h 10000"/>
                <a:gd name="connsiteX36" fmla="*/ 664 w 10000"/>
                <a:gd name="connsiteY36" fmla="*/ 8646 h 10000"/>
                <a:gd name="connsiteX37" fmla="*/ 1014 w 10000"/>
                <a:gd name="connsiteY37" fmla="*/ 8194 h 10000"/>
                <a:gd name="connsiteX38" fmla="*/ 1258 w 10000"/>
                <a:gd name="connsiteY38" fmla="*/ 8090 h 10000"/>
                <a:gd name="connsiteX39" fmla="*/ 1433 w 10000"/>
                <a:gd name="connsiteY39" fmla="*/ 7674 h 10000"/>
                <a:gd name="connsiteX40" fmla="*/ 1433 w 10000"/>
                <a:gd name="connsiteY40" fmla="*/ 7292 h 10000"/>
                <a:gd name="connsiteX41" fmla="*/ 1678 w 10000"/>
                <a:gd name="connsiteY41" fmla="*/ 6840 h 10000"/>
                <a:gd name="connsiteX42" fmla="*/ 2097 w 10000"/>
                <a:gd name="connsiteY42" fmla="*/ 6563 h 10000"/>
                <a:gd name="connsiteX43" fmla="*/ 2518 w 10000"/>
                <a:gd name="connsiteY43" fmla="*/ 5834 h 10000"/>
                <a:gd name="connsiteX44" fmla="*/ 2552 w 10000"/>
                <a:gd name="connsiteY44" fmla="*/ 5834 h 10000"/>
                <a:gd name="connsiteX45" fmla="*/ 2867 w 10000"/>
                <a:gd name="connsiteY45" fmla="*/ 5555 h 10000"/>
                <a:gd name="connsiteX46" fmla="*/ 3426 w 10000"/>
                <a:gd name="connsiteY46" fmla="*/ 5486 h 10000"/>
                <a:gd name="connsiteX47" fmla="*/ 3951 w 10000"/>
                <a:gd name="connsiteY47" fmla="*/ 4999 h 10000"/>
                <a:gd name="connsiteX48" fmla="*/ 4266 w 10000"/>
                <a:gd name="connsiteY48" fmla="*/ 4791 h 10000"/>
                <a:gd name="connsiteX49" fmla="*/ 4790 w 10000"/>
                <a:gd name="connsiteY49" fmla="*/ 4201 h 10000"/>
                <a:gd name="connsiteX50" fmla="*/ 4650 w 10000"/>
                <a:gd name="connsiteY50" fmla="*/ 3299 h 10000"/>
                <a:gd name="connsiteX51" fmla="*/ 4895 w 10000"/>
                <a:gd name="connsiteY51" fmla="*/ 2674 h 10000"/>
                <a:gd name="connsiteX52" fmla="*/ 4999 w 10000"/>
                <a:gd name="connsiteY52" fmla="*/ 2291 h 10000"/>
                <a:gd name="connsiteX53" fmla="*/ 5420 w 10000"/>
                <a:gd name="connsiteY53" fmla="*/ 1806 h 10000"/>
                <a:gd name="connsiteX54" fmla="*/ 6014 w 10000"/>
                <a:gd name="connsiteY54" fmla="*/ 1493 h 10000"/>
                <a:gd name="connsiteX55" fmla="*/ 6469 w 10000"/>
                <a:gd name="connsiteY55" fmla="*/ 1181 h 10000"/>
                <a:gd name="connsiteX56" fmla="*/ 6888 w 10000"/>
                <a:gd name="connsiteY56" fmla="*/ 452 h 10000"/>
                <a:gd name="connsiteX57" fmla="*/ 7098 w 10000"/>
                <a:gd name="connsiteY57" fmla="*/ 0 h 10000"/>
                <a:gd name="connsiteX58" fmla="*/ 7552 w 10000"/>
                <a:gd name="connsiteY58" fmla="*/ 0 h 10000"/>
                <a:gd name="connsiteX0" fmla="*/ 7133 w 9581"/>
                <a:gd name="connsiteY0" fmla="*/ 0 h 9688"/>
                <a:gd name="connsiteX1" fmla="*/ 7483 w 9581"/>
                <a:gd name="connsiteY1" fmla="*/ 312 h 9688"/>
                <a:gd name="connsiteX2" fmla="*/ 8078 w 9581"/>
                <a:gd name="connsiteY2" fmla="*/ 243 h 9688"/>
                <a:gd name="connsiteX3" fmla="*/ 8672 w 9581"/>
                <a:gd name="connsiteY3" fmla="*/ 417 h 9688"/>
                <a:gd name="connsiteX4" fmla="*/ 8952 w 9581"/>
                <a:gd name="connsiteY4" fmla="*/ 417 h 9688"/>
                <a:gd name="connsiteX5" fmla="*/ 9162 w 9581"/>
                <a:gd name="connsiteY5" fmla="*/ 868 h 9688"/>
                <a:gd name="connsiteX6" fmla="*/ 9197 w 9581"/>
                <a:gd name="connsiteY6" fmla="*/ 1319 h 9688"/>
                <a:gd name="connsiteX7" fmla="*/ 9406 w 9581"/>
                <a:gd name="connsiteY7" fmla="*/ 2083 h 9688"/>
                <a:gd name="connsiteX8" fmla="*/ 9581 w 9581"/>
                <a:gd name="connsiteY8" fmla="*/ 2222 h 9688"/>
                <a:gd name="connsiteX9" fmla="*/ 9476 w 9581"/>
                <a:gd name="connsiteY9" fmla="*/ 2500 h 9688"/>
                <a:gd name="connsiteX10" fmla="*/ 8672 w 9581"/>
                <a:gd name="connsiteY10" fmla="*/ 2639 h 9688"/>
                <a:gd name="connsiteX11" fmla="*/ 8392 w 9581"/>
                <a:gd name="connsiteY11" fmla="*/ 2916 h 9688"/>
                <a:gd name="connsiteX12" fmla="*/ 8007 w 9581"/>
                <a:gd name="connsiteY12" fmla="*/ 2951 h 9688"/>
                <a:gd name="connsiteX13" fmla="*/ 8007 w 9581"/>
                <a:gd name="connsiteY13" fmla="*/ 3507 h 9688"/>
                <a:gd name="connsiteX14" fmla="*/ 7273 w 9581"/>
                <a:gd name="connsiteY14" fmla="*/ 3785 h 9688"/>
                <a:gd name="connsiteX15" fmla="*/ 7028 w 9581"/>
                <a:gd name="connsiteY15" fmla="*/ 4132 h 9688"/>
                <a:gd name="connsiteX16" fmla="*/ 6539 w 9581"/>
                <a:gd name="connsiteY16" fmla="*/ 4341 h 9688"/>
                <a:gd name="connsiteX17" fmla="*/ 5909 w 9581"/>
                <a:gd name="connsiteY17" fmla="*/ 4445 h 9688"/>
                <a:gd name="connsiteX18" fmla="*/ 4896 w 9581"/>
                <a:gd name="connsiteY18" fmla="*/ 4965 h 9688"/>
                <a:gd name="connsiteX19" fmla="*/ 4896 w 9581"/>
                <a:gd name="connsiteY19" fmla="*/ 5834 h 9688"/>
                <a:gd name="connsiteX20" fmla="*/ 4790 w 9581"/>
                <a:gd name="connsiteY20" fmla="*/ 5834 h 9688"/>
                <a:gd name="connsiteX21" fmla="*/ 4790 w 9581"/>
                <a:gd name="connsiteY21" fmla="*/ 5834 h 9688"/>
                <a:gd name="connsiteX22" fmla="*/ 4790 w 9581"/>
                <a:gd name="connsiteY22" fmla="*/ 6215 h 9688"/>
                <a:gd name="connsiteX23" fmla="*/ 4406 w 9581"/>
                <a:gd name="connsiteY23" fmla="*/ 6250 h 9688"/>
                <a:gd name="connsiteX24" fmla="*/ 4196 w 9581"/>
                <a:gd name="connsiteY24" fmla="*/ 6389 h 9688"/>
                <a:gd name="connsiteX25" fmla="*/ 3916 w 9581"/>
                <a:gd name="connsiteY25" fmla="*/ 6389 h 9688"/>
                <a:gd name="connsiteX26" fmla="*/ 3706 w 9581"/>
                <a:gd name="connsiteY26" fmla="*/ 6319 h 9688"/>
                <a:gd name="connsiteX27" fmla="*/ 3183 w 9581"/>
                <a:gd name="connsiteY27" fmla="*/ 6389 h 9688"/>
                <a:gd name="connsiteX28" fmla="*/ 2973 w 9581"/>
                <a:gd name="connsiteY28" fmla="*/ 6944 h 9688"/>
                <a:gd name="connsiteX29" fmla="*/ 2763 w 9581"/>
                <a:gd name="connsiteY29" fmla="*/ 7014 h 9688"/>
                <a:gd name="connsiteX30" fmla="*/ 2448 w 9581"/>
                <a:gd name="connsiteY30" fmla="*/ 7917 h 9688"/>
                <a:gd name="connsiteX31" fmla="*/ 1574 w 9581"/>
                <a:gd name="connsiteY31" fmla="*/ 8681 h 9688"/>
                <a:gd name="connsiteX32" fmla="*/ 1329 w 9581"/>
                <a:gd name="connsiteY32" fmla="*/ 9688 h 9688"/>
                <a:gd name="connsiteX33" fmla="*/ 36 w 9581"/>
                <a:gd name="connsiteY33" fmla="*/ 9410 h 9688"/>
                <a:gd name="connsiteX34" fmla="*/ 0 w 9581"/>
                <a:gd name="connsiteY34" fmla="*/ 9167 h 9688"/>
                <a:gd name="connsiteX35" fmla="*/ 245 w 9581"/>
                <a:gd name="connsiteY35" fmla="*/ 8646 h 9688"/>
                <a:gd name="connsiteX36" fmla="*/ 595 w 9581"/>
                <a:gd name="connsiteY36" fmla="*/ 8194 h 9688"/>
                <a:gd name="connsiteX37" fmla="*/ 839 w 9581"/>
                <a:gd name="connsiteY37" fmla="*/ 8090 h 9688"/>
                <a:gd name="connsiteX38" fmla="*/ 1014 w 9581"/>
                <a:gd name="connsiteY38" fmla="*/ 7674 h 9688"/>
                <a:gd name="connsiteX39" fmla="*/ 1014 w 9581"/>
                <a:gd name="connsiteY39" fmla="*/ 7292 h 9688"/>
                <a:gd name="connsiteX40" fmla="*/ 1259 w 9581"/>
                <a:gd name="connsiteY40" fmla="*/ 6840 h 9688"/>
                <a:gd name="connsiteX41" fmla="*/ 1678 w 9581"/>
                <a:gd name="connsiteY41" fmla="*/ 6563 h 9688"/>
                <a:gd name="connsiteX42" fmla="*/ 2099 w 9581"/>
                <a:gd name="connsiteY42" fmla="*/ 5834 h 9688"/>
                <a:gd name="connsiteX43" fmla="*/ 2133 w 9581"/>
                <a:gd name="connsiteY43" fmla="*/ 5834 h 9688"/>
                <a:gd name="connsiteX44" fmla="*/ 2448 w 9581"/>
                <a:gd name="connsiteY44" fmla="*/ 5555 h 9688"/>
                <a:gd name="connsiteX45" fmla="*/ 3007 w 9581"/>
                <a:gd name="connsiteY45" fmla="*/ 5486 h 9688"/>
                <a:gd name="connsiteX46" fmla="*/ 3532 w 9581"/>
                <a:gd name="connsiteY46" fmla="*/ 4999 h 9688"/>
                <a:gd name="connsiteX47" fmla="*/ 3847 w 9581"/>
                <a:gd name="connsiteY47" fmla="*/ 4791 h 9688"/>
                <a:gd name="connsiteX48" fmla="*/ 4371 w 9581"/>
                <a:gd name="connsiteY48" fmla="*/ 4201 h 9688"/>
                <a:gd name="connsiteX49" fmla="*/ 4231 w 9581"/>
                <a:gd name="connsiteY49" fmla="*/ 3299 h 9688"/>
                <a:gd name="connsiteX50" fmla="*/ 4476 w 9581"/>
                <a:gd name="connsiteY50" fmla="*/ 2674 h 9688"/>
                <a:gd name="connsiteX51" fmla="*/ 4580 w 9581"/>
                <a:gd name="connsiteY51" fmla="*/ 2291 h 9688"/>
                <a:gd name="connsiteX52" fmla="*/ 5001 w 9581"/>
                <a:gd name="connsiteY52" fmla="*/ 1806 h 9688"/>
                <a:gd name="connsiteX53" fmla="*/ 5595 w 9581"/>
                <a:gd name="connsiteY53" fmla="*/ 1493 h 9688"/>
                <a:gd name="connsiteX54" fmla="*/ 6050 w 9581"/>
                <a:gd name="connsiteY54" fmla="*/ 1181 h 9688"/>
                <a:gd name="connsiteX55" fmla="*/ 6469 w 9581"/>
                <a:gd name="connsiteY55" fmla="*/ 452 h 9688"/>
                <a:gd name="connsiteX56" fmla="*/ 6679 w 9581"/>
                <a:gd name="connsiteY56" fmla="*/ 0 h 9688"/>
                <a:gd name="connsiteX57" fmla="*/ 7133 w 9581"/>
                <a:gd name="connsiteY57" fmla="*/ 0 h 9688"/>
                <a:gd name="connsiteX0" fmla="*/ 7445 w 10000"/>
                <a:gd name="connsiteY0" fmla="*/ 0 h 10000"/>
                <a:gd name="connsiteX1" fmla="*/ 7810 w 10000"/>
                <a:gd name="connsiteY1" fmla="*/ 322 h 10000"/>
                <a:gd name="connsiteX2" fmla="*/ 8431 w 10000"/>
                <a:gd name="connsiteY2" fmla="*/ 251 h 10000"/>
                <a:gd name="connsiteX3" fmla="*/ 9051 w 10000"/>
                <a:gd name="connsiteY3" fmla="*/ 430 h 10000"/>
                <a:gd name="connsiteX4" fmla="*/ 9343 w 10000"/>
                <a:gd name="connsiteY4" fmla="*/ 430 h 10000"/>
                <a:gd name="connsiteX5" fmla="*/ 9563 w 10000"/>
                <a:gd name="connsiteY5" fmla="*/ 896 h 10000"/>
                <a:gd name="connsiteX6" fmla="*/ 9599 w 10000"/>
                <a:gd name="connsiteY6" fmla="*/ 1361 h 10000"/>
                <a:gd name="connsiteX7" fmla="*/ 9817 w 10000"/>
                <a:gd name="connsiteY7" fmla="*/ 2150 h 10000"/>
                <a:gd name="connsiteX8" fmla="*/ 10000 w 10000"/>
                <a:gd name="connsiteY8" fmla="*/ 2294 h 10000"/>
                <a:gd name="connsiteX9" fmla="*/ 9890 w 10000"/>
                <a:gd name="connsiteY9" fmla="*/ 2581 h 10000"/>
                <a:gd name="connsiteX10" fmla="*/ 9051 w 10000"/>
                <a:gd name="connsiteY10" fmla="*/ 2724 h 10000"/>
                <a:gd name="connsiteX11" fmla="*/ 8759 w 10000"/>
                <a:gd name="connsiteY11" fmla="*/ 3010 h 10000"/>
                <a:gd name="connsiteX12" fmla="*/ 8357 w 10000"/>
                <a:gd name="connsiteY12" fmla="*/ 3046 h 10000"/>
                <a:gd name="connsiteX13" fmla="*/ 8357 w 10000"/>
                <a:gd name="connsiteY13" fmla="*/ 3620 h 10000"/>
                <a:gd name="connsiteX14" fmla="*/ 7591 w 10000"/>
                <a:gd name="connsiteY14" fmla="*/ 3907 h 10000"/>
                <a:gd name="connsiteX15" fmla="*/ 7335 w 10000"/>
                <a:gd name="connsiteY15" fmla="*/ 4265 h 10000"/>
                <a:gd name="connsiteX16" fmla="*/ 6825 w 10000"/>
                <a:gd name="connsiteY16" fmla="*/ 4481 h 10000"/>
                <a:gd name="connsiteX17" fmla="*/ 6167 w 10000"/>
                <a:gd name="connsiteY17" fmla="*/ 4588 h 10000"/>
                <a:gd name="connsiteX18" fmla="*/ 5110 w 10000"/>
                <a:gd name="connsiteY18" fmla="*/ 5125 h 10000"/>
                <a:gd name="connsiteX19" fmla="*/ 5110 w 10000"/>
                <a:gd name="connsiteY19" fmla="*/ 6022 h 10000"/>
                <a:gd name="connsiteX20" fmla="*/ 4999 w 10000"/>
                <a:gd name="connsiteY20" fmla="*/ 6022 h 10000"/>
                <a:gd name="connsiteX21" fmla="*/ 4999 w 10000"/>
                <a:gd name="connsiteY21" fmla="*/ 6022 h 10000"/>
                <a:gd name="connsiteX22" fmla="*/ 4999 w 10000"/>
                <a:gd name="connsiteY22" fmla="*/ 6415 h 10000"/>
                <a:gd name="connsiteX23" fmla="*/ 4599 w 10000"/>
                <a:gd name="connsiteY23" fmla="*/ 6451 h 10000"/>
                <a:gd name="connsiteX24" fmla="*/ 4380 w 10000"/>
                <a:gd name="connsiteY24" fmla="*/ 6595 h 10000"/>
                <a:gd name="connsiteX25" fmla="*/ 4087 w 10000"/>
                <a:gd name="connsiteY25" fmla="*/ 6595 h 10000"/>
                <a:gd name="connsiteX26" fmla="*/ 3868 w 10000"/>
                <a:gd name="connsiteY26" fmla="*/ 6523 h 10000"/>
                <a:gd name="connsiteX27" fmla="*/ 3322 w 10000"/>
                <a:gd name="connsiteY27" fmla="*/ 6595 h 10000"/>
                <a:gd name="connsiteX28" fmla="*/ 3103 w 10000"/>
                <a:gd name="connsiteY28" fmla="*/ 7168 h 10000"/>
                <a:gd name="connsiteX29" fmla="*/ 2884 w 10000"/>
                <a:gd name="connsiteY29" fmla="*/ 7240 h 10000"/>
                <a:gd name="connsiteX30" fmla="*/ 2555 w 10000"/>
                <a:gd name="connsiteY30" fmla="*/ 8172 h 10000"/>
                <a:gd name="connsiteX31" fmla="*/ 1643 w 10000"/>
                <a:gd name="connsiteY31" fmla="*/ 8961 h 10000"/>
                <a:gd name="connsiteX32" fmla="*/ 1387 w 10000"/>
                <a:gd name="connsiteY32" fmla="*/ 10000 h 10000"/>
                <a:gd name="connsiteX33" fmla="*/ 0 w 10000"/>
                <a:gd name="connsiteY33" fmla="*/ 9462 h 10000"/>
                <a:gd name="connsiteX34" fmla="*/ 256 w 10000"/>
                <a:gd name="connsiteY34" fmla="*/ 8924 h 10000"/>
                <a:gd name="connsiteX35" fmla="*/ 621 w 10000"/>
                <a:gd name="connsiteY35" fmla="*/ 8458 h 10000"/>
                <a:gd name="connsiteX36" fmla="*/ 876 w 10000"/>
                <a:gd name="connsiteY36" fmla="*/ 8351 h 10000"/>
                <a:gd name="connsiteX37" fmla="*/ 1058 w 10000"/>
                <a:gd name="connsiteY37" fmla="*/ 7921 h 10000"/>
                <a:gd name="connsiteX38" fmla="*/ 1058 w 10000"/>
                <a:gd name="connsiteY38" fmla="*/ 7527 h 10000"/>
                <a:gd name="connsiteX39" fmla="*/ 1314 w 10000"/>
                <a:gd name="connsiteY39" fmla="*/ 7060 h 10000"/>
                <a:gd name="connsiteX40" fmla="*/ 1751 w 10000"/>
                <a:gd name="connsiteY40" fmla="*/ 6774 h 10000"/>
                <a:gd name="connsiteX41" fmla="*/ 2191 w 10000"/>
                <a:gd name="connsiteY41" fmla="*/ 6022 h 10000"/>
                <a:gd name="connsiteX42" fmla="*/ 2226 w 10000"/>
                <a:gd name="connsiteY42" fmla="*/ 6022 h 10000"/>
                <a:gd name="connsiteX43" fmla="*/ 2555 w 10000"/>
                <a:gd name="connsiteY43" fmla="*/ 5734 h 10000"/>
                <a:gd name="connsiteX44" fmla="*/ 3139 w 10000"/>
                <a:gd name="connsiteY44" fmla="*/ 5663 h 10000"/>
                <a:gd name="connsiteX45" fmla="*/ 3686 w 10000"/>
                <a:gd name="connsiteY45" fmla="*/ 5160 h 10000"/>
                <a:gd name="connsiteX46" fmla="*/ 4015 w 10000"/>
                <a:gd name="connsiteY46" fmla="*/ 4945 h 10000"/>
                <a:gd name="connsiteX47" fmla="*/ 4562 w 10000"/>
                <a:gd name="connsiteY47" fmla="*/ 4336 h 10000"/>
                <a:gd name="connsiteX48" fmla="*/ 4416 w 10000"/>
                <a:gd name="connsiteY48" fmla="*/ 3405 h 10000"/>
                <a:gd name="connsiteX49" fmla="*/ 4672 w 10000"/>
                <a:gd name="connsiteY49" fmla="*/ 2760 h 10000"/>
                <a:gd name="connsiteX50" fmla="*/ 4780 w 10000"/>
                <a:gd name="connsiteY50" fmla="*/ 2365 h 10000"/>
                <a:gd name="connsiteX51" fmla="*/ 5220 w 10000"/>
                <a:gd name="connsiteY51" fmla="*/ 1864 h 10000"/>
                <a:gd name="connsiteX52" fmla="*/ 5840 w 10000"/>
                <a:gd name="connsiteY52" fmla="*/ 1541 h 10000"/>
                <a:gd name="connsiteX53" fmla="*/ 6315 w 10000"/>
                <a:gd name="connsiteY53" fmla="*/ 1219 h 10000"/>
                <a:gd name="connsiteX54" fmla="*/ 6752 w 10000"/>
                <a:gd name="connsiteY54" fmla="*/ 467 h 10000"/>
                <a:gd name="connsiteX55" fmla="*/ 6971 w 10000"/>
                <a:gd name="connsiteY55" fmla="*/ 0 h 10000"/>
                <a:gd name="connsiteX56" fmla="*/ 7445 w 10000"/>
                <a:gd name="connsiteY56" fmla="*/ 0 h 10000"/>
                <a:gd name="connsiteX0" fmla="*/ 7445 w 10000"/>
                <a:gd name="connsiteY0" fmla="*/ 0 h 9462"/>
                <a:gd name="connsiteX1" fmla="*/ 7810 w 10000"/>
                <a:gd name="connsiteY1" fmla="*/ 322 h 9462"/>
                <a:gd name="connsiteX2" fmla="*/ 8431 w 10000"/>
                <a:gd name="connsiteY2" fmla="*/ 251 h 9462"/>
                <a:gd name="connsiteX3" fmla="*/ 9051 w 10000"/>
                <a:gd name="connsiteY3" fmla="*/ 430 h 9462"/>
                <a:gd name="connsiteX4" fmla="*/ 9343 w 10000"/>
                <a:gd name="connsiteY4" fmla="*/ 430 h 9462"/>
                <a:gd name="connsiteX5" fmla="*/ 9563 w 10000"/>
                <a:gd name="connsiteY5" fmla="*/ 896 h 9462"/>
                <a:gd name="connsiteX6" fmla="*/ 9599 w 10000"/>
                <a:gd name="connsiteY6" fmla="*/ 1361 h 9462"/>
                <a:gd name="connsiteX7" fmla="*/ 9817 w 10000"/>
                <a:gd name="connsiteY7" fmla="*/ 2150 h 9462"/>
                <a:gd name="connsiteX8" fmla="*/ 10000 w 10000"/>
                <a:gd name="connsiteY8" fmla="*/ 2294 h 9462"/>
                <a:gd name="connsiteX9" fmla="*/ 9890 w 10000"/>
                <a:gd name="connsiteY9" fmla="*/ 2581 h 9462"/>
                <a:gd name="connsiteX10" fmla="*/ 9051 w 10000"/>
                <a:gd name="connsiteY10" fmla="*/ 2724 h 9462"/>
                <a:gd name="connsiteX11" fmla="*/ 8759 w 10000"/>
                <a:gd name="connsiteY11" fmla="*/ 3010 h 9462"/>
                <a:gd name="connsiteX12" fmla="*/ 8357 w 10000"/>
                <a:gd name="connsiteY12" fmla="*/ 3046 h 9462"/>
                <a:gd name="connsiteX13" fmla="*/ 8357 w 10000"/>
                <a:gd name="connsiteY13" fmla="*/ 3620 h 9462"/>
                <a:gd name="connsiteX14" fmla="*/ 7591 w 10000"/>
                <a:gd name="connsiteY14" fmla="*/ 3907 h 9462"/>
                <a:gd name="connsiteX15" fmla="*/ 7335 w 10000"/>
                <a:gd name="connsiteY15" fmla="*/ 4265 h 9462"/>
                <a:gd name="connsiteX16" fmla="*/ 6825 w 10000"/>
                <a:gd name="connsiteY16" fmla="*/ 4481 h 9462"/>
                <a:gd name="connsiteX17" fmla="*/ 6167 w 10000"/>
                <a:gd name="connsiteY17" fmla="*/ 4588 h 9462"/>
                <a:gd name="connsiteX18" fmla="*/ 5110 w 10000"/>
                <a:gd name="connsiteY18" fmla="*/ 5125 h 9462"/>
                <a:gd name="connsiteX19" fmla="*/ 5110 w 10000"/>
                <a:gd name="connsiteY19" fmla="*/ 6022 h 9462"/>
                <a:gd name="connsiteX20" fmla="*/ 4999 w 10000"/>
                <a:gd name="connsiteY20" fmla="*/ 6022 h 9462"/>
                <a:gd name="connsiteX21" fmla="*/ 4999 w 10000"/>
                <a:gd name="connsiteY21" fmla="*/ 6022 h 9462"/>
                <a:gd name="connsiteX22" fmla="*/ 4999 w 10000"/>
                <a:gd name="connsiteY22" fmla="*/ 6415 h 9462"/>
                <a:gd name="connsiteX23" fmla="*/ 4599 w 10000"/>
                <a:gd name="connsiteY23" fmla="*/ 6451 h 9462"/>
                <a:gd name="connsiteX24" fmla="*/ 4380 w 10000"/>
                <a:gd name="connsiteY24" fmla="*/ 6595 h 9462"/>
                <a:gd name="connsiteX25" fmla="*/ 4087 w 10000"/>
                <a:gd name="connsiteY25" fmla="*/ 6595 h 9462"/>
                <a:gd name="connsiteX26" fmla="*/ 3868 w 10000"/>
                <a:gd name="connsiteY26" fmla="*/ 6523 h 9462"/>
                <a:gd name="connsiteX27" fmla="*/ 3322 w 10000"/>
                <a:gd name="connsiteY27" fmla="*/ 6595 h 9462"/>
                <a:gd name="connsiteX28" fmla="*/ 3103 w 10000"/>
                <a:gd name="connsiteY28" fmla="*/ 7168 h 9462"/>
                <a:gd name="connsiteX29" fmla="*/ 2884 w 10000"/>
                <a:gd name="connsiteY29" fmla="*/ 7240 h 9462"/>
                <a:gd name="connsiteX30" fmla="*/ 2555 w 10000"/>
                <a:gd name="connsiteY30" fmla="*/ 8172 h 9462"/>
                <a:gd name="connsiteX31" fmla="*/ 1643 w 10000"/>
                <a:gd name="connsiteY31" fmla="*/ 8961 h 9462"/>
                <a:gd name="connsiteX32" fmla="*/ 0 w 10000"/>
                <a:gd name="connsiteY32" fmla="*/ 9462 h 9462"/>
                <a:gd name="connsiteX33" fmla="*/ 256 w 10000"/>
                <a:gd name="connsiteY33" fmla="*/ 8924 h 9462"/>
                <a:gd name="connsiteX34" fmla="*/ 621 w 10000"/>
                <a:gd name="connsiteY34" fmla="*/ 8458 h 9462"/>
                <a:gd name="connsiteX35" fmla="*/ 876 w 10000"/>
                <a:gd name="connsiteY35" fmla="*/ 8351 h 9462"/>
                <a:gd name="connsiteX36" fmla="*/ 1058 w 10000"/>
                <a:gd name="connsiteY36" fmla="*/ 7921 h 9462"/>
                <a:gd name="connsiteX37" fmla="*/ 1058 w 10000"/>
                <a:gd name="connsiteY37" fmla="*/ 7527 h 9462"/>
                <a:gd name="connsiteX38" fmla="*/ 1314 w 10000"/>
                <a:gd name="connsiteY38" fmla="*/ 7060 h 9462"/>
                <a:gd name="connsiteX39" fmla="*/ 1751 w 10000"/>
                <a:gd name="connsiteY39" fmla="*/ 6774 h 9462"/>
                <a:gd name="connsiteX40" fmla="*/ 2191 w 10000"/>
                <a:gd name="connsiteY40" fmla="*/ 6022 h 9462"/>
                <a:gd name="connsiteX41" fmla="*/ 2226 w 10000"/>
                <a:gd name="connsiteY41" fmla="*/ 6022 h 9462"/>
                <a:gd name="connsiteX42" fmla="*/ 2555 w 10000"/>
                <a:gd name="connsiteY42" fmla="*/ 5734 h 9462"/>
                <a:gd name="connsiteX43" fmla="*/ 3139 w 10000"/>
                <a:gd name="connsiteY43" fmla="*/ 5663 h 9462"/>
                <a:gd name="connsiteX44" fmla="*/ 3686 w 10000"/>
                <a:gd name="connsiteY44" fmla="*/ 5160 h 9462"/>
                <a:gd name="connsiteX45" fmla="*/ 4015 w 10000"/>
                <a:gd name="connsiteY45" fmla="*/ 4945 h 9462"/>
                <a:gd name="connsiteX46" fmla="*/ 4562 w 10000"/>
                <a:gd name="connsiteY46" fmla="*/ 4336 h 9462"/>
                <a:gd name="connsiteX47" fmla="*/ 4416 w 10000"/>
                <a:gd name="connsiteY47" fmla="*/ 3405 h 9462"/>
                <a:gd name="connsiteX48" fmla="*/ 4672 w 10000"/>
                <a:gd name="connsiteY48" fmla="*/ 2760 h 9462"/>
                <a:gd name="connsiteX49" fmla="*/ 4780 w 10000"/>
                <a:gd name="connsiteY49" fmla="*/ 2365 h 9462"/>
                <a:gd name="connsiteX50" fmla="*/ 5220 w 10000"/>
                <a:gd name="connsiteY50" fmla="*/ 1864 h 9462"/>
                <a:gd name="connsiteX51" fmla="*/ 5840 w 10000"/>
                <a:gd name="connsiteY51" fmla="*/ 1541 h 9462"/>
                <a:gd name="connsiteX52" fmla="*/ 6315 w 10000"/>
                <a:gd name="connsiteY52" fmla="*/ 1219 h 9462"/>
                <a:gd name="connsiteX53" fmla="*/ 6752 w 10000"/>
                <a:gd name="connsiteY53" fmla="*/ 467 h 9462"/>
                <a:gd name="connsiteX54" fmla="*/ 6971 w 10000"/>
                <a:gd name="connsiteY54" fmla="*/ 0 h 9462"/>
                <a:gd name="connsiteX55" fmla="*/ 7445 w 10000"/>
                <a:gd name="connsiteY55" fmla="*/ 0 h 9462"/>
                <a:gd name="connsiteX0" fmla="*/ 7189 w 9744"/>
                <a:gd name="connsiteY0" fmla="*/ 0 h 9539"/>
                <a:gd name="connsiteX1" fmla="*/ 7554 w 9744"/>
                <a:gd name="connsiteY1" fmla="*/ 340 h 9539"/>
                <a:gd name="connsiteX2" fmla="*/ 8175 w 9744"/>
                <a:gd name="connsiteY2" fmla="*/ 265 h 9539"/>
                <a:gd name="connsiteX3" fmla="*/ 8795 w 9744"/>
                <a:gd name="connsiteY3" fmla="*/ 454 h 9539"/>
                <a:gd name="connsiteX4" fmla="*/ 9087 w 9744"/>
                <a:gd name="connsiteY4" fmla="*/ 454 h 9539"/>
                <a:gd name="connsiteX5" fmla="*/ 9307 w 9744"/>
                <a:gd name="connsiteY5" fmla="*/ 947 h 9539"/>
                <a:gd name="connsiteX6" fmla="*/ 9343 w 9744"/>
                <a:gd name="connsiteY6" fmla="*/ 1438 h 9539"/>
                <a:gd name="connsiteX7" fmla="*/ 9561 w 9744"/>
                <a:gd name="connsiteY7" fmla="*/ 2272 h 9539"/>
                <a:gd name="connsiteX8" fmla="*/ 9744 w 9744"/>
                <a:gd name="connsiteY8" fmla="*/ 2424 h 9539"/>
                <a:gd name="connsiteX9" fmla="*/ 9634 w 9744"/>
                <a:gd name="connsiteY9" fmla="*/ 2728 h 9539"/>
                <a:gd name="connsiteX10" fmla="*/ 8795 w 9744"/>
                <a:gd name="connsiteY10" fmla="*/ 2879 h 9539"/>
                <a:gd name="connsiteX11" fmla="*/ 8503 w 9744"/>
                <a:gd name="connsiteY11" fmla="*/ 3181 h 9539"/>
                <a:gd name="connsiteX12" fmla="*/ 8101 w 9744"/>
                <a:gd name="connsiteY12" fmla="*/ 3219 h 9539"/>
                <a:gd name="connsiteX13" fmla="*/ 8101 w 9744"/>
                <a:gd name="connsiteY13" fmla="*/ 3826 h 9539"/>
                <a:gd name="connsiteX14" fmla="*/ 7335 w 9744"/>
                <a:gd name="connsiteY14" fmla="*/ 4129 h 9539"/>
                <a:gd name="connsiteX15" fmla="*/ 7079 w 9744"/>
                <a:gd name="connsiteY15" fmla="*/ 4508 h 9539"/>
                <a:gd name="connsiteX16" fmla="*/ 6569 w 9744"/>
                <a:gd name="connsiteY16" fmla="*/ 4736 h 9539"/>
                <a:gd name="connsiteX17" fmla="*/ 5911 w 9744"/>
                <a:gd name="connsiteY17" fmla="*/ 4849 h 9539"/>
                <a:gd name="connsiteX18" fmla="*/ 4854 w 9744"/>
                <a:gd name="connsiteY18" fmla="*/ 5416 h 9539"/>
                <a:gd name="connsiteX19" fmla="*/ 4854 w 9744"/>
                <a:gd name="connsiteY19" fmla="*/ 6364 h 9539"/>
                <a:gd name="connsiteX20" fmla="*/ 4743 w 9744"/>
                <a:gd name="connsiteY20" fmla="*/ 6364 h 9539"/>
                <a:gd name="connsiteX21" fmla="*/ 4743 w 9744"/>
                <a:gd name="connsiteY21" fmla="*/ 6364 h 9539"/>
                <a:gd name="connsiteX22" fmla="*/ 4743 w 9744"/>
                <a:gd name="connsiteY22" fmla="*/ 6780 h 9539"/>
                <a:gd name="connsiteX23" fmla="*/ 4343 w 9744"/>
                <a:gd name="connsiteY23" fmla="*/ 6818 h 9539"/>
                <a:gd name="connsiteX24" fmla="*/ 4124 w 9744"/>
                <a:gd name="connsiteY24" fmla="*/ 6970 h 9539"/>
                <a:gd name="connsiteX25" fmla="*/ 3831 w 9744"/>
                <a:gd name="connsiteY25" fmla="*/ 6970 h 9539"/>
                <a:gd name="connsiteX26" fmla="*/ 3612 w 9744"/>
                <a:gd name="connsiteY26" fmla="*/ 6894 h 9539"/>
                <a:gd name="connsiteX27" fmla="*/ 3066 w 9744"/>
                <a:gd name="connsiteY27" fmla="*/ 6970 h 9539"/>
                <a:gd name="connsiteX28" fmla="*/ 2847 w 9744"/>
                <a:gd name="connsiteY28" fmla="*/ 7576 h 9539"/>
                <a:gd name="connsiteX29" fmla="*/ 2628 w 9744"/>
                <a:gd name="connsiteY29" fmla="*/ 7652 h 9539"/>
                <a:gd name="connsiteX30" fmla="*/ 2299 w 9744"/>
                <a:gd name="connsiteY30" fmla="*/ 8637 h 9539"/>
                <a:gd name="connsiteX31" fmla="*/ 1387 w 9744"/>
                <a:gd name="connsiteY31" fmla="*/ 9471 h 9539"/>
                <a:gd name="connsiteX32" fmla="*/ 0 w 9744"/>
                <a:gd name="connsiteY32" fmla="*/ 9431 h 9539"/>
                <a:gd name="connsiteX33" fmla="*/ 365 w 9744"/>
                <a:gd name="connsiteY33" fmla="*/ 8939 h 9539"/>
                <a:gd name="connsiteX34" fmla="*/ 620 w 9744"/>
                <a:gd name="connsiteY34" fmla="*/ 8826 h 9539"/>
                <a:gd name="connsiteX35" fmla="*/ 802 w 9744"/>
                <a:gd name="connsiteY35" fmla="*/ 8371 h 9539"/>
                <a:gd name="connsiteX36" fmla="*/ 802 w 9744"/>
                <a:gd name="connsiteY36" fmla="*/ 7955 h 9539"/>
                <a:gd name="connsiteX37" fmla="*/ 1058 w 9744"/>
                <a:gd name="connsiteY37" fmla="*/ 7461 h 9539"/>
                <a:gd name="connsiteX38" fmla="*/ 1495 w 9744"/>
                <a:gd name="connsiteY38" fmla="*/ 7159 h 9539"/>
                <a:gd name="connsiteX39" fmla="*/ 1935 w 9744"/>
                <a:gd name="connsiteY39" fmla="*/ 6364 h 9539"/>
                <a:gd name="connsiteX40" fmla="*/ 1970 w 9744"/>
                <a:gd name="connsiteY40" fmla="*/ 6364 h 9539"/>
                <a:gd name="connsiteX41" fmla="*/ 2299 w 9744"/>
                <a:gd name="connsiteY41" fmla="*/ 6060 h 9539"/>
                <a:gd name="connsiteX42" fmla="*/ 2883 w 9744"/>
                <a:gd name="connsiteY42" fmla="*/ 5985 h 9539"/>
                <a:gd name="connsiteX43" fmla="*/ 3430 w 9744"/>
                <a:gd name="connsiteY43" fmla="*/ 5453 h 9539"/>
                <a:gd name="connsiteX44" fmla="*/ 3759 w 9744"/>
                <a:gd name="connsiteY44" fmla="*/ 5226 h 9539"/>
                <a:gd name="connsiteX45" fmla="*/ 4306 w 9744"/>
                <a:gd name="connsiteY45" fmla="*/ 4583 h 9539"/>
                <a:gd name="connsiteX46" fmla="*/ 4160 w 9744"/>
                <a:gd name="connsiteY46" fmla="*/ 3599 h 9539"/>
                <a:gd name="connsiteX47" fmla="*/ 4416 w 9744"/>
                <a:gd name="connsiteY47" fmla="*/ 2917 h 9539"/>
                <a:gd name="connsiteX48" fmla="*/ 4524 w 9744"/>
                <a:gd name="connsiteY48" fmla="*/ 2499 h 9539"/>
                <a:gd name="connsiteX49" fmla="*/ 4964 w 9744"/>
                <a:gd name="connsiteY49" fmla="*/ 1970 h 9539"/>
                <a:gd name="connsiteX50" fmla="*/ 5584 w 9744"/>
                <a:gd name="connsiteY50" fmla="*/ 1629 h 9539"/>
                <a:gd name="connsiteX51" fmla="*/ 6059 w 9744"/>
                <a:gd name="connsiteY51" fmla="*/ 1288 h 9539"/>
                <a:gd name="connsiteX52" fmla="*/ 6496 w 9744"/>
                <a:gd name="connsiteY52" fmla="*/ 494 h 9539"/>
                <a:gd name="connsiteX53" fmla="*/ 6715 w 9744"/>
                <a:gd name="connsiteY53" fmla="*/ 0 h 9539"/>
                <a:gd name="connsiteX54" fmla="*/ 7189 w 9744"/>
                <a:gd name="connsiteY54" fmla="*/ 0 h 9539"/>
                <a:gd name="connsiteX0" fmla="*/ 7003 w 9625"/>
                <a:gd name="connsiteY0" fmla="*/ 0 h 9932"/>
                <a:gd name="connsiteX1" fmla="*/ 7377 w 9625"/>
                <a:gd name="connsiteY1" fmla="*/ 356 h 9932"/>
                <a:gd name="connsiteX2" fmla="*/ 8015 w 9625"/>
                <a:gd name="connsiteY2" fmla="*/ 278 h 9932"/>
                <a:gd name="connsiteX3" fmla="*/ 8651 w 9625"/>
                <a:gd name="connsiteY3" fmla="*/ 476 h 9932"/>
                <a:gd name="connsiteX4" fmla="*/ 8951 w 9625"/>
                <a:gd name="connsiteY4" fmla="*/ 476 h 9932"/>
                <a:gd name="connsiteX5" fmla="*/ 9177 w 9625"/>
                <a:gd name="connsiteY5" fmla="*/ 993 h 9932"/>
                <a:gd name="connsiteX6" fmla="*/ 9213 w 9625"/>
                <a:gd name="connsiteY6" fmla="*/ 1507 h 9932"/>
                <a:gd name="connsiteX7" fmla="*/ 9437 w 9625"/>
                <a:gd name="connsiteY7" fmla="*/ 2382 h 9932"/>
                <a:gd name="connsiteX8" fmla="*/ 9625 w 9625"/>
                <a:gd name="connsiteY8" fmla="*/ 2541 h 9932"/>
                <a:gd name="connsiteX9" fmla="*/ 9512 w 9625"/>
                <a:gd name="connsiteY9" fmla="*/ 2860 h 9932"/>
                <a:gd name="connsiteX10" fmla="*/ 8651 w 9625"/>
                <a:gd name="connsiteY10" fmla="*/ 3018 h 9932"/>
                <a:gd name="connsiteX11" fmla="*/ 8351 w 9625"/>
                <a:gd name="connsiteY11" fmla="*/ 3335 h 9932"/>
                <a:gd name="connsiteX12" fmla="*/ 7939 w 9625"/>
                <a:gd name="connsiteY12" fmla="*/ 3375 h 9932"/>
                <a:gd name="connsiteX13" fmla="*/ 7939 w 9625"/>
                <a:gd name="connsiteY13" fmla="*/ 4011 h 9932"/>
                <a:gd name="connsiteX14" fmla="*/ 7153 w 9625"/>
                <a:gd name="connsiteY14" fmla="*/ 4329 h 9932"/>
                <a:gd name="connsiteX15" fmla="*/ 6890 w 9625"/>
                <a:gd name="connsiteY15" fmla="*/ 4726 h 9932"/>
                <a:gd name="connsiteX16" fmla="*/ 6367 w 9625"/>
                <a:gd name="connsiteY16" fmla="*/ 4965 h 9932"/>
                <a:gd name="connsiteX17" fmla="*/ 5691 w 9625"/>
                <a:gd name="connsiteY17" fmla="*/ 5083 h 9932"/>
                <a:gd name="connsiteX18" fmla="*/ 4607 w 9625"/>
                <a:gd name="connsiteY18" fmla="*/ 5678 h 9932"/>
                <a:gd name="connsiteX19" fmla="*/ 4607 w 9625"/>
                <a:gd name="connsiteY19" fmla="*/ 6672 h 9932"/>
                <a:gd name="connsiteX20" fmla="*/ 4493 w 9625"/>
                <a:gd name="connsiteY20" fmla="*/ 6672 h 9932"/>
                <a:gd name="connsiteX21" fmla="*/ 4493 w 9625"/>
                <a:gd name="connsiteY21" fmla="*/ 6672 h 9932"/>
                <a:gd name="connsiteX22" fmla="*/ 4493 w 9625"/>
                <a:gd name="connsiteY22" fmla="*/ 7108 h 9932"/>
                <a:gd name="connsiteX23" fmla="*/ 4082 w 9625"/>
                <a:gd name="connsiteY23" fmla="*/ 7147 h 9932"/>
                <a:gd name="connsiteX24" fmla="*/ 3857 w 9625"/>
                <a:gd name="connsiteY24" fmla="*/ 7307 h 9932"/>
                <a:gd name="connsiteX25" fmla="*/ 3557 w 9625"/>
                <a:gd name="connsiteY25" fmla="*/ 7307 h 9932"/>
                <a:gd name="connsiteX26" fmla="*/ 3332 w 9625"/>
                <a:gd name="connsiteY26" fmla="*/ 7227 h 9932"/>
                <a:gd name="connsiteX27" fmla="*/ 2772 w 9625"/>
                <a:gd name="connsiteY27" fmla="*/ 7307 h 9932"/>
                <a:gd name="connsiteX28" fmla="*/ 2547 w 9625"/>
                <a:gd name="connsiteY28" fmla="*/ 7942 h 9932"/>
                <a:gd name="connsiteX29" fmla="*/ 2322 w 9625"/>
                <a:gd name="connsiteY29" fmla="*/ 8022 h 9932"/>
                <a:gd name="connsiteX30" fmla="*/ 1984 w 9625"/>
                <a:gd name="connsiteY30" fmla="*/ 9054 h 9932"/>
                <a:gd name="connsiteX31" fmla="*/ 1048 w 9625"/>
                <a:gd name="connsiteY31" fmla="*/ 9929 h 9932"/>
                <a:gd name="connsiteX32" fmla="*/ 0 w 9625"/>
                <a:gd name="connsiteY32" fmla="*/ 9371 h 9932"/>
                <a:gd name="connsiteX33" fmla="*/ 261 w 9625"/>
                <a:gd name="connsiteY33" fmla="*/ 9253 h 9932"/>
                <a:gd name="connsiteX34" fmla="*/ 448 w 9625"/>
                <a:gd name="connsiteY34" fmla="*/ 8776 h 9932"/>
                <a:gd name="connsiteX35" fmla="*/ 448 w 9625"/>
                <a:gd name="connsiteY35" fmla="*/ 8339 h 9932"/>
                <a:gd name="connsiteX36" fmla="*/ 711 w 9625"/>
                <a:gd name="connsiteY36" fmla="*/ 7822 h 9932"/>
                <a:gd name="connsiteX37" fmla="*/ 1159 w 9625"/>
                <a:gd name="connsiteY37" fmla="*/ 7505 h 9932"/>
                <a:gd name="connsiteX38" fmla="*/ 1611 w 9625"/>
                <a:gd name="connsiteY38" fmla="*/ 6672 h 9932"/>
                <a:gd name="connsiteX39" fmla="*/ 1647 w 9625"/>
                <a:gd name="connsiteY39" fmla="*/ 6672 h 9932"/>
                <a:gd name="connsiteX40" fmla="*/ 1984 w 9625"/>
                <a:gd name="connsiteY40" fmla="*/ 6353 h 9932"/>
                <a:gd name="connsiteX41" fmla="*/ 2584 w 9625"/>
                <a:gd name="connsiteY41" fmla="*/ 6274 h 9932"/>
                <a:gd name="connsiteX42" fmla="*/ 3145 w 9625"/>
                <a:gd name="connsiteY42" fmla="*/ 5717 h 9932"/>
                <a:gd name="connsiteX43" fmla="*/ 3483 w 9625"/>
                <a:gd name="connsiteY43" fmla="*/ 5479 h 9932"/>
                <a:gd name="connsiteX44" fmla="*/ 4044 w 9625"/>
                <a:gd name="connsiteY44" fmla="*/ 4804 h 9932"/>
                <a:gd name="connsiteX45" fmla="*/ 3894 w 9625"/>
                <a:gd name="connsiteY45" fmla="*/ 3773 h 9932"/>
                <a:gd name="connsiteX46" fmla="*/ 4157 w 9625"/>
                <a:gd name="connsiteY46" fmla="*/ 3058 h 9932"/>
                <a:gd name="connsiteX47" fmla="*/ 4268 w 9625"/>
                <a:gd name="connsiteY47" fmla="*/ 2620 h 9932"/>
                <a:gd name="connsiteX48" fmla="*/ 4719 w 9625"/>
                <a:gd name="connsiteY48" fmla="*/ 2065 h 9932"/>
                <a:gd name="connsiteX49" fmla="*/ 5356 w 9625"/>
                <a:gd name="connsiteY49" fmla="*/ 1708 h 9932"/>
                <a:gd name="connsiteX50" fmla="*/ 5843 w 9625"/>
                <a:gd name="connsiteY50" fmla="*/ 1350 h 9932"/>
                <a:gd name="connsiteX51" fmla="*/ 6292 w 9625"/>
                <a:gd name="connsiteY51" fmla="*/ 518 h 9932"/>
                <a:gd name="connsiteX52" fmla="*/ 6516 w 9625"/>
                <a:gd name="connsiteY52" fmla="*/ 0 h 9932"/>
                <a:gd name="connsiteX53" fmla="*/ 7003 w 9625"/>
                <a:gd name="connsiteY53" fmla="*/ 0 h 9932"/>
                <a:gd name="connsiteX0" fmla="*/ 7276 w 10000"/>
                <a:gd name="connsiteY0" fmla="*/ 0 h 9435"/>
                <a:gd name="connsiteX1" fmla="*/ 7664 w 10000"/>
                <a:gd name="connsiteY1" fmla="*/ 358 h 9435"/>
                <a:gd name="connsiteX2" fmla="*/ 8327 w 10000"/>
                <a:gd name="connsiteY2" fmla="*/ 280 h 9435"/>
                <a:gd name="connsiteX3" fmla="*/ 8988 w 10000"/>
                <a:gd name="connsiteY3" fmla="*/ 479 h 9435"/>
                <a:gd name="connsiteX4" fmla="*/ 9300 w 10000"/>
                <a:gd name="connsiteY4" fmla="*/ 479 h 9435"/>
                <a:gd name="connsiteX5" fmla="*/ 9535 w 10000"/>
                <a:gd name="connsiteY5" fmla="*/ 1000 h 9435"/>
                <a:gd name="connsiteX6" fmla="*/ 9572 w 10000"/>
                <a:gd name="connsiteY6" fmla="*/ 1517 h 9435"/>
                <a:gd name="connsiteX7" fmla="*/ 9805 w 10000"/>
                <a:gd name="connsiteY7" fmla="*/ 2398 h 9435"/>
                <a:gd name="connsiteX8" fmla="*/ 10000 w 10000"/>
                <a:gd name="connsiteY8" fmla="*/ 2558 h 9435"/>
                <a:gd name="connsiteX9" fmla="*/ 9883 w 10000"/>
                <a:gd name="connsiteY9" fmla="*/ 2880 h 9435"/>
                <a:gd name="connsiteX10" fmla="*/ 8988 w 10000"/>
                <a:gd name="connsiteY10" fmla="*/ 3039 h 9435"/>
                <a:gd name="connsiteX11" fmla="*/ 8676 w 10000"/>
                <a:gd name="connsiteY11" fmla="*/ 3358 h 9435"/>
                <a:gd name="connsiteX12" fmla="*/ 8248 w 10000"/>
                <a:gd name="connsiteY12" fmla="*/ 3398 h 9435"/>
                <a:gd name="connsiteX13" fmla="*/ 8248 w 10000"/>
                <a:gd name="connsiteY13" fmla="*/ 4038 h 9435"/>
                <a:gd name="connsiteX14" fmla="*/ 7432 w 10000"/>
                <a:gd name="connsiteY14" fmla="*/ 4359 h 9435"/>
                <a:gd name="connsiteX15" fmla="*/ 7158 w 10000"/>
                <a:gd name="connsiteY15" fmla="*/ 4758 h 9435"/>
                <a:gd name="connsiteX16" fmla="*/ 6615 w 10000"/>
                <a:gd name="connsiteY16" fmla="*/ 4999 h 9435"/>
                <a:gd name="connsiteX17" fmla="*/ 5913 w 10000"/>
                <a:gd name="connsiteY17" fmla="*/ 5118 h 9435"/>
                <a:gd name="connsiteX18" fmla="*/ 4786 w 10000"/>
                <a:gd name="connsiteY18" fmla="*/ 5717 h 9435"/>
                <a:gd name="connsiteX19" fmla="*/ 4786 w 10000"/>
                <a:gd name="connsiteY19" fmla="*/ 6718 h 9435"/>
                <a:gd name="connsiteX20" fmla="*/ 4668 w 10000"/>
                <a:gd name="connsiteY20" fmla="*/ 6718 h 9435"/>
                <a:gd name="connsiteX21" fmla="*/ 4668 w 10000"/>
                <a:gd name="connsiteY21" fmla="*/ 6718 h 9435"/>
                <a:gd name="connsiteX22" fmla="*/ 4668 w 10000"/>
                <a:gd name="connsiteY22" fmla="*/ 7157 h 9435"/>
                <a:gd name="connsiteX23" fmla="*/ 4241 w 10000"/>
                <a:gd name="connsiteY23" fmla="*/ 7196 h 9435"/>
                <a:gd name="connsiteX24" fmla="*/ 4007 w 10000"/>
                <a:gd name="connsiteY24" fmla="*/ 7357 h 9435"/>
                <a:gd name="connsiteX25" fmla="*/ 3696 w 10000"/>
                <a:gd name="connsiteY25" fmla="*/ 7357 h 9435"/>
                <a:gd name="connsiteX26" fmla="*/ 3462 w 10000"/>
                <a:gd name="connsiteY26" fmla="*/ 7276 h 9435"/>
                <a:gd name="connsiteX27" fmla="*/ 2880 w 10000"/>
                <a:gd name="connsiteY27" fmla="*/ 7357 h 9435"/>
                <a:gd name="connsiteX28" fmla="*/ 2646 w 10000"/>
                <a:gd name="connsiteY28" fmla="*/ 7996 h 9435"/>
                <a:gd name="connsiteX29" fmla="*/ 2412 w 10000"/>
                <a:gd name="connsiteY29" fmla="*/ 8077 h 9435"/>
                <a:gd name="connsiteX30" fmla="*/ 2061 w 10000"/>
                <a:gd name="connsiteY30" fmla="*/ 9116 h 9435"/>
                <a:gd name="connsiteX31" fmla="*/ 0 w 10000"/>
                <a:gd name="connsiteY31" fmla="*/ 9435 h 9435"/>
                <a:gd name="connsiteX32" fmla="*/ 271 w 10000"/>
                <a:gd name="connsiteY32" fmla="*/ 9316 h 9435"/>
                <a:gd name="connsiteX33" fmla="*/ 465 w 10000"/>
                <a:gd name="connsiteY33" fmla="*/ 8836 h 9435"/>
                <a:gd name="connsiteX34" fmla="*/ 465 w 10000"/>
                <a:gd name="connsiteY34" fmla="*/ 8396 h 9435"/>
                <a:gd name="connsiteX35" fmla="*/ 739 w 10000"/>
                <a:gd name="connsiteY35" fmla="*/ 7876 h 9435"/>
                <a:gd name="connsiteX36" fmla="*/ 1204 w 10000"/>
                <a:gd name="connsiteY36" fmla="*/ 7556 h 9435"/>
                <a:gd name="connsiteX37" fmla="*/ 1674 w 10000"/>
                <a:gd name="connsiteY37" fmla="*/ 6718 h 9435"/>
                <a:gd name="connsiteX38" fmla="*/ 1711 w 10000"/>
                <a:gd name="connsiteY38" fmla="*/ 6718 h 9435"/>
                <a:gd name="connsiteX39" fmla="*/ 2061 w 10000"/>
                <a:gd name="connsiteY39" fmla="*/ 6396 h 9435"/>
                <a:gd name="connsiteX40" fmla="*/ 2685 w 10000"/>
                <a:gd name="connsiteY40" fmla="*/ 6317 h 9435"/>
                <a:gd name="connsiteX41" fmla="*/ 3268 w 10000"/>
                <a:gd name="connsiteY41" fmla="*/ 5756 h 9435"/>
                <a:gd name="connsiteX42" fmla="*/ 3619 w 10000"/>
                <a:gd name="connsiteY42" fmla="*/ 5517 h 9435"/>
                <a:gd name="connsiteX43" fmla="*/ 4202 w 10000"/>
                <a:gd name="connsiteY43" fmla="*/ 4837 h 9435"/>
                <a:gd name="connsiteX44" fmla="*/ 4046 w 10000"/>
                <a:gd name="connsiteY44" fmla="*/ 3799 h 9435"/>
                <a:gd name="connsiteX45" fmla="*/ 4319 w 10000"/>
                <a:gd name="connsiteY45" fmla="*/ 3079 h 9435"/>
                <a:gd name="connsiteX46" fmla="*/ 4434 w 10000"/>
                <a:gd name="connsiteY46" fmla="*/ 2638 h 9435"/>
                <a:gd name="connsiteX47" fmla="*/ 4903 w 10000"/>
                <a:gd name="connsiteY47" fmla="*/ 2079 h 9435"/>
                <a:gd name="connsiteX48" fmla="*/ 5565 w 10000"/>
                <a:gd name="connsiteY48" fmla="*/ 1720 h 9435"/>
                <a:gd name="connsiteX49" fmla="*/ 6071 w 10000"/>
                <a:gd name="connsiteY49" fmla="*/ 1359 h 9435"/>
                <a:gd name="connsiteX50" fmla="*/ 6537 w 10000"/>
                <a:gd name="connsiteY50" fmla="*/ 522 h 9435"/>
                <a:gd name="connsiteX51" fmla="*/ 6770 w 10000"/>
                <a:gd name="connsiteY51" fmla="*/ 0 h 9435"/>
                <a:gd name="connsiteX52" fmla="*/ 7276 w 10000"/>
                <a:gd name="connsiteY52" fmla="*/ 0 h 9435"/>
                <a:gd name="connsiteX0" fmla="*/ 7276 w 10000"/>
                <a:gd name="connsiteY0" fmla="*/ 0 h 10000"/>
                <a:gd name="connsiteX1" fmla="*/ 7664 w 10000"/>
                <a:gd name="connsiteY1" fmla="*/ 379 h 10000"/>
                <a:gd name="connsiteX2" fmla="*/ 8327 w 10000"/>
                <a:gd name="connsiteY2" fmla="*/ 297 h 10000"/>
                <a:gd name="connsiteX3" fmla="*/ 8988 w 10000"/>
                <a:gd name="connsiteY3" fmla="*/ 508 h 10000"/>
                <a:gd name="connsiteX4" fmla="*/ 9300 w 10000"/>
                <a:gd name="connsiteY4" fmla="*/ 508 h 10000"/>
                <a:gd name="connsiteX5" fmla="*/ 9535 w 10000"/>
                <a:gd name="connsiteY5" fmla="*/ 1060 h 10000"/>
                <a:gd name="connsiteX6" fmla="*/ 9572 w 10000"/>
                <a:gd name="connsiteY6" fmla="*/ 1608 h 10000"/>
                <a:gd name="connsiteX7" fmla="*/ 9805 w 10000"/>
                <a:gd name="connsiteY7" fmla="*/ 2542 h 10000"/>
                <a:gd name="connsiteX8" fmla="*/ 10000 w 10000"/>
                <a:gd name="connsiteY8" fmla="*/ 2711 h 10000"/>
                <a:gd name="connsiteX9" fmla="*/ 9883 w 10000"/>
                <a:gd name="connsiteY9" fmla="*/ 3052 h 10000"/>
                <a:gd name="connsiteX10" fmla="*/ 8988 w 10000"/>
                <a:gd name="connsiteY10" fmla="*/ 3221 h 10000"/>
                <a:gd name="connsiteX11" fmla="*/ 8676 w 10000"/>
                <a:gd name="connsiteY11" fmla="*/ 3559 h 10000"/>
                <a:gd name="connsiteX12" fmla="*/ 8248 w 10000"/>
                <a:gd name="connsiteY12" fmla="*/ 3601 h 10000"/>
                <a:gd name="connsiteX13" fmla="*/ 8248 w 10000"/>
                <a:gd name="connsiteY13" fmla="*/ 4280 h 10000"/>
                <a:gd name="connsiteX14" fmla="*/ 7432 w 10000"/>
                <a:gd name="connsiteY14" fmla="*/ 4620 h 10000"/>
                <a:gd name="connsiteX15" fmla="*/ 7158 w 10000"/>
                <a:gd name="connsiteY15" fmla="*/ 5043 h 10000"/>
                <a:gd name="connsiteX16" fmla="*/ 6615 w 10000"/>
                <a:gd name="connsiteY16" fmla="*/ 5298 h 10000"/>
                <a:gd name="connsiteX17" fmla="*/ 5913 w 10000"/>
                <a:gd name="connsiteY17" fmla="*/ 5424 h 10000"/>
                <a:gd name="connsiteX18" fmla="*/ 4786 w 10000"/>
                <a:gd name="connsiteY18" fmla="*/ 6059 h 10000"/>
                <a:gd name="connsiteX19" fmla="*/ 4786 w 10000"/>
                <a:gd name="connsiteY19" fmla="*/ 7120 h 10000"/>
                <a:gd name="connsiteX20" fmla="*/ 4668 w 10000"/>
                <a:gd name="connsiteY20" fmla="*/ 7120 h 10000"/>
                <a:gd name="connsiteX21" fmla="*/ 4668 w 10000"/>
                <a:gd name="connsiteY21" fmla="*/ 7120 h 10000"/>
                <a:gd name="connsiteX22" fmla="*/ 4668 w 10000"/>
                <a:gd name="connsiteY22" fmla="*/ 7586 h 10000"/>
                <a:gd name="connsiteX23" fmla="*/ 4241 w 10000"/>
                <a:gd name="connsiteY23" fmla="*/ 7627 h 10000"/>
                <a:gd name="connsiteX24" fmla="*/ 4007 w 10000"/>
                <a:gd name="connsiteY24" fmla="*/ 7798 h 10000"/>
                <a:gd name="connsiteX25" fmla="*/ 3696 w 10000"/>
                <a:gd name="connsiteY25" fmla="*/ 7798 h 10000"/>
                <a:gd name="connsiteX26" fmla="*/ 3462 w 10000"/>
                <a:gd name="connsiteY26" fmla="*/ 7712 h 10000"/>
                <a:gd name="connsiteX27" fmla="*/ 2880 w 10000"/>
                <a:gd name="connsiteY27" fmla="*/ 7798 h 10000"/>
                <a:gd name="connsiteX28" fmla="*/ 2646 w 10000"/>
                <a:gd name="connsiteY28" fmla="*/ 8475 h 10000"/>
                <a:gd name="connsiteX29" fmla="*/ 2412 w 10000"/>
                <a:gd name="connsiteY29" fmla="*/ 8561 h 10000"/>
                <a:gd name="connsiteX30" fmla="*/ 2061 w 10000"/>
                <a:gd name="connsiteY30" fmla="*/ 9662 h 10000"/>
                <a:gd name="connsiteX31" fmla="*/ 0 w 10000"/>
                <a:gd name="connsiteY31" fmla="*/ 10000 h 10000"/>
                <a:gd name="connsiteX32" fmla="*/ 465 w 10000"/>
                <a:gd name="connsiteY32" fmla="*/ 9365 h 10000"/>
                <a:gd name="connsiteX33" fmla="*/ 465 w 10000"/>
                <a:gd name="connsiteY33" fmla="*/ 8899 h 10000"/>
                <a:gd name="connsiteX34" fmla="*/ 739 w 10000"/>
                <a:gd name="connsiteY34" fmla="*/ 8348 h 10000"/>
                <a:gd name="connsiteX35" fmla="*/ 1204 w 10000"/>
                <a:gd name="connsiteY35" fmla="*/ 8008 h 10000"/>
                <a:gd name="connsiteX36" fmla="*/ 1674 w 10000"/>
                <a:gd name="connsiteY36" fmla="*/ 7120 h 10000"/>
                <a:gd name="connsiteX37" fmla="*/ 1711 w 10000"/>
                <a:gd name="connsiteY37" fmla="*/ 7120 h 10000"/>
                <a:gd name="connsiteX38" fmla="*/ 2061 w 10000"/>
                <a:gd name="connsiteY38" fmla="*/ 6779 h 10000"/>
                <a:gd name="connsiteX39" fmla="*/ 2685 w 10000"/>
                <a:gd name="connsiteY39" fmla="*/ 6695 h 10000"/>
                <a:gd name="connsiteX40" fmla="*/ 3268 w 10000"/>
                <a:gd name="connsiteY40" fmla="*/ 6101 h 10000"/>
                <a:gd name="connsiteX41" fmla="*/ 3619 w 10000"/>
                <a:gd name="connsiteY41" fmla="*/ 5847 h 10000"/>
                <a:gd name="connsiteX42" fmla="*/ 4202 w 10000"/>
                <a:gd name="connsiteY42" fmla="*/ 5127 h 10000"/>
                <a:gd name="connsiteX43" fmla="*/ 4046 w 10000"/>
                <a:gd name="connsiteY43" fmla="*/ 4026 h 10000"/>
                <a:gd name="connsiteX44" fmla="*/ 4319 w 10000"/>
                <a:gd name="connsiteY44" fmla="*/ 3263 h 10000"/>
                <a:gd name="connsiteX45" fmla="*/ 4434 w 10000"/>
                <a:gd name="connsiteY45" fmla="*/ 2796 h 10000"/>
                <a:gd name="connsiteX46" fmla="*/ 4903 w 10000"/>
                <a:gd name="connsiteY46" fmla="*/ 2203 h 10000"/>
                <a:gd name="connsiteX47" fmla="*/ 5565 w 10000"/>
                <a:gd name="connsiteY47" fmla="*/ 1823 h 10000"/>
                <a:gd name="connsiteX48" fmla="*/ 6071 w 10000"/>
                <a:gd name="connsiteY48" fmla="*/ 1440 h 10000"/>
                <a:gd name="connsiteX49" fmla="*/ 6537 w 10000"/>
                <a:gd name="connsiteY49" fmla="*/ 553 h 10000"/>
                <a:gd name="connsiteX50" fmla="*/ 6770 w 10000"/>
                <a:gd name="connsiteY50" fmla="*/ 0 h 10000"/>
                <a:gd name="connsiteX51" fmla="*/ 7276 w 10000"/>
                <a:gd name="connsiteY51" fmla="*/ 0 h 10000"/>
                <a:gd name="connsiteX0" fmla="*/ 6811 w 9535"/>
                <a:gd name="connsiteY0" fmla="*/ 0 h 9662"/>
                <a:gd name="connsiteX1" fmla="*/ 7199 w 9535"/>
                <a:gd name="connsiteY1" fmla="*/ 379 h 9662"/>
                <a:gd name="connsiteX2" fmla="*/ 7862 w 9535"/>
                <a:gd name="connsiteY2" fmla="*/ 297 h 9662"/>
                <a:gd name="connsiteX3" fmla="*/ 8523 w 9535"/>
                <a:gd name="connsiteY3" fmla="*/ 508 h 9662"/>
                <a:gd name="connsiteX4" fmla="*/ 8835 w 9535"/>
                <a:gd name="connsiteY4" fmla="*/ 508 h 9662"/>
                <a:gd name="connsiteX5" fmla="*/ 9070 w 9535"/>
                <a:gd name="connsiteY5" fmla="*/ 1060 h 9662"/>
                <a:gd name="connsiteX6" fmla="*/ 9107 w 9535"/>
                <a:gd name="connsiteY6" fmla="*/ 1608 h 9662"/>
                <a:gd name="connsiteX7" fmla="*/ 9340 w 9535"/>
                <a:gd name="connsiteY7" fmla="*/ 2542 h 9662"/>
                <a:gd name="connsiteX8" fmla="*/ 9535 w 9535"/>
                <a:gd name="connsiteY8" fmla="*/ 2711 h 9662"/>
                <a:gd name="connsiteX9" fmla="*/ 9418 w 9535"/>
                <a:gd name="connsiteY9" fmla="*/ 3052 h 9662"/>
                <a:gd name="connsiteX10" fmla="*/ 8523 w 9535"/>
                <a:gd name="connsiteY10" fmla="*/ 3221 h 9662"/>
                <a:gd name="connsiteX11" fmla="*/ 8211 w 9535"/>
                <a:gd name="connsiteY11" fmla="*/ 3559 h 9662"/>
                <a:gd name="connsiteX12" fmla="*/ 7783 w 9535"/>
                <a:gd name="connsiteY12" fmla="*/ 3601 h 9662"/>
                <a:gd name="connsiteX13" fmla="*/ 7783 w 9535"/>
                <a:gd name="connsiteY13" fmla="*/ 4280 h 9662"/>
                <a:gd name="connsiteX14" fmla="*/ 6967 w 9535"/>
                <a:gd name="connsiteY14" fmla="*/ 4620 h 9662"/>
                <a:gd name="connsiteX15" fmla="*/ 6693 w 9535"/>
                <a:gd name="connsiteY15" fmla="*/ 5043 h 9662"/>
                <a:gd name="connsiteX16" fmla="*/ 6150 w 9535"/>
                <a:gd name="connsiteY16" fmla="*/ 5298 h 9662"/>
                <a:gd name="connsiteX17" fmla="*/ 5448 w 9535"/>
                <a:gd name="connsiteY17" fmla="*/ 5424 h 9662"/>
                <a:gd name="connsiteX18" fmla="*/ 4321 w 9535"/>
                <a:gd name="connsiteY18" fmla="*/ 6059 h 9662"/>
                <a:gd name="connsiteX19" fmla="*/ 4321 w 9535"/>
                <a:gd name="connsiteY19" fmla="*/ 7120 h 9662"/>
                <a:gd name="connsiteX20" fmla="*/ 4203 w 9535"/>
                <a:gd name="connsiteY20" fmla="*/ 7120 h 9662"/>
                <a:gd name="connsiteX21" fmla="*/ 4203 w 9535"/>
                <a:gd name="connsiteY21" fmla="*/ 7120 h 9662"/>
                <a:gd name="connsiteX22" fmla="*/ 4203 w 9535"/>
                <a:gd name="connsiteY22" fmla="*/ 7586 h 9662"/>
                <a:gd name="connsiteX23" fmla="*/ 3776 w 9535"/>
                <a:gd name="connsiteY23" fmla="*/ 7627 h 9662"/>
                <a:gd name="connsiteX24" fmla="*/ 3542 w 9535"/>
                <a:gd name="connsiteY24" fmla="*/ 7798 h 9662"/>
                <a:gd name="connsiteX25" fmla="*/ 3231 w 9535"/>
                <a:gd name="connsiteY25" fmla="*/ 7798 h 9662"/>
                <a:gd name="connsiteX26" fmla="*/ 2997 w 9535"/>
                <a:gd name="connsiteY26" fmla="*/ 7712 h 9662"/>
                <a:gd name="connsiteX27" fmla="*/ 2415 w 9535"/>
                <a:gd name="connsiteY27" fmla="*/ 7798 h 9662"/>
                <a:gd name="connsiteX28" fmla="*/ 2181 w 9535"/>
                <a:gd name="connsiteY28" fmla="*/ 8475 h 9662"/>
                <a:gd name="connsiteX29" fmla="*/ 1947 w 9535"/>
                <a:gd name="connsiteY29" fmla="*/ 8561 h 9662"/>
                <a:gd name="connsiteX30" fmla="*/ 1596 w 9535"/>
                <a:gd name="connsiteY30" fmla="*/ 9662 h 9662"/>
                <a:gd name="connsiteX31" fmla="*/ 0 w 9535"/>
                <a:gd name="connsiteY31" fmla="*/ 9365 h 9662"/>
                <a:gd name="connsiteX32" fmla="*/ 0 w 9535"/>
                <a:gd name="connsiteY32" fmla="*/ 8899 h 9662"/>
                <a:gd name="connsiteX33" fmla="*/ 274 w 9535"/>
                <a:gd name="connsiteY33" fmla="*/ 8348 h 9662"/>
                <a:gd name="connsiteX34" fmla="*/ 739 w 9535"/>
                <a:gd name="connsiteY34" fmla="*/ 8008 h 9662"/>
                <a:gd name="connsiteX35" fmla="*/ 1209 w 9535"/>
                <a:gd name="connsiteY35" fmla="*/ 7120 h 9662"/>
                <a:gd name="connsiteX36" fmla="*/ 1246 w 9535"/>
                <a:gd name="connsiteY36" fmla="*/ 7120 h 9662"/>
                <a:gd name="connsiteX37" fmla="*/ 1596 w 9535"/>
                <a:gd name="connsiteY37" fmla="*/ 6779 h 9662"/>
                <a:gd name="connsiteX38" fmla="*/ 2220 w 9535"/>
                <a:gd name="connsiteY38" fmla="*/ 6695 h 9662"/>
                <a:gd name="connsiteX39" fmla="*/ 2803 w 9535"/>
                <a:gd name="connsiteY39" fmla="*/ 6101 h 9662"/>
                <a:gd name="connsiteX40" fmla="*/ 3154 w 9535"/>
                <a:gd name="connsiteY40" fmla="*/ 5847 h 9662"/>
                <a:gd name="connsiteX41" fmla="*/ 3737 w 9535"/>
                <a:gd name="connsiteY41" fmla="*/ 5127 h 9662"/>
                <a:gd name="connsiteX42" fmla="*/ 3581 w 9535"/>
                <a:gd name="connsiteY42" fmla="*/ 4026 h 9662"/>
                <a:gd name="connsiteX43" fmla="*/ 3854 w 9535"/>
                <a:gd name="connsiteY43" fmla="*/ 3263 h 9662"/>
                <a:gd name="connsiteX44" fmla="*/ 3969 w 9535"/>
                <a:gd name="connsiteY44" fmla="*/ 2796 h 9662"/>
                <a:gd name="connsiteX45" fmla="*/ 4438 w 9535"/>
                <a:gd name="connsiteY45" fmla="*/ 2203 h 9662"/>
                <a:gd name="connsiteX46" fmla="*/ 5100 w 9535"/>
                <a:gd name="connsiteY46" fmla="*/ 1823 h 9662"/>
                <a:gd name="connsiteX47" fmla="*/ 5606 w 9535"/>
                <a:gd name="connsiteY47" fmla="*/ 1440 h 9662"/>
                <a:gd name="connsiteX48" fmla="*/ 6072 w 9535"/>
                <a:gd name="connsiteY48" fmla="*/ 553 h 9662"/>
                <a:gd name="connsiteX49" fmla="*/ 6305 w 9535"/>
                <a:gd name="connsiteY49" fmla="*/ 0 h 9662"/>
                <a:gd name="connsiteX50" fmla="*/ 6811 w 9535"/>
                <a:gd name="connsiteY50" fmla="*/ 0 h 9662"/>
                <a:gd name="connsiteX0" fmla="*/ 7143 w 10000"/>
                <a:gd name="connsiteY0" fmla="*/ 0 h 9693"/>
                <a:gd name="connsiteX1" fmla="*/ 7550 w 10000"/>
                <a:gd name="connsiteY1" fmla="*/ 392 h 9693"/>
                <a:gd name="connsiteX2" fmla="*/ 8245 w 10000"/>
                <a:gd name="connsiteY2" fmla="*/ 307 h 9693"/>
                <a:gd name="connsiteX3" fmla="*/ 8939 w 10000"/>
                <a:gd name="connsiteY3" fmla="*/ 526 h 9693"/>
                <a:gd name="connsiteX4" fmla="*/ 9266 w 10000"/>
                <a:gd name="connsiteY4" fmla="*/ 526 h 9693"/>
                <a:gd name="connsiteX5" fmla="*/ 9512 w 10000"/>
                <a:gd name="connsiteY5" fmla="*/ 1097 h 9693"/>
                <a:gd name="connsiteX6" fmla="*/ 9551 w 10000"/>
                <a:gd name="connsiteY6" fmla="*/ 1664 h 9693"/>
                <a:gd name="connsiteX7" fmla="*/ 9795 w 10000"/>
                <a:gd name="connsiteY7" fmla="*/ 2631 h 9693"/>
                <a:gd name="connsiteX8" fmla="*/ 10000 w 10000"/>
                <a:gd name="connsiteY8" fmla="*/ 2806 h 9693"/>
                <a:gd name="connsiteX9" fmla="*/ 9877 w 10000"/>
                <a:gd name="connsiteY9" fmla="*/ 3159 h 9693"/>
                <a:gd name="connsiteX10" fmla="*/ 8939 w 10000"/>
                <a:gd name="connsiteY10" fmla="*/ 3334 h 9693"/>
                <a:gd name="connsiteX11" fmla="*/ 8611 w 10000"/>
                <a:gd name="connsiteY11" fmla="*/ 3684 h 9693"/>
                <a:gd name="connsiteX12" fmla="*/ 8163 w 10000"/>
                <a:gd name="connsiteY12" fmla="*/ 3727 h 9693"/>
                <a:gd name="connsiteX13" fmla="*/ 8163 w 10000"/>
                <a:gd name="connsiteY13" fmla="*/ 4430 h 9693"/>
                <a:gd name="connsiteX14" fmla="*/ 7307 w 10000"/>
                <a:gd name="connsiteY14" fmla="*/ 4782 h 9693"/>
                <a:gd name="connsiteX15" fmla="*/ 7019 w 10000"/>
                <a:gd name="connsiteY15" fmla="*/ 5219 h 9693"/>
                <a:gd name="connsiteX16" fmla="*/ 6450 w 10000"/>
                <a:gd name="connsiteY16" fmla="*/ 5483 h 9693"/>
                <a:gd name="connsiteX17" fmla="*/ 5714 w 10000"/>
                <a:gd name="connsiteY17" fmla="*/ 5614 h 9693"/>
                <a:gd name="connsiteX18" fmla="*/ 4532 w 10000"/>
                <a:gd name="connsiteY18" fmla="*/ 6271 h 9693"/>
                <a:gd name="connsiteX19" fmla="*/ 4532 w 10000"/>
                <a:gd name="connsiteY19" fmla="*/ 7369 h 9693"/>
                <a:gd name="connsiteX20" fmla="*/ 4408 w 10000"/>
                <a:gd name="connsiteY20" fmla="*/ 7369 h 9693"/>
                <a:gd name="connsiteX21" fmla="*/ 4408 w 10000"/>
                <a:gd name="connsiteY21" fmla="*/ 7369 h 9693"/>
                <a:gd name="connsiteX22" fmla="*/ 4408 w 10000"/>
                <a:gd name="connsiteY22" fmla="*/ 7851 h 9693"/>
                <a:gd name="connsiteX23" fmla="*/ 3960 w 10000"/>
                <a:gd name="connsiteY23" fmla="*/ 7894 h 9693"/>
                <a:gd name="connsiteX24" fmla="*/ 3715 w 10000"/>
                <a:gd name="connsiteY24" fmla="*/ 8071 h 9693"/>
                <a:gd name="connsiteX25" fmla="*/ 3389 w 10000"/>
                <a:gd name="connsiteY25" fmla="*/ 8071 h 9693"/>
                <a:gd name="connsiteX26" fmla="*/ 3143 w 10000"/>
                <a:gd name="connsiteY26" fmla="*/ 7982 h 9693"/>
                <a:gd name="connsiteX27" fmla="*/ 2533 w 10000"/>
                <a:gd name="connsiteY27" fmla="*/ 8071 h 9693"/>
                <a:gd name="connsiteX28" fmla="*/ 2287 w 10000"/>
                <a:gd name="connsiteY28" fmla="*/ 8771 h 9693"/>
                <a:gd name="connsiteX29" fmla="*/ 2042 w 10000"/>
                <a:gd name="connsiteY29" fmla="*/ 8860 h 9693"/>
                <a:gd name="connsiteX30" fmla="*/ 0 w 10000"/>
                <a:gd name="connsiteY30" fmla="*/ 9693 h 9693"/>
                <a:gd name="connsiteX31" fmla="*/ 0 w 10000"/>
                <a:gd name="connsiteY31" fmla="*/ 9210 h 9693"/>
                <a:gd name="connsiteX32" fmla="*/ 287 w 10000"/>
                <a:gd name="connsiteY32" fmla="*/ 8640 h 9693"/>
                <a:gd name="connsiteX33" fmla="*/ 775 w 10000"/>
                <a:gd name="connsiteY33" fmla="*/ 8288 h 9693"/>
                <a:gd name="connsiteX34" fmla="*/ 1268 w 10000"/>
                <a:gd name="connsiteY34" fmla="*/ 7369 h 9693"/>
                <a:gd name="connsiteX35" fmla="*/ 1307 w 10000"/>
                <a:gd name="connsiteY35" fmla="*/ 7369 h 9693"/>
                <a:gd name="connsiteX36" fmla="*/ 1674 w 10000"/>
                <a:gd name="connsiteY36" fmla="*/ 7016 h 9693"/>
                <a:gd name="connsiteX37" fmla="*/ 2328 w 10000"/>
                <a:gd name="connsiteY37" fmla="*/ 6929 h 9693"/>
                <a:gd name="connsiteX38" fmla="*/ 2940 w 10000"/>
                <a:gd name="connsiteY38" fmla="*/ 6314 h 9693"/>
                <a:gd name="connsiteX39" fmla="*/ 3308 w 10000"/>
                <a:gd name="connsiteY39" fmla="*/ 6052 h 9693"/>
                <a:gd name="connsiteX40" fmla="*/ 3919 w 10000"/>
                <a:gd name="connsiteY40" fmla="*/ 5306 h 9693"/>
                <a:gd name="connsiteX41" fmla="*/ 3756 w 10000"/>
                <a:gd name="connsiteY41" fmla="*/ 4167 h 9693"/>
                <a:gd name="connsiteX42" fmla="*/ 4042 w 10000"/>
                <a:gd name="connsiteY42" fmla="*/ 3377 h 9693"/>
                <a:gd name="connsiteX43" fmla="*/ 4163 w 10000"/>
                <a:gd name="connsiteY43" fmla="*/ 2894 h 9693"/>
                <a:gd name="connsiteX44" fmla="*/ 4654 w 10000"/>
                <a:gd name="connsiteY44" fmla="*/ 2280 h 9693"/>
                <a:gd name="connsiteX45" fmla="*/ 5349 w 10000"/>
                <a:gd name="connsiteY45" fmla="*/ 1887 h 9693"/>
                <a:gd name="connsiteX46" fmla="*/ 5879 w 10000"/>
                <a:gd name="connsiteY46" fmla="*/ 1490 h 9693"/>
                <a:gd name="connsiteX47" fmla="*/ 6368 w 10000"/>
                <a:gd name="connsiteY47" fmla="*/ 572 h 9693"/>
                <a:gd name="connsiteX48" fmla="*/ 6612 w 10000"/>
                <a:gd name="connsiteY48" fmla="*/ 0 h 9693"/>
                <a:gd name="connsiteX49" fmla="*/ 7143 w 10000"/>
                <a:gd name="connsiteY49" fmla="*/ 0 h 9693"/>
                <a:gd name="connsiteX0" fmla="*/ 7143 w 10000"/>
                <a:gd name="connsiteY0" fmla="*/ 0 h 9502"/>
                <a:gd name="connsiteX1" fmla="*/ 7550 w 10000"/>
                <a:gd name="connsiteY1" fmla="*/ 404 h 9502"/>
                <a:gd name="connsiteX2" fmla="*/ 8245 w 10000"/>
                <a:gd name="connsiteY2" fmla="*/ 317 h 9502"/>
                <a:gd name="connsiteX3" fmla="*/ 8939 w 10000"/>
                <a:gd name="connsiteY3" fmla="*/ 543 h 9502"/>
                <a:gd name="connsiteX4" fmla="*/ 9266 w 10000"/>
                <a:gd name="connsiteY4" fmla="*/ 543 h 9502"/>
                <a:gd name="connsiteX5" fmla="*/ 9512 w 10000"/>
                <a:gd name="connsiteY5" fmla="*/ 1132 h 9502"/>
                <a:gd name="connsiteX6" fmla="*/ 9551 w 10000"/>
                <a:gd name="connsiteY6" fmla="*/ 1717 h 9502"/>
                <a:gd name="connsiteX7" fmla="*/ 9795 w 10000"/>
                <a:gd name="connsiteY7" fmla="*/ 2714 h 9502"/>
                <a:gd name="connsiteX8" fmla="*/ 10000 w 10000"/>
                <a:gd name="connsiteY8" fmla="*/ 2895 h 9502"/>
                <a:gd name="connsiteX9" fmla="*/ 9877 w 10000"/>
                <a:gd name="connsiteY9" fmla="*/ 3259 h 9502"/>
                <a:gd name="connsiteX10" fmla="*/ 8939 w 10000"/>
                <a:gd name="connsiteY10" fmla="*/ 3440 h 9502"/>
                <a:gd name="connsiteX11" fmla="*/ 8611 w 10000"/>
                <a:gd name="connsiteY11" fmla="*/ 3801 h 9502"/>
                <a:gd name="connsiteX12" fmla="*/ 8163 w 10000"/>
                <a:gd name="connsiteY12" fmla="*/ 3845 h 9502"/>
                <a:gd name="connsiteX13" fmla="*/ 8163 w 10000"/>
                <a:gd name="connsiteY13" fmla="*/ 4570 h 9502"/>
                <a:gd name="connsiteX14" fmla="*/ 7307 w 10000"/>
                <a:gd name="connsiteY14" fmla="*/ 4933 h 9502"/>
                <a:gd name="connsiteX15" fmla="*/ 7019 w 10000"/>
                <a:gd name="connsiteY15" fmla="*/ 5384 h 9502"/>
                <a:gd name="connsiteX16" fmla="*/ 6450 w 10000"/>
                <a:gd name="connsiteY16" fmla="*/ 5657 h 9502"/>
                <a:gd name="connsiteX17" fmla="*/ 5714 w 10000"/>
                <a:gd name="connsiteY17" fmla="*/ 5792 h 9502"/>
                <a:gd name="connsiteX18" fmla="*/ 4532 w 10000"/>
                <a:gd name="connsiteY18" fmla="*/ 6470 h 9502"/>
                <a:gd name="connsiteX19" fmla="*/ 4532 w 10000"/>
                <a:gd name="connsiteY19" fmla="*/ 7602 h 9502"/>
                <a:gd name="connsiteX20" fmla="*/ 4408 w 10000"/>
                <a:gd name="connsiteY20" fmla="*/ 7602 h 9502"/>
                <a:gd name="connsiteX21" fmla="*/ 4408 w 10000"/>
                <a:gd name="connsiteY21" fmla="*/ 7602 h 9502"/>
                <a:gd name="connsiteX22" fmla="*/ 4408 w 10000"/>
                <a:gd name="connsiteY22" fmla="*/ 8100 h 9502"/>
                <a:gd name="connsiteX23" fmla="*/ 3960 w 10000"/>
                <a:gd name="connsiteY23" fmla="*/ 8144 h 9502"/>
                <a:gd name="connsiteX24" fmla="*/ 3715 w 10000"/>
                <a:gd name="connsiteY24" fmla="*/ 8327 h 9502"/>
                <a:gd name="connsiteX25" fmla="*/ 3389 w 10000"/>
                <a:gd name="connsiteY25" fmla="*/ 8327 h 9502"/>
                <a:gd name="connsiteX26" fmla="*/ 3143 w 10000"/>
                <a:gd name="connsiteY26" fmla="*/ 8235 h 9502"/>
                <a:gd name="connsiteX27" fmla="*/ 2533 w 10000"/>
                <a:gd name="connsiteY27" fmla="*/ 8327 h 9502"/>
                <a:gd name="connsiteX28" fmla="*/ 2287 w 10000"/>
                <a:gd name="connsiteY28" fmla="*/ 9049 h 9502"/>
                <a:gd name="connsiteX29" fmla="*/ 2042 w 10000"/>
                <a:gd name="connsiteY29" fmla="*/ 9141 h 9502"/>
                <a:gd name="connsiteX30" fmla="*/ 0 w 10000"/>
                <a:gd name="connsiteY30" fmla="*/ 9502 h 9502"/>
                <a:gd name="connsiteX31" fmla="*/ 287 w 10000"/>
                <a:gd name="connsiteY31" fmla="*/ 8914 h 9502"/>
                <a:gd name="connsiteX32" fmla="*/ 775 w 10000"/>
                <a:gd name="connsiteY32" fmla="*/ 8551 h 9502"/>
                <a:gd name="connsiteX33" fmla="*/ 1268 w 10000"/>
                <a:gd name="connsiteY33" fmla="*/ 7602 h 9502"/>
                <a:gd name="connsiteX34" fmla="*/ 1307 w 10000"/>
                <a:gd name="connsiteY34" fmla="*/ 7602 h 9502"/>
                <a:gd name="connsiteX35" fmla="*/ 1674 w 10000"/>
                <a:gd name="connsiteY35" fmla="*/ 7238 h 9502"/>
                <a:gd name="connsiteX36" fmla="*/ 2328 w 10000"/>
                <a:gd name="connsiteY36" fmla="*/ 7148 h 9502"/>
                <a:gd name="connsiteX37" fmla="*/ 2940 w 10000"/>
                <a:gd name="connsiteY37" fmla="*/ 6514 h 9502"/>
                <a:gd name="connsiteX38" fmla="*/ 3308 w 10000"/>
                <a:gd name="connsiteY38" fmla="*/ 6244 h 9502"/>
                <a:gd name="connsiteX39" fmla="*/ 3919 w 10000"/>
                <a:gd name="connsiteY39" fmla="*/ 5474 h 9502"/>
                <a:gd name="connsiteX40" fmla="*/ 3756 w 10000"/>
                <a:gd name="connsiteY40" fmla="*/ 4299 h 9502"/>
                <a:gd name="connsiteX41" fmla="*/ 4042 w 10000"/>
                <a:gd name="connsiteY41" fmla="*/ 3484 h 9502"/>
                <a:gd name="connsiteX42" fmla="*/ 4163 w 10000"/>
                <a:gd name="connsiteY42" fmla="*/ 2986 h 9502"/>
                <a:gd name="connsiteX43" fmla="*/ 4654 w 10000"/>
                <a:gd name="connsiteY43" fmla="*/ 2352 h 9502"/>
                <a:gd name="connsiteX44" fmla="*/ 5349 w 10000"/>
                <a:gd name="connsiteY44" fmla="*/ 1947 h 9502"/>
                <a:gd name="connsiteX45" fmla="*/ 5879 w 10000"/>
                <a:gd name="connsiteY45" fmla="*/ 1537 h 9502"/>
                <a:gd name="connsiteX46" fmla="*/ 6368 w 10000"/>
                <a:gd name="connsiteY46" fmla="*/ 590 h 9502"/>
                <a:gd name="connsiteX47" fmla="*/ 6612 w 10000"/>
                <a:gd name="connsiteY47" fmla="*/ 0 h 9502"/>
                <a:gd name="connsiteX48" fmla="*/ 7143 w 10000"/>
                <a:gd name="connsiteY48" fmla="*/ 0 h 9502"/>
                <a:gd name="connsiteX0" fmla="*/ 6856 w 9713"/>
                <a:gd name="connsiteY0" fmla="*/ 0 h 9620"/>
                <a:gd name="connsiteX1" fmla="*/ 7263 w 9713"/>
                <a:gd name="connsiteY1" fmla="*/ 425 h 9620"/>
                <a:gd name="connsiteX2" fmla="*/ 7958 w 9713"/>
                <a:gd name="connsiteY2" fmla="*/ 334 h 9620"/>
                <a:gd name="connsiteX3" fmla="*/ 8652 w 9713"/>
                <a:gd name="connsiteY3" fmla="*/ 571 h 9620"/>
                <a:gd name="connsiteX4" fmla="*/ 8979 w 9713"/>
                <a:gd name="connsiteY4" fmla="*/ 571 h 9620"/>
                <a:gd name="connsiteX5" fmla="*/ 9225 w 9713"/>
                <a:gd name="connsiteY5" fmla="*/ 1191 h 9620"/>
                <a:gd name="connsiteX6" fmla="*/ 9264 w 9713"/>
                <a:gd name="connsiteY6" fmla="*/ 1807 h 9620"/>
                <a:gd name="connsiteX7" fmla="*/ 9508 w 9713"/>
                <a:gd name="connsiteY7" fmla="*/ 2856 h 9620"/>
                <a:gd name="connsiteX8" fmla="*/ 9713 w 9713"/>
                <a:gd name="connsiteY8" fmla="*/ 3047 h 9620"/>
                <a:gd name="connsiteX9" fmla="*/ 9590 w 9713"/>
                <a:gd name="connsiteY9" fmla="*/ 3430 h 9620"/>
                <a:gd name="connsiteX10" fmla="*/ 8652 w 9713"/>
                <a:gd name="connsiteY10" fmla="*/ 3620 h 9620"/>
                <a:gd name="connsiteX11" fmla="*/ 8324 w 9713"/>
                <a:gd name="connsiteY11" fmla="*/ 4000 h 9620"/>
                <a:gd name="connsiteX12" fmla="*/ 7876 w 9713"/>
                <a:gd name="connsiteY12" fmla="*/ 4047 h 9620"/>
                <a:gd name="connsiteX13" fmla="*/ 7876 w 9713"/>
                <a:gd name="connsiteY13" fmla="*/ 4810 h 9620"/>
                <a:gd name="connsiteX14" fmla="*/ 7020 w 9713"/>
                <a:gd name="connsiteY14" fmla="*/ 5192 h 9620"/>
                <a:gd name="connsiteX15" fmla="*/ 6732 w 9713"/>
                <a:gd name="connsiteY15" fmla="*/ 5666 h 9620"/>
                <a:gd name="connsiteX16" fmla="*/ 6163 w 9713"/>
                <a:gd name="connsiteY16" fmla="*/ 5953 h 9620"/>
                <a:gd name="connsiteX17" fmla="*/ 5427 w 9713"/>
                <a:gd name="connsiteY17" fmla="*/ 6096 h 9620"/>
                <a:gd name="connsiteX18" fmla="*/ 4245 w 9713"/>
                <a:gd name="connsiteY18" fmla="*/ 6809 h 9620"/>
                <a:gd name="connsiteX19" fmla="*/ 4245 w 9713"/>
                <a:gd name="connsiteY19" fmla="*/ 8000 h 9620"/>
                <a:gd name="connsiteX20" fmla="*/ 4121 w 9713"/>
                <a:gd name="connsiteY20" fmla="*/ 8000 h 9620"/>
                <a:gd name="connsiteX21" fmla="*/ 4121 w 9713"/>
                <a:gd name="connsiteY21" fmla="*/ 8000 h 9620"/>
                <a:gd name="connsiteX22" fmla="*/ 4121 w 9713"/>
                <a:gd name="connsiteY22" fmla="*/ 8525 h 9620"/>
                <a:gd name="connsiteX23" fmla="*/ 3673 w 9713"/>
                <a:gd name="connsiteY23" fmla="*/ 8571 h 9620"/>
                <a:gd name="connsiteX24" fmla="*/ 3428 w 9713"/>
                <a:gd name="connsiteY24" fmla="*/ 8763 h 9620"/>
                <a:gd name="connsiteX25" fmla="*/ 3102 w 9713"/>
                <a:gd name="connsiteY25" fmla="*/ 8763 h 9620"/>
                <a:gd name="connsiteX26" fmla="*/ 2856 w 9713"/>
                <a:gd name="connsiteY26" fmla="*/ 8667 h 9620"/>
                <a:gd name="connsiteX27" fmla="*/ 2246 w 9713"/>
                <a:gd name="connsiteY27" fmla="*/ 8763 h 9620"/>
                <a:gd name="connsiteX28" fmla="*/ 2000 w 9713"/>
                <a:gd name="connsiteY28" fmla="*/ 9523 h 9620"/>
                <a:gd name="connsiteX29" fmla="*/ 1755 w 9713"/>
                <a:gd name="connsiteY29" fmla="*/ 9620 h 9620"/>
                <a:gd name="connsiteX30" fmla="*/ 0 w 9713"/>
                <a:gd name="connsiteY30" fmla="*/ 9381 h 9620"/>
                <a:gd name="connsiteX31" fmla="*/ 488 w 9713"/>
                <a:gd name="connsiteY31" fmla="*/ 8999 h 9620"/>
                <a:gd name="connsiteX32" fmla="*/ 981 w 9713"/>
                <a:gd name="connsiteY32" fmla="*/ 8000 h 9620"/>
                <a:gd name="connsiteX33" fmla="*/ 1020 w 9713"/>
                <a:gd name="connsiteY33" fmla="*/ 8000 h 9620"/>
                <a:gd name="connsiteX34" fmla="*/ 1387 w 9713"/>
                <a:gd name="connsiteY34" fmla="*/ 7617 h 9620"/>
                <a:gd name="connsiteX35" fmla="*/ 2041 w 9713"/>
                <a:gd name="connsiteY35" fmla="*/ 7523 h 9620"/>
                <a:gd name="connsiteX36" fmla="*/ 2653 w 9713"/>
                <a:gd name="connsiteY36" fmla="*/ 6855 h 9620"/>
                <a:gd name="connsiteX37" fmla="*/ 3021 w 9713"/>
                <a:gd name="connsiteY37" fmla="*/ 6571 h 9620"/>
                <a:gd name="connsiteX38" fmla="*/ 3632 w 9713"/>
                <a:gd name="connsiteY38" fmla="*/ 5761 h 9620"/>
                <a:gd name="connsiteX39" fmla="*/ 3469 w 9713"/>
                <a:gd name="connsiteY39" fmla="*/ 4524 h 9620"/>
                <a:gd name="connsiteX40" fmla="*/ 3755 w 9713"/>
                <a:gd name="connsiteY40" fmla="*/ 3667 h 9620"/>
                <a:gd name="connsiteX41" fmla="*/ 3876 w 9713"/>
                <a:gd name="connsiteY41" fmla="*/ 3142 h 9620"/>
                <a:gd name="connsiteX42" fmla="*/ 4367 w 9713"/>
                <a:gd name="connsiteY42" fmla="*/ 2475 h 9620"/>
                <a:gd name="connsiteX43" fmla="*/ 5062 w 9713"/>
                <a:gd name="connsiteY43" fmla="*/ 2049 h 9620"/>
                <a:gd name="connsiteX44" fmla="*/ 5592 w 9713"/>
                <a:gd name="connsiteY44" fmla="*/ 1618 h 9620"/>
                <a:gd name="connsiteX45" fmla="*/ 6081 w 9713"/>
                <a:gd name="connsiteY45" fmla="*/ 621 h 9620"/>
                <a:gd name="connsiteX46" fmla="*/ 6325 w 9713"/>
                <a:gd name="connsiteY46" fmla="*/ 0 h 9620"/>
                <a:gd name="connsiteX47" fmla="*/ 6856 w 9713"/>
                <a:gd name="connsiteY47" fmla="*/ 0 h 9620"/>
                <a:gd name="connsiteX0" fmla="*/ 6557 w 9498"/>
                <a:gd name="connsiteY0" fmla="*/ 0 h 10000"/>
                <a:gd name="connsiteX1" fmla="*/ 6976 w 9498"/>
                <a:gd name="connsiteY1" fmla="*/ 442 h 10000"/>
                <a:gd name="connsiteX2" fmla="*/ 7691 w 9498"/>
                <a:gd name="connsiteY2" fmla="*/ 347 h 10000"/>
                <a:gd name="connsiteX3" fmla="*/ 8406 w 9498"/>
                <a:gd name="connsiteY3" fmla="*/ 594 h 10000"/>
                <a:gd name="connsiteX4" fmla="*/ 8742 w 9498"/>
                <a:gd name="connsiteY4" fmla="*/ 594 h 10000"/>
                <a:gd name="connsiteX5" fmla="*/ 8996 w 9498"/>
                <a:gd name="connsiteY5" fmla="*/ 1238 h 10000"/>
                <a:gd name="connsiteX6" fmla="*/ 9036 w 9498"/>
                <a:gd name="connsiteY6" fmla="*/ 1878 h 10000"/>
                <a:gd name="connsiteX7" fmla="*/ 9287 w 9498"/>
                <a:gd name="connsiteY7" fmla="*/ 2969 h 10000"/>
                <a:gd name="connsiteX8" fmla="*/ 9498 w 9498"/>
                <a:gd name="connsiteY8" fmla="*/ 3167 h 10000"/>
                <a:gd name="connsiteX9" fmla="*/ 9371 w 9498"/>
                <a:gd name="connsiteY9" fmla="*/ 3565 h 10000"/>
                <a:gd name="connsiteX10" fmla="*/ 8406 w 9498"/>
                <a:gd name="connsiteY10" fmla="*/ 3763 h 10000"/>
                <a:gd name="connsiteX11" fmla="*/ 8068 w 9498"/>
                <a:gd name="connsiteY11" fmla="*/ 4158 h 10000"/>
                <a:gd name="connsiteX12" fmla="*/ 7607 w 9498"/>
                <a:gd name="connsiteY12" fmla="*/ 4207 h 10000"/>
                <a:gd name="connsiteX13" fmla="*/ 7607 w 9498"/>
                <a:gd name="connsiteY13" fmla="*/ 5000 h 10000"/>
                <a:gd name="connsiteX14" fmla="*/ 6725 w 9498"/>
                <a:gd name="connsiteY14" fmla="*/ 5397 h 10000"/>
                <a:gd name="connsiteX15" fmla="*/ 6429 w 9498"/>
                <a:gd name="connsiteY15" fmla="*/ 5890 h 10000"/>
                <a:gd name="connsiteX16" fmla="*/ 5843 w 9498"/>
                <a:gd name="connsiteY16" fmla="*/ 6188 h 10000"/>
                <a:gd name="connsiteX17" fmla="*/ 5085 w 9498"/>
                <a:gd name="connsiteY17" fmla="*/ 6337 h 10000"/>
                <a:gd name="connsiteX18" fmla="*/ 3868 w 9498"/>
                <a:gd name="connsiteY18" fmla="*/ 7078 h 10000"/>
                <a:gd name="connsiteX19" fmla="*/ 3868 w 9498"/>
                <a:gd name="connsiteY19" fmla="*/ 8316 h 10000"/>
                <a:gd name="connsiteX20" fmla="*/ 3741 w 9498"/>
                <a:gd name="connsiteY20" fmla="*/ 8316 h 10000"/>
                <a:gd name="connsiteX21" fmla="*/ 3741 w 9498"/>
                <a:gd name="connsiteY21" fmla="*/ 8316 h 10000"/>
                <a:gd name="connsiteX22" fmla="*/ 3741 w 9498"/>
                <a:gd name="connsiteY22" fmla="*/ 8862 h 10000"/>
                <a:gd name="connsiteX23" fmla="*/ 3280 w 9498"/>
                <a:gd name="connsiteY23" fmla="*/ 8910 h 10000"/>
                <a:gd name="connsiteX24" fmla="*/ 3027 w 9498"/>
                <a:gd name="connsiteY24" fmla="*/ 9109 h 10000"/>
                <a:gd name="connsiteX25" fmla="*/ 2692 w 9498"/>
                <a:gd name="connsiteY25" fmla="*/ 9109 h 10000"/>
                <a:gd name="connsiteX26" fmla="*/ 2438 w 9498"/>
                <a:gd name="connsiteY26" fmla="*/ 9009 h 10000"/>
                <a:gd name="connsiteX27" fmla="*/ 1810 w 9498"/>
                <a:gd name="connsiteY27" fmla="*/ 9109 h 10000"/>
                <a:gd name="connsiteX28" fmla="*/ 1557 w 9498"/>
                <a:gd name="connsiteY28" fmla="*/ 9899 h 10000"/>
                <a:gd name="connsiteX29" fmla="*/ 1305 w 9498"/>
                <a:gd name="connsiteY29" fmla="*/ 10000 h 10000"/>
                <a:gd name="connsiteX30" fmla="*/ 0 w 9498"/>
                <a:gd name="connsiteY30" fmla="*/ 9354 h 10000"/>
                <a:gd name="connsiteX31" fmla="*/ 508 w 9498"/>
                <a:gd name="connsiteY31" fmla="*/ 8316 h 10000"/>
                <a:gd name="connsiteX32" fmla="*/ 548 w 9498"/>
                <a:gd name="connsiteY32" fmla="*/ 8316 h 10000"/>
                <a:gd name="connsiteX33" fmla="*/ 926 w 9498"/>
                <a:gd name="connsiteY33" fmla="*/ 7918 h 10000"/>
                <a:gd name="connsiteX34" fmla="*/ 1599 w 9498"/>
                <a:gd name="connsiteY34" fmla="*/ 7820 h 10000"/>
                <a:gd name="connsiteX35" fmla="*/ 2229 w 9498"/>
                <a:gd name="connsiteY35" fmla="*/ 7126 h 10000"/>
                <a:gd name="connsiteX36" fmla="*/ 2608 w 9498"/>
                <a:gd name="connsiteY36" fmla="*/ 6831 h 10000"/>
                <a:gd name="connsiteX37" fmla="*/ 3237 w 9498"/>
                <a:gd name="connsiteY37" fmla="*/ 5989 h 10000"/>
                <a:gd name="connsiteX38" fmla="*/ 3070 w 9498"/>
                <a:gd name="connsiteY38" fmla="*/ 4703 h 10000"/>
                <a:gd name="connsiteX39" fmla="*/ 3364 w 9498"/>
                <a:gd name="connsiteY39" fmla="*/ 3812 h 10000"/>
                <a:gd name="connsiteX40" fmla="*/ 3489 w 9498"/>
                <a:gd name="connsiteY40" fmla="*/ 3266 h 10000"/>
                <a:gd name="connsiteX41" fmla="*/ 3994 w 9498"/>
                <a:gd name="connsiteY41" fmla="*/ 2573 h 10000"/>
                <a:gd name="connsiteX42" fmla="*/ 4710 w 9498"/>
                <a:gd name="connsiteY42" fmla="*/ 2130 h 10000"/>
                <a:gd name="connsiteX43" fmla="*/ 5255 w 9498"/>
                <a:gd name="connsiteY43" fmla="*/ 1682 h 10000"/>
                <a:gd name="connsiteX44" fmla="*/ 5759 w 9498"/>
                <a:gd name="connsiteY44" fmla="*/ 646 h 10000"/>
                <a:gd name="connsiteX45" fmla="*/ 6010 w 9498"/>
                <a:gd name="connsiteY45" fmla="*/ 0 h 10000"/>
                <a:gd name="connsiteX46" fmla="*/ 6557 w 9498"/>
                <a:gd name="connsiteY46" fmla="*/ 0 h 10000"/>
                <a:gd name="connsiteX0" fmla="*/ 6904 w 10000"/>
                <a:gd name="connsiteY0" fmla="*/ 0 h 9899"/>
                <a:gd name="connsiteX1" fmla="*/ 7345 w 10000"/>
                <a:gd name="connsiteY1" fmla="*/ 442 h 9899"/>
                <a:gd name="connsiteX2" fmla="*/ 8097 w 10000"/>
                <a:gd name="connsiteY2" fmla="*/ 347 h 9899"/>
                <a:gd name="connsiteX3" fmla="*/ 8850 w 10000"/>
                <a:gd name="connsiteY3" fmla="*/ 594 h 9899"/>
                <a:gd name="connsiteX4" fmla="*/ 9204 w 10000"/>
                <a:gd name="connsiteY4" fmla="*/ 594 h 9899"/>
                <a:gd name="connsiteX5" fmla="*/ 9471 w 10000"/>
                <a:gd name="connsiteY5" fmla="*/ 1238 h 9899"/>
                <a:gd name="connsiteX6" fmla="*/ 9514 w 10000"/>
                <a:gd name="connsiteY6" fmla="*/ 1878 h 9899"/>
                <a:gd name="connsiteX7" fmla="*/ 9778 w 10000"/>
                <a:gd name="connsiteY7" fmla="*/ 2969 h 9899"/>
                <a:gd name="connsiteX8" fmla="*/ 10000 w 10000"/>
                <a:gd name="connsiteY8" fmla="*/ 3167 h 9899"/>
                <a:gd name="connsiteX9" fmla="*/ 9866 w 10000"/>
                <a:gd name="connsiteY9" fmla="*/ 3565 h 9899"/>
                <a:gd name="connsiteX10" fmla="*/ 8850 w 10000"/>
                <a:gd name="connsiteY10" fmla="*/ 3763 h 9899"/>
                <a:gd name="connsiteX11" fmla="*/ 8494 w 10000"/>
                <a:gd name="connsiteY11" fmla="*/ 4158 h 9899"/>
                <a:gd name="connsiteX12" fmla="*/ 8009 w 10000"/>
                <a:gd name="connsiteY12" fmla="*/ 4207 h 9899"/>
                <a:gd name="connsiteX13" fmla="*/ 8009 w 10000"/>
                <a:gd name="connsiteY13" fmla="*/ 5000 h 9899"/>
                <a:gd name="connsiteX14" fmla="*/ 7080 w 10000"/>
                <a:gd name="connsiteY14" fmla="*/ 5397 h 9899"/>
                <a:gd name="connsiteX15" fmla="*/ 6769 w 10000"/>
                <a:gd name="connsiteY15" fmla="*/ 5890 h 9899"/>
                <a:gd name="connsiteX16" fmla="*/ 6152 w 10000"/>
                <a:gd name="connsiteY16" fmla="*/ 6188 h 9899"/>
                <a:gd name="connsiteX17" fmla="*/ 5354 w 10000"/>
                <a:gd name="connsiteY17" fmla="*/ 6337 h 9899"/>
                <a:gd name="connsiteX18" fmla="*/ 4072 w 10000"/>
                <a:gd name="connsiteY18" fmla="*/ 7078 h 9899"/>
                <a:gd name="connsiteX19" fmla="*/ 4072 w 10000"/>
                <a:gd name="connsiteY19" fmla="*/ 8316 h 9899"/>
                <a:gd name="connsiteX20" fmla="*/ 3939 w 10000"/>
                <a:gd name="connsiteY20" fmla="*/ 8316 h 9899"/>
                <a:gd name="connsiteX21" fmla="*/ 3939 w 10000"/>
                <a:gd name="connsiteY21" fmla="*/ 8316 h 9899"/>
                <a:gd name="connsiteX22" fmla="*/ 3939 w 10000"/>
                <a:gd name="connsiteY22" fmla="*/ 8862 h 9899"/>
                <a:gd name="connsiteX23" fmla="*/ 3453 w 10000"/>
                <a:gd name="connsiteY23" fmla="*/ 8910 h 9899"/>
                <a:gd name="connsiteX24" fmla="*/ 3187 w 10000"/>
                <a:gd name="connsiteY24" fmla="*/ 9109 h 9899"/>
                <a:gd name="connsiteX25" fmla="*/ 2834 w 10000"/>
                <a:gd name="connsiteY25" fmla="*/ 9109 h 9899"/>
                <a:gd name="connsiteX26" fmla="*/ 2567 w 10000"/>
                <a:gd name="connsiteY26" fmla="*/ 9009 h 9899"/>
                <a:gd name="connsiteX27" fmla="*/ 1906 w 10000"/>
                <a:gd name="connsiteY27" fmla="*/ 9109 h 9899"/>
                <a:gd name="connsiteX28" fmla="*/ 1639 w 10000"/>
                <a:gd name="connsiteY28" fmla="*/ 9899 h 9899"/>
                <a:gd name="connsiteX29" fmla="*/ 0 w 10000"/>
                <a:gd name="connsiteY29" fmla="*/ 9354 h 9899"/>
                <a:gd name="connsiteX30" fmla="*/ 535 w 10000"/>
                <a:gd name="connsiteY30" fmla="*/ 8316 h 9899"/>
                <a:gd name="connsiteX31" fmla="*/ 577 w 10000"/>
                <a:gd name="connsiteY31" fmla="*/ 8316 h 9899"/>
                <a:gd name="connsiteX32" fmla="*/ 975 w 10000"/>
                <a:gd name="connsiteY32" fmla="*/ 7918 h 9899"/>
                <a:gd name="connsiteX33" fmla="*/ 1684 w 10000"/>
                <a:gd name="connsiteY33" fmla="*/ 7820 h 9899"/>
                <a:gd name="connsiteX34" fmla="*/ 2347 w 10000"/>
                <a:gd name="connsiteY34" fmla="*/ 7126 h 9899"/>
                <a:gd name="connsiteX35" fmla="*/ 2746 w 10000"/>
                <a:gd name="connsiteY35" fmla="*/ 6831 h 9899"/>
                <a:gd name="connsiteX36" fmla="*/ 3408 w 10000"/>
                <a:gd name="connsiteY36" fmla="*/ 5989 h 9899"/>
                <a:gd name="connsiteX37" fmla="*/ 3232 w 10000"/>
                <a:gd name="connsiteY37" fmla="*/ 4703 h 9899"/>
                <a:gd name="connsiteX38" fmla="*/ 3542 w 10000"/>
                <a:gd name="connsiteY38" fmla="*/ 3812 h 9899"/>
                <a:gd name="connsiteX39" fmla="*/ 3673 w 10000"/>
                <a:gd name="connsiteY39" fmla="*/ 3266 h 9899"/>
                <a:gd name="connsiteX40" fmla="*/ 4205 w 10000"/>
                <a:gd name="connsiteY40" fmla="*/ 2573 h 9899"/>
                <a:gd name="connsiteX41" fmla="*/ 4959 w 10000"/>
                <a:gd name="connsiteY41" fmla="*/ 2130 h 9899"/>
                <a:gd name="connsiteX42" fmla="*/ 5533 w 10000"/>
                <a:gd name="connsiteY42" fmla="*/ 1682 h 9899"/>
                <a:gd name="connsiteX43" fmla="*/ 6063 w 10000"/>
                <a:gd name="connsiteY43" fmla="*/ 646 h 9899"/>
                <a:gd name="connsiteX44" fmla="*/ 6328 w 10000"/>
                <a:gd name="connsiteY44" fmla="*/ 0 h 9899"/>
                <a:gd name="connsiteX45" fmla="*/ 6904 w 10000"/>
                <a:gd name="connsiteY45" fmla="*/ 0 h 9899"/>
                <a:gd name="connsiteX0" fmla="*/ 6904 w 10000"/>
                <a:gd name="connsiteY0" fmla="*/ 0 h 9449"/>
                <a:gd name="connsiteX1" fmla="*/ 7345 w 10000"/>
                <a:gd name="connsiteY1" fmla="*/ 447 h 9449"/>
                <a:gd name="connsiteX2" fmla="*/ 8097 w 10000"/>
                <a:gd name="connsiteY2" fmla="*/ 351 h 9449"/>
                <a:gd name="connsiteX3" fmla="*/ 8850 w 10000"/>
                <a:gd name="connsiteY3" fmla="*/ 600 h 9449"/>
                <a:gd name="connsiteX4" fmla="*/ 9204 w 10000"/>
                <a:gd name="connsiteY4" fmla="*/ 600 h 9449"/>
                <a:gd name="connsiteX5" fmla="*/ 9471 w 10000"/>
                <a:gd name="connsiteY5" fmla="*/ 1251 h 9449"/>
                <a:gd name="connsiteX6" fmla="*/ 9514 w 10000"/>
                <a:gd name="connsiteY6" fmla="*/ 1897 h 9449"/>
                <a:gd name="connsiteX7" fmla="*/ 9778 w 10000"/>
                <a:gd name="connsiteY7" fmla="*/ 2999 h 9449"/>
                <a:gd name="connsiteX8" fmla="*/ 10000 w 10000"/>
                <a:gd name="connsiteY8" fmla="*/ 3199 h 9449"/>
                <a:gd name="connsiteX9" fmla="*/ 9866 w 10000"/>
                <a:gd name="connsiteY9" fmla="*/ 3601 h 9449"/>
                <a:gd name="connsiteX10" fmla="*/ 8850 w 10000"/>
                <a:gd name="connsiteY10" fmla="*/ 3801 h 9449"/>
                <a:gd name="connsiteX11" fmla="*/ 8494 w 10000"/>
                <a:gd name="connsiteY11" fmla="*/ 4200 h 9449"/>
                <a:gd name="connsiteX12" fmla="*/ 8009 w 10000"/>
                <a:gd name="connsiteY12" fmla="*/ 4250 h 9449"/>
                <a:gd name="connsiteX13" fmla="*/ 8009 w 10000"/>
                <a:gd name="connsiteY13" fmla="*/ 5051 h 9449"/>
                <a:gd name="connsiteX14" fmla="*/ 7080 w 10000"/>
                <a:gd name="connsiteY14" fmla="*/ 5452 h 9449"/>
                <a:gd name="connsiteX15" fmla="*/ 6769 w 10000"/>
                <a:gd name="connsiteY15" fmla="*/ 5950 h 9449"/>
                <a:gd name="connsiteX16" fmla="*/ 6152 w 10000"/>
                <a:gd name="connsiteY16" fmla="*/ 6251 h 9449"/>
                <a:gd name="connsiteX17" fmla="*/ 5354 w 10000"/>
                <a:gd name="connsiteY17" fmla="*/ 6402 h 9449"/>
                <a:gd name="connsiteX18" fmla="*/ 4072 w 10000"/>
                <a:gd name="connsiteY18" fmla="*/ 7150 h 9449"/>
                <a:gd name="connsiteX19" fmla="*/ 4072 w 10000"/>
                <a:gd name="connsiteY19" fmla="*/ 8401 h 9449"/>
                <a:gd name="connsiteX20" fmla="*/ 3939 w 10000"/>
                <a:gd name="connsiteY20" fmla="*/ 8401 h 9449"/>
                <a:gd name="connsiteX21" fmla="*/ 3939 w 10000"/>
                <a:gd name="connsiteY21" fmla="*/ 8401 h 9449"/>
                <a:gd name="connsiteX22" fmla="*/ 3939 w 10000"/>
                <a:gd name="connsiteY22" fmla="*/ 8952 h 9449"/>
                <a:gd name="connsiteX23" fmla="*/ 3453 w 10000"/>
                <a:gd name="connsiteY23" fmla="*/ 9001 h 9449"/>
                <a:gd name="connsiteX24" fmla="*/ 3187 w 10000"/>
                <a:gd name="connsiteY24" fmla="*/ 9202 h 9449"/>
                <a:gd name="connsiteX25" fmla="*/ 2834 w 10000"/>
                <a:gd name="connsiteY25" fmla="*/ 9202 h 9449"/>
                <a:gd name="connsiteX26" fmla="*/ 2567 w 10000"/>
                <a:gd name="connsiteY26" fmla="*/ 9101 h 9449"/>
                <a:gd name="connsiteX27" fmla="*/ 1906 w 10000"/>
                <a:gd name="connsiteY27" fmla="*/ 9202 h 9449"/>
                <a:gd name="connsiteX28" fmla="*/ 0 w 10000"/>
                <a:gd name="connsiteY28" fmla="*/ 9449 h 9449"/>
                <a:gd name="connsiteX29" fmla="*/ 535 w 10000"/>
                <a:gd name="connsiteY29" fmla="*/ 8401 h 9449"/>
                <a:gd name="connsiteX30" fmla="*/ 577 w 10000"/>
                <a:gd name="connsiteY30" fmla="*/ 8401 h 9449"/>
                <a:gd name="connsiteX31" fmla="*/ 975 w 10000"/>
                <a:gd name="connsiteY31" fmla="*/ 7999 h 9449"/>
                <a:gd name="connsiteX32" fmla="*/ 1684 w 10000"/>
                <a:gd name="connsiteY32" fmla="*/ 7900 h 9449"/>
                <a:gd name="connsiteX33" fmla="*/ 2347 w 10000"/>
                <a:gd name="connsiteY33" fmla="*/ 7199 h 9449"/>
                <a:gd name="connsiteX34" fmla="*/ 2746 w 10000"/>
                <a:gd name="connsiteY34" fmla="*/ 6901 h 9449"/>
                <a:gd name="connsiteX35" fmla="*/ 3408 w 10000"/>
                <a:gd name="connsiteY35" fmla="*/ 6050 h 9449"/>
                <a:gd name="connsiteX36" fmla="*/ 3232 w 10000"/>
                <a:gd name="connsiteY36" fmla="*/ 4751 h 9449"/>
                <a:gd name="connsiteX37" fmla="*/ 3542 w 10000"/>
                <a:gd name="connsiteY37" fmla="*/ 3851 h 9449"/>
                <a:gd name="connsiteX38" fmla="*/ 3673 w 10000"/>
                <a:gd name="connsiteY38" fmla="*/ 3299 h 9449"/>
                <a:gd name="connsiteX39" fmla="*/ 4205 w 10000"/>
                <a:gd name="connsiteY39" fmla="*/ 2599 h 9449"/>
                <a:gd name="connsiteX40" fmla="*/ 4959 w 10000"/>
                <a:gd name="connsiteY40" fmla="*/ 2152 h 9449"/>
                <a:gd name="connsiteX41" fmla="*/ 5533 w 10000"/>
                <a:gd name="connsiteY41" fmla="*/ 1699 h 9449"/>
                <a:gd name="connsiteX42" fmla="*/ 6063 w 10000"/>
                <a:gd name="connsiteY42" fmla="*/ 653 h 9449"/>
                <a:gd name="connsiteX43" fmla="*/ 6328 w 10000"/>
                <a:gd name="connsiteY43" fmla="*/ 0 h 9449"/>
                <a:gd name="connsiteX44" fmla="*/ 6904 w 10000"/>
                <a:gd name="connsiteY44" fmla="*/ 0 h 9449"/>
                <a:gd name="connsiteX0" fmla="*/ 6369 w 9465"/>
                <a:gd name="connsiteY0" fmla="*/ 0 h 9739"/>
                <a:gd name="connsiteX1" fmla="*/ 6810 w 9465"/>
                <a:gd name="connsiteY1" fmla="*/ 473 h 9739"/>
                <a:gd name="connsiteX2" fmla="*/ 7562 w 9465"/>
                <a:gd name="connsiteY2" fmla="*/ 371 h 9739"/>
                <a:gd name="connsiteX3" fmla="*/ 8315 w 9465"/>
                <a:gd name="connsiteY3" fmla="*/ 635 h 9739"/>
                <a:gd name="connsiteX4" fmla="*/ 8669 w 9465"/>
                <a:gd name="connsiteY4" fmla="*/ 635 h 9739"/>
                <a:gd name="connsiteX5" fmla="*/ 8936 w 9465"/>
                <a:gd name="connsiteY5" fmla="*/ 1324 h 9739"/>
                <a:gd name="connsiteX6" fmla="*/ 8979 w 9465"/>
                <a:gd name="connsiteY6" fmla="*/ 2008 h 9739"/>
                <a:gd name="connsiteX7" fmla="*/ 9243 w 9465"/>
                <a:gd name="connsiteY7" fmla="*/ 3174 h 9739"/>
                <a:gd name="connsiteX8" fmla="*/ 9465 w 9465"/>
                <a:gd name="connsiteY8" fmla="*/ 3386 h 9739"/>
                <a:gd name="connsiteX9" fmla="*/ 9331 w 9465"/>
                <a:gd name="connsiteY9" fmla="*/ 3811 h 9739"/>
                <a:gd name="connsiteX10" fmla="*/ 8315 w 9465"/>
                <a:gd name="connsiteY10" fmla="*/ 4023 h 9739"/>
                <a:gd name="connsiteX11" fmla="*/ 7959 w 9465"/>
                <a:gd name="connsiteY11" fmla="*/ 4445 h 9739"/>
                <a:gd name="connsiteX12" fmla="*/ 7474 w 9465"/>
                <a:gd name="connsiteY12" fmla="*/ 4498 h 9739"/>
                <a:gd name="connsiteX13" fmla="*/ 7474 w 9465"/>
                <a:gd name="connsiteY13" fmla="*/ 5346 h 9739"/>
                <a:gd name="connsiteX14" fmla="*/ 6545 w 9465"/>
                <a:gd name="connsiteY14" fmla="*/ 5770 h 9739"/>
                <a:gd name="connsiteX15" fmla="*/ 6234 w 9465"/>
                <a:gd name="connsiteY15" fmla="*/ 6297 h 9739"/>
                <a:gd name="connsiteX16" fmla="*/ 5617 w 9465"/>
                <a:gd name="connsiteY16" fmla="*/ 6616 h 9739"/>
                <a:gd name="connsiteX17" fmla="*/ 4819 w 9465"/>
                <a:gd name="connsiteY17" fmla="*/ 6775 h 9739"/>
                <a:gd name="connsiteX18" fmla="*/ 3537 w 9465"/>
                <a:gd name="connsiteY18" fmla="*/ 7567 h 9739"/>
                <a:gd name="connsiteX19" fmla="*/ 3537 w 9465"/>
                <a:gd name="connsiteY19" fmla="*/ 8891 h 9739"/>
                <a:gd name="connsiteX20" fmla="*/ 3404 w 9465"/>
                <a:gd name="connsiteY20" fmla="*/ 8891 h 9739"/>
                <a:gd name="connsiteX21" fmla="*/ 3404 w 9465"/>
                <a:gd name="connsiteY21" fmla="*/ 8891 h 9739"/>
                <a:gd name="connsiteX22" fmla="*/ 3404 w 9465"/>
                <a:gd name="connsiteY22" fmla="*/ 9474 h 9739"/>
                <a:gd name="connsiteX23" fmla="*/ 2918 w 9465"/>
                <a:gd name="connsiteY23" fmla="*/ 9526 h 9739"/>
                <a:gd name="connsiteX24" fmla="*/ 2652 w 9465"/>
                <a:gd name="connsiteY24" fmla="*/ 9739 h 9739"/>
                <a:gd name="connsiteX25" fmla="*/ 2299 w 9465"/>
                <a:gd name="connsiteY25" fmla="*/ 9739 h 9739"/>
                <a:gd name="connsiteX26" fmla="*/ 2032 w 9465"/>
                <a:gd name="connsiteY26" fmla="*/ 9632 h 9739"/>
                <a:gd name="connsiteX27" fmla="*/ 1371 w 9465"/>
                <a:gd name="connsiteY27" fmla="*/ 9739 h 9739"/>
                <a:gd name="connsiteX28" fmla="*/ 0 w 9465"/>
                <a:gd name="connsiteY28" fmla="*/ 8891 h 9739"/>
                <a:gd name="connsiteX29" fmla="*/ 42 w 9465"/>
                <a:gd name="connsiteY29" fmla="*/ 8891 h 9739"/>
                <a:gd name="connsiteX30" fmla="*/ 440 w 9465"/>
                <a:gd name="connsiteY30" fmla="*/ 8465 h 9739"/>
                <a:gd name="connsiteX31" fmla="*/ 1149 w 9465"/>
                <a:gd name="connsiteY31" fmla="*/ 8361 h 9739"/>
                <a:gd name="connsiteX32" fmla="*/ 1812 w 9465"/>
                <a:gd name="connsiteY32" fmla="*/ 7619 h 9739"/>
                <a:gd name="connsiteX33" fmla="*/ 2211 w 9465"/>
                <a:gd name="connsiteY33" fmla="*/ 7303 h 9739"/>
                <a:gd name="connsiteX34" fmla="*/ 2873 w 9465"/>
                <a:gd name="connsiteY34" fmla="*/ 6403 h 9739"/>
                <a:gd name="connsiteX35" fmla="*/ 2697 w 9465"/>
                <a:gd name="connsiteY35" fmla="*/ 5028 h 9739"/>
                <a:gd name="connsiteX36" fmla="*/ 3007 w 9465"/>
                <a:gd name="connsiteY36" fmla="*/ 4076 h 9739"/>
                <a:gd name="connsiteX37" fmla="*/ 3138 w 9465"/>
                <a:gd name="connsiteY37" fmla="*/ 3491 h 9739"/>
                <a:gd name="connsiteX38" fmla="*/ 3670 w 9465"/>
                <a:gd name="connsiteY38" fmla="*/ 2751 h 9739"/>
                <a:gd name="connsiteX39" fmla="*/ 4424 w 9465"/>
                <a:gd name="connsiteY39" fmla="*/ 2277 h 9739"/>
                <a:gd name="connsiteX40" fmla="*/ 4998 w 9465"/>
                <a:gd name="connsiteY40" fmla="*/ 1798 h 9739"/>
                <a:gd name="connsiteX41" fmla="*/ 5528 w 9465"/>
                <a:gd name="connsiteY41" fmla="*/ 691 h 9739"/>
                <a:gd name="connsiteX42" fmla="*/ 5793 w 9465"/>
                <a:gd name="connsiteY42" fmla="*/ 0 h 9739"/>
                <a:gd name="connsiteX43" fmla="*/ 6369 w 9465"/>
                <a:gd name="connsiteY43" fmla="*/ 0 h 9739"/>
                <a:gd name="connsiteX0" fmla="*/ 6729 w 10000"/>
                <a:gd name="connsiteY0" fmla="*/ 0 h 10000"/>
                <a:gd name="connsiteX1" fmla="*/ 7195 w 10000"/>
                <a:gd name="connsiteY1" fmla="*/ 486 h 10000"/>
                <a:gd name="connsiteX2" fmla="*/ 7989 w 10000"/>
                <a:gd name="connsiteY2" fmla="*/ 381 h 10000"/>
                <a:gd name="connsiteX3" fmla="*/ 8785 w 10000"/>
                <a:gd name="connsiteY3" fmla="*/ 652 h 10000"/>
                <a:gd name="connsiteX4" fmla="*/ 9159 w 10000"/>
                <a:gd name="connsiteY4" fmla="*/ 652 h 10000"/>
                <a:gd name="connsiteX5" fmla="*/ 9441 w 10000"/>
                <a:gd name="connsiteY5" fmla="*/ 1359 h 10000"/>
                <a:gd name="connsiteX6" fmla="*/ 9487 w 10000"/>
                <a:gd name="connsiteY6" fmla="*/ 2062 h 10000"/>
                <a:gd name="connsiteX7" fmla="*/ 9765 w 10000"/>
                <a:gd name="connsiteY7" fmla="*/ 3259 h 10000"/>
                <a:gd name="connsiteX8" fmla="*/ 10000 w 10000"/>
                <a:gd name="connsiteY8" fmla="*/ 3477 h 10000"/>
                <a:gd name="connsiteX9" fmla="*/ 9858 w 10000"/>
                <a:gd name="connsiteY9" fmla="*/ 3913 h 10000"/>
                <a:gd name="connsiteX10" fmla="*/ 8785 w 10000"/>
                <a:gd name="connsiteY10" fmla="*/ 4131 h 10000"/>
                <a:gd name="connsiteX11" fmla="*/ 8409 w 10000"/>
                <a:gd name="connsiteY11" fmla="*/ 4564 h 10000"/>
                <a:gd name="connsiteX12" fmla="*/ 7896 w 10000"/>
                <a:gd name="connsiteY12" fmla="*/ 4619 h 10000"/>
                <a:gd name="connsiteX13" fmla="*/ 7896 w 10000"/>
                <a:gd name="connsiteY13" fmla="*/ 5489 h 10000"/>
                <a:gd name="connsiteX14" fmla="*/ 6915 w 10000"/>
                <a:gd name="connsiteY14" fmla="*/ 5925 h 10000"/>
                <a:gd name="connsiteX15" fmla="*/ 6586 w 10000"/>
                <a:gd name="connsiteY15" fmla="*/ 6466 h 10000"/>
                <a:gd name="connsiteX16" fmla="*/ 5934 w 10000"/>
                <a:gd name="connsiteY16" fmla="*/ 6793 h 10000"/>
                <a:gd name="connsiteX17" fmla="*/ 5091 w 10000"/>
                <a:gd name="connsiteY17" fmla="*/ 6957 h 10000"/>
                <a:gd name="connsiteX18" fmla="*/ 3737 w 10000"/>
                <a:gd name="connsiteY18" fmla="*/ 7770 h 10000"/>
                <a:gd name="connsiteX19" fmla="*/ 3737 w 10000"/>
                <a:gd name="connsiteY19" fmla="*/ 9129 h 10000"/>
                <a:gd name="connsiteX20" fmla="*/ 3596 w 10000"/>
                <a:gd name="connsiteY20" fmla="*/ 9129 h 10000"/>
                <a:gd name="connsiteX21" fmla="*/ 3596 w 10000"/>
                <a:gd name="connsiteY21" fmla="*/ 9129 h 10000"/>
                <a:gd name="connsiteX22" fmla="*/ 3596 w 10000"/>
                <a:gd name="connsiteY22" fmla="*/ 9728 h 10000"/>
                <a:gd name="connsiteX23" fmla="*/ 3083 w 10000"/>
                <a:gd name="connsiteY23" fmla="*/ 9781 h 10000"/>
                <a:gd name="connsiteX24" fmla="*/ 2802 w 10000"/>
                <a:gd name="connsiteY24" fmla="*/ 10000 h 10000"/>
                <a:gd name="connsiteX25" fmla="*/ 2429 w 10000"/>
                <a:gd name="connsiteY25" fmla="*/ 10000 h 10000"/>
                <a:gd name="connsiteX26" fmla="*/ 2147 w 10000"/>
                <a:gd name="connsiteY26" fmla="*/ 9890 h 10000"/>
                <a:gd name="connsiteX27" fmla="*/ 0 w 10000"/>
                <a:gd name="connsiteY27" fmla="*/ 9129 h 10000"/>
                <a:gd name="connsiteX28" fmla="*/ 44 w 10000"/>
                <a:gd name="connsiteY28" fmla="*/ 9129 h 10000"/>
                <a:gd name="connsiteX29" fmla="*/ 465 w 10000"/>
                <a:gd name="connsiteY29" fmla="*/ 8692 h 10000"/>
                <a:gd name="connsiteX30" fmla="*/ 1214 w 10000"/>
                <a:gd name="connsiteY30" fmla="*/ 8585 h 10000"/>
                <a:gd name="connsiteX31" fmla="*/ 1914 w 10000"/>
                <a:gd name="connsiteY31" fmla="*/ 7823 h 10000"/>
                <a:gd name="connsiteX32" fmla="*/ 2336 w 10000"/>
                <a:gd name="connsiteY32" fmla="*/ 7499 h 10000"/>
                <a:gd name="connsiteX33" fmla="*/ 3035 w 10000"/>
                <a:gd name="connsiteY33" fmla="*/ 6575 h 10000"/>
                <a:gd name="connsiteX34" fmla="*/ 2849 w 10000"/>
                <a:gd name="connsiteY34" fmla="*/ 5163 h 10000"/>
                <a:gd name="connsiteX35" fmla="*/ 3177 w 10000"/>
                <a:gd name="connsiteY35" fmla="*/ 4185 h 10000"/>
                <a:gd name="connsiteX36" fmla="*/ 3315 w 10000"/>
                <a:gd name="connsiteY36" fmla="*/ 3585 h 10000"/>
                <a:gd name="connsiteX37" fmla="*/ 3877 w 10000"/>
                <a:gd name="connsiteY37" fmla="*/ 2825 h 10000"/>
                <a:gd name="connsiteX38" fmla="*/ 4674 w 10000"/>
                <a:gd name="connsiteY38" fmla="*/ 2338 h 10000"/>
                <a:gd name="connsiteX39" fmla="*/ 5281 w 10000"/>
                <a:gd name="connsiteY39" fmla="*/ 1846 h 10000"/>
                <a:gd name="connsiteX40" fmla="*/ 5840 w 10000"/>
                <a:gd name="connsiteY40" fmla="*/ 710 h 10000"/>
                <a:gd name="connsiteX41" fmla="*/ 6120 w 10000"/>
                <a:gd name="connsiteY41" fmla="*/ 0 h 10000"/>
                <a:gd name="connsiteX42" fmla="*/ 6729 w 10000"/>
                <a:gd name="connsiteY42" fmla="*/ 0 h 10000"/>
                <a:gd name="connsiteX0" fmla="*/ 6729 w 10000"/>
                <a:gd name="connsiteY0" fmla="*/ 0 h 10000"/>
                <a:gd name="connsiteX1" fmla="*/ 7195 w 10000"/>
                <a:gd name="connsiteY1" fmla="*/ 486 h 10000"/>
                <a:gd name="connsiteX2" fmla="*/ 7989 w 10000"/>
                <a:gd name="connsiteY2" fmla="*/ 381 h 10000"/>
                <a:gd name="connsiteX3" fmla="*/ 8785 w 10000"/>
                <a:gd name="connsiteY3" fmla="*/ 652 h 10000"/>
                <a:gd name="connsiteX4" fmla="*/ 9159 w 10000"/>
                <a:gd name="connsiteY4" fmla="*/ 652 h 10000"/>
                <a:gd name="connsiteX5" fmla="*/ 9441 w 10000"/>
                <a:gd name="connsiteY5" fmla="*/ 1359 h 10000"/>
                <a:gd name="connsiteX6" fmla="*/ 9487 w 10000"/>
                <a:gd name="connsiteY6" fmla="*/ 2062 h 10000"/>
                <a:gd name="connsiteX7" fmla="*/ 9765 w 10000"/>
                <a:gd name="connsiteY7" fmla="*/ 3259 h 10000"/>
                <a:gd name="connsiteX8" fmla="*/ 10000 w 10000"/>
                <a:gd name="connsiteY8" fmla="*/ 3477 h 10000"/>
                <a:gd name="connsiteX9" fmla="*/ 9858 w 10000"/>
                <a:gd name="connsiteY9" fmla="*/ 3913 h 10000"/>
                <a:gd name="connsiteX10" fmla="*/ 8785 w 10000"/>
                <a:gd name="connsiteY10" fmla="*/ 4131 h 10000"/>
                <a:gd name="connsiteX11" fmla="*/ 8409 w 10000"/>
                <a:gd name="connsiteY11" fmla="*/ 4564 h 10000"/>
                <a:gd name="connsiteX12" fmla="*/ 7896 w 10000"/>
                <a:gd name="connsiteY12" fmla="*/ 4619 h 10000"/>
                <a:gd name="connsiteX13" fmla="*/ 7896 w 10000"/>
                <a:gd name="connsiteY13" fmla="*/ 5489 h 10000"/>
                <a:gd name="connsiteX14" fmla="*/ 6915 w 10000"/>
                <a:gd name="connsiteY14" fmla="*/ 5925 h 10000"/>
                <a:gd name="connsiteX15" fmla="*/ 6586 w 10000"/>
                <a:gd name="connsiteY15" fmla="*/ 6466 h 10000"/>
                <a:gd name="connsiteX16" fmla="*/ 5934 w 10000"/>
                <a:gd name="connsiteY16" fmla="*/ 6793 h 10000"/>
                <a:gd name="connsiteX17" fmla="*/ 5091 w 10000"/>
                <a:gd name="connsiteY17" fmla="*/ 6957 h 10000"/>
                <a:gd name="connsiteX18" fmla="*/ 3737 w 10000"/>
                <a:gd name="connsiteY18" fmla="*/ 7770 h 10000"/>
                <a:gd name="connsiteX19" fmla="*/ 3737 w 10000"/>
                <a:gd name="connsiteY19" fmla="*/ 9129 h 10000"/>
                <a:gd name="connsiteX20" fmla="*/ 3596 w 10000"/>
                <a:gd name="connsiteY20" fmla="*/ 9129 h 10000"/>
                <a:gd name="connsiteX21" fmla="*/ 3596 w 10000"/>
                <a:gd name="connsiteY21" fmla="*/ 9129 h 10000"/>
                <a:gd name="connsiteX22" fmla="*/ 3596 w 10000"/>
                <a:gd name="connsiteY22" fmla="*/ 9728 h 10000"/>
                <a:gd name="connsiteX23" fmla="*/ 3083 w 10000"/>
                <a:gd name="connsiteY23" fmla="*/ 9781 h 10000"/>
                <a:gd name="connsiteX24" fmla="*/ 2802 w 10000"/>
                <a:gd name="connsiteY24" fmla="*/ 10000 h 10000"/>
                <a:gd name="connsiteX25" fmla="*/ 2429 w 10000"/>
                <a:gd name="connsiteY25" fmla="*/ 10000 h 10000"/>
                <a:gd name="connsiteX26" fmla="*/ 0 w 10000"/>
                <a:gd name="connsiteY26" fmla="*/ 9129 h 10000"/>
                <a:gd name="connsiteX27" fmla="*/ 44 w 10000"/>
                <a:gd name="connsiteY27" fmla="*/ 9129 h 10000"/>
                <a:gd name="connsiteX28" fmla="*/ 465 w 10000"/>
                <a:gd name="connsiteY28" fmla="*/ 8692 h 10000"/>
                <a:gd name="connsiteX29" fmla="*/ 1214 w 10000"/>
                <a:gd name="connsiteY29" fmla="*/ 8585 h 10000"/>
                <a:gd name="connsiteX30" fmla="*/ 1914 w 10000"/>
                <a:gd name="connsiteY30" fmla="*/ 7823 h 10000"/>
                <a:gd name="connsiteX31" fmla="*/ 2336 w 10000"/>
                <a:gd name="connsiteY31" fmla="*/ 7499 h 10000"/>
                <a:gd name="connsiteX32" fmla="*/ 3035 w 10000"/>
                <a:gd name="connsiteY32" fmla="*/ 6575 h 10000"/>
                <a:gd name="connsiteX33" fmla="*/ 2849 w 10000"/>
                <a:gd name="connsiteY33" fmla="*/ 5163 h 10000"/>
                <a:gd name="connsiteX34" fmla="*/ 3177 w 10000"/>
                <a:gd name="connsiteY34" fmla="*/ 4185 h 10000"/>
                <a:gd name="connsiteX35" fmla="*/ 3315 w 10000"/>
                <a:gd name="connsiteY35" fmla="*/ 3585 h 10000"/>
                <a:gd name="connsiteX36" fmla="*/ 3877 w 10000"/>
                <a:gd name="connsiteY36" fmla="*/ 2825 h 10000"/>
                <a:gd name="connsiteX37" fmla="*/ 4674 w 10000"/>
                <a:gd name="connsiteY37" fmla="*/ 2338 h 10000"/>
                <a:gd name="connsiteX38" fmla="*/ 5281 w 10000"/>
                <a:gd name="connsiteY38" fmla="*/ 1846 h 10000"/>
                <a:gd name="connsiteX39" fmla="*/ 5840 w 10000"/>
                <a:gd name="connsiteY39" fmla="*/ 710 h 10000"/>
                <a:gd name="connsiteX40" fmla="*/ 6120 w 10000"/>
                <a:gd name="connsiteY40" fmla="*/ 0 h 10000"/>
                <a:gd name="connsiteX41" fmla="*/ 6729 w 10000"/>
                <a:gd name="connsiteY41" fmla="*/ 0 h 10000"/>
                <a:gd name="connsiteX0" fmla="*/ 6729 w 10000"/>
                <a:gd name="connsiteY0" fmla="*/ 0 h 10000"/>
                <a:gd name="connsiteX1" fmla="*/ 7195 w 10000"/>
                <a:gd name="connsiteY1" fmla="*/ 486 h 10000"/>
                <a:gd name="connsiteX2" fmla="*/ 7989 w 10000"/>
                <a:gd name="connsiteY2" fmla="*/ 381 h 10000"/>
                <a:gd name="connsiteX3" fmla="*/ 8785 w 10000"/>
                <a:gd name="connsiteY3" fmla="*/ 652 h 10000"/>
                <a:gd name="connsiteX4" fmla="*/ 9159 w 10000"/>
                <a:gd name="connsiteY4" fmla="*/ 652 h 10000"/>
                <a:gd name="connsiteX5" fmla="*/ 9441 w 10000"/>
                <a:gd name="connsiteY5" fmla="*/ 1359 h 10000"/>
                <a:gd name="connsiteX6" fmla="*/ 9487 w 10000"/>
                <a:gd name="connsiteY6" fmla="*/ 2062 h 10000"/>
                <a:gd name="connsiteX7" fmla="*/ 9765 w 10000"/>
                <a:gd name="connsiteY7" fmla="*/ 3259 h 10000"/>
                <a:gd name="connsiteX8" fmla="*/ 10000 w 10000"/>
                <a:gd name="connsiteY8" fmla="*/ 3477 h 10000"/>
                <a:gd name="connsiteX9" fmla="*/ 9858 w 10000"/>
                <a:gd name="connsiteY9" fmla="*/ 3913 h 10000"/>
                <a:gd name="connsiteX10" fmla="*/ 8785 w 10000"/>
                <a:gd name="connsiteY10" fmla="*/ 4131 h 10000"/>
                <a:gd name="connsiteX11" fmla="*/ 8409 w 10000"/>
                <a:gd name="connsiteY11" fmla="*/ 4564 h 10000"/>
                <a:gd name="connsiteX12" fmla="*/ 7896 w 10000"/>
                <a:gd name="connsiteY12" fmla="*/ 4619 h 10000"/>
                <a:gd name="connsiteX13" fmla="*/ 7896 w 10000"/>
                <a:gd name="connsiteY13" fmla="*/ 5489 h 10000"/>
                <a:gd name="connsiteX14" fmla="*/ 6915 w 10000"/>
                <a:gd name="connsiteY14" fmla="*/ 5925 h 10000"/>
                <a:gd name="connsiteX15" fmla="*/ 6586 w 10000"/>
                <a:gd name="connsiteY15" fmla="*/ 6466 h 10000"/>
                <a:gd name="connsiteX16" fmla="*/ 5934 w 10000"/>
                <a:gd name="connsiteY16" fmla="*/ 6793 h 10000"/>
                <a:gd name="connsiteX17" fmla="*/ 5091 w 10000"/>
                <a:gd name="connsiteY17" fmla="*/ 6957 h 10000"/>
                <a:gd name="connsiteX18" fmla="*/ 3737 w 10000"/>
                <a:gd name="connsiteY18" fmla="*/ 7770 h 10000"/>
                <a:gd name="connsiteX19" fmla="*/ 3737 w 10000"/>
                <a:gd name="connsiteY19" fmla="*/ 9129 h 10000"/>
                <a:gd name="connsiteX20" fmla="*/ 3596 w 10000"/>
                <a:gd name="connsiteY20" fmla="*/ 9129 h 10000"/>
                <a:gd name="connsiteX21" fmla="*/ 3596 w 10000"/>
                <a:gd name="connsiteY21" fmla="*/ 9129 h 10000"/>
                <a:gd name="connsiteX22" fmla="*/ 3596 w 10000"/>
                <a:gd name="connsiteY22" fmla="*/ 9728 h 10000"/>
                <a:gd name="connsiteX23" fmla="*/ 3083 w 10000"/>
                <a:gd name="connsiteY23" fmla="*/ 9781 h 10000"/>
                <a:gd name="connsiteX24" fmla="*/ 2802 w 10000"/>
                <a:gd name="connsiteY24" fmla="*/ 10000 h 10000"/>
                <a:gd name="connsiteX25" fmla="*/ 0 w 10000"/>
                <a:gd name="connsiteY25" fmla="*/ 9129 h 10000"/>
                <a:gd name="connsiteX26" fmla="*/ 44 w 10000"/>
                <a:gd name="connsiteY26" fmla="*/ 9129 h 10000"/>
                <a:gd name="connsiteX27" fmla="*/ 465 w 10000"/>
                <a:gd name="connsiteY27" fmla="*/ 8692 h 10000"/>
                <a:gd name="connsiteX28" fmla="*/ 1214 w 10000"/>
                <a:gd name="connsiteY28" fmla="*/ 8585 h 10000"/>
                <a:gd name="connsiteX29" fmla="*/ 1914 w 10000"/>
                <a:gd name="connsiteY29" fmla="*/ 7823 h 10000"/>
                <a:gd name="connsiteX30" fmla="*/ 2336 w 10000"/>
                <a:gd name="connsiteY30" fmla="*/ 7499 h 10000"/>
                <a:gd name="connsiteX31" fmla="*/ 3035 w 10000"/>
                <a:gd name="connsiteY31" fmla="*/ 6575 h 10000"/>
                <a:gd name="connsiteX32" fmla="*/ 2849 w 10000"/>
                <a:gd name="connsiteY32" fmla="*/ 5163 h 10000"/>
                <a:gd name="connsiteX33" fmla="*/ 3177 w 10000"/>
                <a:gd name="connsiteY33" fmla="*/ 4185 h 10000"/>
                <a:gd name="connsiteX34" fmla="*/ 3315 w 10000"/>
                <a:gd name="connsiteY34" fmla="*/ 3585 h 10000"/>
                <a:gd name="connsiteX35" fmla="*/ 3877 w 10000"/>
                <a:gd name="connsiteY35" fmla="*/ 2825 h 10000"/>
                <a:gd name="connsiteX36" fmla="*/ 4674 w 10000"/>
                <a:gd name="connsiteY36" fmla="*/ 2338 h 10000"/>
                <a:gd name="connsiteX37" fmla="*/ 5281 w 10000"/>
                <a:gd name="connsiteY37" fmla="*/ 1846 h 10000"/>
                <a:gd name="connsiteX38" fmla="*/ 5840 w 10000"/>
                <a:gd name="connsiteY38" fmla="*/ 710 h 10000"/>
                <a:gd name="connsiteX39" fmla="*/ 6120 w 10000"/>
                <a:gd name="connsiteY39" fmla="*/ 0 h 10000"/>
                <a:gd name="connsiteX40" fmla="*/ 6729 w 10000"/>
                <a:gd name="connsiteY40" fmla="*/ 0 h 10000"/>
                <a:gd name="connsiteX0" fmla="*/ 6729 w 10000"/>
                <a:gd name="connsiteY0" fmla="*/ 0 h 9781"/>
                <a:gd name="connsiteX1" fmla="*/ 7195 w 10000"/>
                <a:gd name="connsiteY1" fmla="*/ 486 h 9781"/>
                <a:gd name="connsiteX2" fmla="*/ 7989 w 10000"/>
                <a:gd name="connsiteY2" fmla="*/ 381 h 9781"/>
                <a:gd name="connsiteX3" fmla="*/ 8785 w 10000"/>
                <a:gd name="connsiteY3" fmla="*/ 652 h 9781"/>
                <a:gd name="connsiteX4" fmla="*/ 9159 w 10000"/>
                <a:gd name="connsiteY4" fmla="*/ 652 h 9781"/>
                <a:gd name="connsiteX5" fmla="*/ 9441 w 10000"/>
                <a:gd name="connsiteY5" fmla="*/ 1359 h 9781"/>
                <a:gd name="connsiteX6" fmla="*/ 9487 w 10000"/>
                <a:gd name="connsiteY6" fmla="*/ 2062 h 9781"/>
                <a:gd name="connsiteX7" fmla="*/ 9765 w 10000"/>
                <a:gd name="connsiteY7" fmla="*/ 3259 h 9781"/>
                <a:gd name="connsiteX8" fmla="*/ 10000 w 10000"/>
                <a:gd name="connsiteY8" fmla="*/ 3477 h 9781"/>
                <a:gd name="connsiteX9" fmla="*/ 9858 w 10000"/>
                <a:gd name="connsiteY9" fmla="*/ 3913 h 9781"/>
                <a:gd name="connsiteX10" fmla="*/ 8785 w 10000"/>
                <a:gd name="connsiteY10" fmla="*/ 4131 h 9781"/>
                <a:gd name="connsiteX11" fmla="*/ 8409 w 10000"/>
                <a:gd name="connsiteY11" fmla="*/ 4564 h 9781"/>
                <a:gd name="connsiteX12" fmla="*/ 7896 w 10000"/>
                <a:gd name="connsiteY12" fmla="*/ 4619 h 9781"/>
                <a:gd name="connsiteX13" fmla="*/ 7896 w 10000"/>
                <a:gd name="connsiteY13" fmla="*/ 5489 h 9781"/>
                <a:gd name="connsiteX14" fmla="*/ 6915 w 10000"/>
                <a:gd name="connsiteY14" fmla="*/ 5925 h 9781"/>
                <a:gd name="connsiteX15" fmla="*/ 6586 w 10000"/>
                <a:gd name="connsiteY15" fmla="*/ 6466 h 9781"/>
                <a:gd name="connsiteX16" fmla="*/ 5934 w 10000"/>
                <a:gd name="connsiteY16" fmla="*/ 6793 h 9781"/>
                <a:gd name="connsiteX17" fmla="*/ 5091 w 10000"/>
                <a:gd name="connsiteY17" fmla="*/ 6957 h 9781"/>
                <a:gd name="connsiteX18" fmla="*/ 3737 w 10000"/>
                <a:gd name="connsiteY18" fmla="*/ 7770 h 9781"/>
                <a:gd name="connsiteX19" fmla="*/ 3737 w 10000"/>
                <a:gd name="connsiteY19" fmla="*/ 9129 h 9781"/>
                <a:gd name="connsiteX20" fmla="*/ 3596 w 10000"/>
                <a:gd name="connsiteY20" fmla="*/ 9129 h 9781"/>
                <a:gd name="connsiteX21" fmla="*/ 3596 w 10000"/>
                <a:gd name="connsiteY21" fmla="*/ 9129 h 9781"/>
                <a:gd name="connsiteX22" fmla="*/ 3596 w 10000"/>
                <a:gd name="connsiteY22" fmla="*/ 9728 h 9781"/>
                <a:gd name="connsiteX23" fmla="*/ 3083 w 10000"/>
                <a:gd name="connsiteY23" fmla="*/ 9781 h 9781"/>
                <a:gd name="connsiteX24" fmla="*/ 0 w 10000"/>
                <a:gd name="connsiteY24" fmla="*/ 9129 h 9781"/>
                <a:gd name="connsiteX25" fmla="*/ 44 w 10000"/>
                <a:gd name="connsiteY25" fmla="*/ 9129 h 9781"/>
                <a:gd name="connsiteX26" fmla="*/ 465 w 10000"/>
                <a:gd name="connsiteY26" fmla="*/ 8692 h 9781"/>
                <a:gd name="connsiteX27" fmla="*/ 1214 w 10000"/>
                <a:gd name="connsiteY27" fmla="*/ 8585 h 9781"/>
                <a:gd name="connsiteX28" fmla="*/ 1914 w 10000"/>
                <a:gd name="connsiteY28" fmla="*/ 7823 h 9781"/>
                <a:gd name="connsiteX29" fmla="*/ 2336 w 10000"/>
                <a:gd name="connsiteY29" fmla="*/ 7499 h 9781"/>
                <a:gd name="connsiteX30" fmla="*/ 3035 w 10000"/>
                <a:gd name="connsiteY30" fmla="*/ 6575 h 9781"/>
                <a:gd name="connsiteX31" fmla="*/ 2849 w 10000"/>
                <a:gd name="connsiteY31" fmla="*/ 5163 h 9781"/>
                <a:gd name="connsiteX32" fmla="*/ 3177 w 10000"/>
                <a:gd name="connsiteY32" fmla="*/ 4185 h 9781"/>
                <a:gd name="connsiteX33" fmla="*/ 3315 w 10000"/>
                <a:gd name="connsiteY33" fmla="*/ 3585 h 9781"/>
                <a:gd name="connsiteX34" fmla="*/ 3877 w 10000"/>
                <a:gd name="connsiteY34" fmla="*/ 2825 h 9781"/>
                <a:gd name="connsiteX35" fmla="*/ 4674 w 10000"/>
                <a:gd name="connsiteY35" fmla="*/ 2338 h 9781"/>
                <a:gd name="connsiteX36" fmla="*/ 5281 w 10000"/>
                <a:gd name="connsiteY36" fmla="*/ 1846 h 9781"/>
                <a:gd name="connsiteX37" fmla="*/ 5840 w 10000"/>
                <a:gd name="connsiteY37" fmla="*/ 710 h 9781"/>
                <a:gd name="connsiteX38" fmla="*/ 6120 w 10000"/>
                <a:gd name="connsiteY38" fmla="*/ 0 h 9781"/>
                <a:gd name="connsiteX39" fmla="*/ 6729 w 10000"/>
                <a:gd name="connsiteY39" fmla="*/ 0 h 9781"/>
                <a:gd name="connsiteX0" fmla="*/ 6729 w 10000"/>
                <a:gd name="connsiteY0" fmla="*/ 0 h 9946"/>
                <a:gd name="connsiteX1" fmla="*/ 7195 w 10000"/>
                <a:gd name="connsiteY1" fmla="*/ 497 h 9946"/>
                <a:gd name="connsiteX2" fmla="*/ 7989 w 10000"/>
                <a:gd name="connsiteY2" fmla="*/ 390 h 9946"/>
                <a:gd name="connsiteX3" fmla="*/ 8785 w 10000"/>
                <a:gd name="connsiteY3" fmla="*/ 667 h 9946"/>
                <a:gd name="connsiteX4" fmla="*/ 9159 w 10000"/>
                <a:gd name="connsiteY4" fmla="*/ 667 h 9946"/>
                <a:gd name="connsiteX5" fmla="*/ 9441 w 10000"/>
                <a:gd name="connsiteY5" fmla="*/ 1389 h 9946"/>
                <a:gd name="connsiteX6" fmla="*/ 9487 w 10000"/>
                <a:gd name="connsiteY6" fmla="*/ 2108 h 9946"/>
                <a:gd name="connsiteX7" fmla="*/ 9765 w 10000"/>
                <a:gd name="connsiteY7" fmla="*/ 3332 h 9946"/>
                <a:gd name="connsiteX8" fmla="*/ 10000 w 10000"/>
                <a:gd name="connsiteY8" fmla="*/ 3555 h 9946"/>
                <a:gd name="connsiteX9" fmla="*/ 9858 w 10000"/>
                <a:gd name="connsiteY9" fmla="*/ 4001 h 9946"/>
                <a:gd name="connsiteX10" fmla="*/ 8785 w 10000"/>
                <a:gd name="connsiteY10" fmla="*/ 4223 h 9946"/>
                <a:gd name="connsiteX11" fmla="*/ 8409 w 10000"/>
                <a:gd name="connsiteY11" fmla="*/ 4666 h 9946"/>
                <a:gd name="connsiteX12" fmla="*/ 7896 w 10000"/>
                <a:gd name="connsiteY12" fmla="*/ 4722 h 9946"/>
                <a:gd name="connsiteX13" fmla="*/ 7896 w 10000"/>
                <a:gd name="connsiteY13" fmla="*/ 5612 h 9946"/>
                <a:gd name="connsiteX14" fmla="*/ 6915 w 10000"/>
                <a:gd name="connsiteY14" fmla="*/ 6058 h 9946"/>
                <a:gd name="connsiteX15" fmla="*/ 6586 w 10000"/>
                <a:gd name="connsiteY15" fmla="*/ 6611 h 9946"/>
                <a:gd name="connsiteX16" fmla="*/ 5934 w 10000"/>
                <a:gd name="connsiteY16" fmla="*/ 6945 h 9946"/>
                <a:gd name="connsiteX17" fmla="*/ 5091 w 10000"/>
                <a:gd name="connsiteY17" fmla="*/ 7113 h 9946"/>
                <a:gd name="connsiteX18" fmla="*/ 3737 w 10000"/>
                <a:gd name="connsiteY18" fmla="*/ 7944 h 9946"/>
                <a:gd name="connsiteX19" fmla="*/ 3737 w 10000"/>
                <a:gd name="connsiteY19" fmla="*/ 9333 h 9946"/>
                <a:gd name="connsiteX20" fmla="*/ 3596 w 10000"/>
                <a:gd name="connsiteY20" fmla="*/ 9333 h 9946"/>
                <a:gd name="connsiteX21" fmla="*/ 3596 w 10000"/>
                <a:gd name="connsiteY21" fmla="*/ 9333 h 9946"/>
                <a:gd name="connsiteX22" fmla="*/ 3596 w 10000"/>
                <a:gd name="connsiteY22" fmla="*/ 9946 h 9946"/>
                <a:gd name="connsiteX23" fmla="*/ 0 w 10000"/>
                <a:gd name="connsiteY23" fmla="*/ 9333 h 9946"/>
                <a:gd name="connsiteX24" fmla="*/ 44 w 10000"/>
                <a:gd name="connsiteY24" fmla="*/ 9333 h 9946"/>
                <a:gd name="connsiteX25" fmla="*/ 465 w 10000"/>
                <a:gd name="connsiteY25" fmla="*/ 8887 h 9946"/>
                <a:gd name="connsiteX26" fmla="*/ 1214 w 10000"/>
                <a:gd name="connsiteY26" fmla="*/ 8777 h 9946"/>
                <a:gd name="connsiteX27" fmla="*/ 1914 w 10000"/>
                <a:gd name="connsiteY27" fmla="*/ 7998 h 9946"/>
                <a:gd name="connsiteX28" fmla="*/ 2336 w 10000"/>
                <a:gd name="connsiteY28" fmla="*/ 7667 h 9946"/>
                <a:gd name="connsiteX29" fmla="*/ 3035 w 10000"/>
                <a:gd name="connsiteY29" fmla="*/ 6722 h 9946"/>
                <a:gd name="connsiteX30" fmla="*/ 2849 w 10000"/>
                <a:gd name="connsiteY30" fmla="*/ 5279 h 9946"/>
                <a:gd name="connsiteX31" fmla="*/ 3177 w 10000"/>
                <a:gd name="connsiteY31" fmla="*/ 4279 h 9946"/>
                <a:gd name="connsiteX32" fmla="*/ 3315 w 10000"/>
                <a:gd name="connsiteY32" fmla="*/ 3665 h 9946"/>
                <a:gd name="connsiteX33" fmla="*/ 3877 w 10000"/>
                <a:gd name="connsiteY33" fmla="*/ 2888 h 9946"/>
                <a:gd name="connsiteX34" fmla="*/ 4674 w 10000"/>
                <a:gd name="connsiteY34" fmla="*/ 2390 h 9946"/>
                <a:gd name="connsiteX35" fmla="*/ 5281 w 10000"/>
                <a:gd name="connsiteY35" fmla="*/ 1887 h 9946"/>
                <a:gd name="connsiteX36" fmla="*/ 5840 w 10000"/>
                <a:gd name="connsiteY36" fmla="*/ 726 h 9946"/>
                <a:gd name="connsiteX37" fmla="*/ 6120 w 10000"/>
                <a:gd name="connsiteY37" fmla="*/ 0 h 9946"/>
                <a:gd name="connsiteX38" fmla="*/ 6729 w 10000"/>
                <a:gd name="connsiteY38" fmla="*/ 0 h 9946"/>
                <a:gd name="connsiteX0" fmla="*/ 6729 w 10000"/>
                <a:gd name="connsiteY0" fmla="*/ 0 h 9384"/>
                <a:gd name="connsiteX1" fmla="*/ 7195 w 10000"/>
                <a:gd name="connsiteY1" fmla="*/ 500 h 9384"/>
                <a:gd name="connsiteX2" fmla="*/ 7989 w 10000"/>
                <a:gd name="connsiteY2" fmla="*/ 392 h 9384"/>
                <a:gd name="connsiteX3" fmla="*/ 8785 w 10000"/>
                <a:gd name="connsiteY3" fmla="*/ 671 h 9384"/>
                <a:gd name="connsiteX4" fmla="*/ 9159 w 10000"/>
                <a:gd name="connsiteY4" fmla="*/ 671 h 9384"/>
                <a:gd name="connsiteX5" fmla="*/ 9441 w 10000"/>
                <a:gd name="connsiteY5" fmla="*/ 1397 h 9384"/>
                <a:gd name="connsiteX6" fmla="*/ 9487 w 10000"/>
                <a:gd name="connsiteY6" fmla="*/ 2119 h 9384"/>
                <a:gd name="connsiteX7" fmla="*/ 9765 w 10000"/>
                <a:gd name="connsiteY7" fmla="*/ 3350 h 9384"/>
                <a:gd name="connsiteX8" fmla="*/ 10000 w 10000"/>
                <a:gd name="connsiteY8" fmla="*/ 3574 h 9384"/>
                <a:gd name="connsiteX9" fmla="*/ 9858 w 10000"/>
                <a:gd name="connsiteY9" fmla="*/ 4023 h 9384"/>
                <a:gd name="connsiteX10" fmla="*/ 8785 w 10000"/>
                <a:gd name="connsiteY10" fmla="*/ 4246 h 9384"/>
                <a:gd name="connsiteX11" fmla="*/ 8409 w 10000"/>
                <a:gd name="connsiteY11" fmla="*/ 4691 h 9384"/>
                <a:gd name="connsiteX12" fmla="*/ 7896 w 10000"/>
                <a:gd name="connsiteY12" fmla="*/ 4748 h 9384"/>
                <a:gd name="connsiteX13" fmla="*/ 7896 w 10000"/>
                <a:gd name="connsiteY13" fmla="*/ 5642 h 9384"/>
                <a:gd name="connsiteX14" fmla="*/ 6915 w 10000"/>
                <a:gd name="connsiteY14" fmla="*/ 6091 h 9384"/>
                <a:gd name="connsiteX15" fmla="*/ 6586 w 10000"/>
                <a:gd name="connsiteY15" fmla="*/ 6647 h 9384"/>
                <a:gd name="connsiteX16" fmla="*/ 5934 w 10000"/>
                <a:gd name="connsiteY16" fmla="*/ 6983 h 9384"/>
                <a:gd name="connsiteX17" fmla="*/ 5091 w 10000"/>
                <a:gd name="connsiteY17" fmla="*/ 7152 h 9384"/>
                <a:gd name="connsiteX18" fmla="*/ 3737 w 10000"/>
                <a:gd name="connsiteY18" fmla="*/ 7987 h 9384"/>
                <a:gd name="connsiteX19" fmla="*/ 3737 w 10000"/>
                <a:gd name="connsiteY19" fmla="*/ 9384 h 9384"/>
                <a:gd name="connsiteX20" fmla="*/ 3596 w 10000"/>
                <a:gd name="connsiteY20" fmla="*/ 9384 h 9384"/>
                <a:gd name="connsiteX21" fmla="*/ 3596 w 10000"/>
                <a:gd name="connsiteY21" fmla="*/ 9384 h 9384"/>
                <a:gd name="connsiteX22" fmla="*/ 0 w 10000"/>
                <a:gd name="connsiteY22" fmla="*/ 9384 h 9384"/>
                <a:gd name="connsiteX23" fmla="*/ 44 w 10000"/>
                <a:gd name="connsiteY23" fmla="*/ 9384 h 9384"/>
                <a:gd name="connsiteX24" fmla="*/ 465 w 10000"/>
                <a:gd name="connsiteY24" fmla="*/ 8935 h 9384"/>
                <a:gd name="connsiteX25" fmla="*/ 1214 w 10000"/>
                <a:gd name="connsiteY25" fmla="*/ 8825 h 9384"/>
                <a:gd name="connsiteX26" fmla="*/ 1914 w 10000"/>
                <a:gd name="connsiteY26" fmla="*/ 8041 h 9384"/>
                <a:gd name="connsiteX27" fmla="*/ 2336 w 10000"/>
                <a:gd name="connsiteY27" fmla="*/ 7709 h 9384"/>
                <a:gd name="connsiteX28" fmla="*/ 3035 w 10000"/>
                <a:gd name="connsiteY28" fmla="*/ 6758 h 9384"/>
                <a:gd name="connsiteX29" fmla="*/ 2849 w 10000"/>
                <a:gd name="connsiteY29" fmla="*/ 5308 h 9384"/>
                <a:gd name="connsiteX30" fmla="*/ 3177 w 10000"/>
                <a:gd name="connsiteY30" fmla="*/ 4302 h 9384"/>
                <a:gd name="connsiteX31" fmla="*/ 3315 w 10000"/>
                <a:gd name="connsiteY31" fmla="*/ 3685 h 9384"/>
                <a:gd name="connsiteX32" fmla="*/ 3877 w 10000"/>
                <a:gd name="connsiteY32" fmla="*/ 2904 h 9384"/>
                <a:gd name="connsiteX33" fmla="*/ 4674 w 10000"/>
                <a:gd name="connsiteY33" fmla="*/ 2403 h 9384"/>
                <a:gd name="connsiteX34" fmla="*/ 5281 w 10000"/>
                <a:gd name="connsiteY34" fmla="*/ 1897 h 9384"/>
                <a:gd name="connsiteX35" fmla="*/ 5840 w 10000"/>
                <a:gd name="connsiteY35" fmla="*/ 730 h 9384"/>
                <a:gd name="connsiteX36" fmla="*/ 6120 w 10000"/>
                <a:gd name="connsiteY36" fmla="*/ 0 h 9384"/>
                <a:gd name="connsiteX37" fmla="*/ 6729 w 10000"/>
                <a:gd name="connsiteY37" fmla="*/ 0 h 9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0000" h="9384">
                  <a:moveTo>
                    <a:pt x="6729" y="0"/>
                  </a:moveTo>
                  <a:lnTo>
                    <a:pt x="7195" y="500"/>
                  </a:lnTo>
                  <a:lnTo>
                    <a:pt x="7989" y="392"/>
                  </a:lnTo>
                  <a:lnTo>
                    <a:pt x="8785" y="671"/>
                  </a:lnTo>
                  <a:lnTo>
                    <a:pt x="9159" y="671"/>
                  </a:lnTo>
                  <a:cubicBezTo>
                    <a:pt x="9254" y="913"/>
                    <a:pt x="9348" y="1153"/>
                    <a:pt x="9441" y="1397"/>
                  </a:cubicBezTo>
                  <a:cubicBezTo>
                    <a:pt x="9456" y="1642"/>
                    <a:pt x="9470" y="1881"/>
                    <a:pt x="9487" y="2119"/>
                  </a:cubicBezTo>
                  <a:lnTo>
                    <a:pt x="9765" y="3350"/>
                  </a:lnTo>
                  <a:lnTo>
                    <a:pt x="10000" y="3574"/>
                  </a:lnTo>
                  <a:cubicBezTo>
                    <a:pt x="9954" y="3724"/>
                    <a:pt x="9906" y="3872"/>
                    <a:pt x="9858" y="4023"/>
                  </a:cubicBezTo>
                  <a:lnTo>
                    <a:pt x="8785" y="4246"/>
                  </a:lnTo>
                  <a:lnTo>
                    <a:pt x="8409" y="4691"/>
                  </a:lnTo>
                  <a:lnTo>
                    <a:pt x="7896" y="4748"/>
                  </a:lnTo>
                  <a:lnTo>
                    <a:pt x="7896" y="5642"/>
                  </a:lnTo>
                  <a:lnTo>
                    <a:pt x="6915" y="6091"/>
                  </a:lnTo>
                  <a:lnTo>
                    <a:pt x="6586" y="6647"/>
                  </a:lnTo>
                  <a:lnTo>
                    <a:pt x="5934" y="6983"/>
                  </a:lnTo>
                  <a:lnTo>
                    <a:pt x="5091" y="7152"/>
                  </a:lnTo>
                  <a:lnTo>
                    <a:pt x="3737" y="7987"/>
                  </a:lnTo>
                  <a:lnTo>
                    <a:pt x="3737" y="9384"/>
                  </a:lnTo>
                  <a:lnTo>
                    <a:pt x="3596" y="9384"/>
                  </a:lnTo>
                  <a:lnTo>
                    <a:pt x="3596" y="9384"/>
                  </a:lnTo>
                  <a:lnTo>
                    <a:pt x="0" y="9384"/>
                  </a:lnTo>
                  <a:lnTo>
                    <a:pt x="44" y="9384"/>
                  </a:lnTo>
                  <a:lnTo>
                    <a:pt x="465" y="8935"/>
                  </a:lnTo>
                  <a:lnTo>
                    <a:pt x="1214" y="8825"/>
                  </a:lnTo>
                  <a:lnTo>
                    <a:pt x="1914" y="8041"/>
                  </a:lnTo>
                  <a:lnTo>
                    <a:pt x="2336" y="7709"/>
                  </a:lnTo>
                  <a:lnTo>
                    <a:pt x="3035" y="6758"/>
                  </a:lnTo>
                  <a:cubicBezTo>
                    <a:pt x="2975" y="6276"/>
                    <a:pt x="2911" y="5790"/>
                    <a:pt x="2849" y="5308"/>
                  </a:cubicBezTo>
                  <a:cubicBezTo>
                    <a:pt x="2958" y="4972"/>
                    <a:pt x="3069" y="4637"/>
                    <a:pt x="3177" y="4302"/>
                  </a:cubicBezTo>
                  <a:cubicBezTo>
                    <a:pt x="3222" y="4097"/>
                    <a:pt x="3269" y="3891"/>
                    <a:pt x="3315" y="3685"/>
                  </a:cubicBezTo>
                  <a:lnTo>
                    <a:pt x="3877" y="2904"/>
                  </a:lnTo>
                  <a:lnTo>
                    <a:pt x="4674" y="2403"/>
                  </a:lnTo>
                  <a:lnTo>
                    <a:pt x="5281" y="1897"/>
                  </a:lnTo>
                  <a:lnTo>
                    <a:pt x="5840" y="730"/>
                  </a:lnTo>
                  <a:cubicBezTo>
                    <a:pt x="5934" y="486"/>
                    <a:pt x="6026" y="241"/>
                    <a:pt x="6120" y="0"/>
                  </a:cubicBezTo>
                  <a:lnTo>
                    <a:pt x="6729" y="0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61" name="Freeform 118">
              <a:extLst>
                <a:ext uri="{FF2B5EF4-FFF2-40B4-BE49-F238E27FC236}">
                  <a16:creationId xmlns:a16="http://schemas.microsoft.com/office/drawing/2014/main" id="{047479BE-D857-47AC-A403-1FF40CA75D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1884" y="1568938"/>
              <a:ext cx="78148" cy="79450"/>
            </a:xfrm>
            <a:custGeom>
              <a:avLst/>
              <a:gdLst>
                <a:gd name="T0" fmla="*/ 0 w 60"/>
                <a:gd name="T1" fmla="*/ 5 h 61"/>
                <a:gd name="T2" fmla="*/ 3 w 60"/>
                <a:gd name="T3" fmla="*/ 2 h 61"/>
                <a:gd name="T4" fmla="*/ 13 w 60"/>
                <a:gd name="T5" fmla="*/ 0 h 61"/>
                <a:gd name="T6" fmla="*/ 26 w 60"/>
                <a:gd name="T7" fmla="*/ 6 h 61"/>
                <a:gd name="T8" fmla="*/ 33 w 60"/>
                <a:gd name="T9" fmla="*/ 7 h 61"/>
                <a:gd name="T10" fmla="*/ 41 w 60"/>
                <a:gd name="T11" fmla="*/ 12 h 61"/>
                <a:gd name="T12" fmla="*/ 41 w 60"/>
                <a:gd name="T13" fmla="*/ 20 h 61"/>
                <a:gd name="T14" fmla="*/ 47 w 60"/>
                <a:gd name="T15" fmla="*/ 23 h 61"/>
                <a:gd name="T16" fmla="*/ 51 w 60"/>
                <a:gd name="T17" fmla="*/ 31 h 61"/>
                <a:gd name="T18" fmla="*/ 57 w 60"/>
                <a:gd name="T19" fmla="*/ 37 h 61"/>
                <a:gd name="T20" fmla="*/ 57 w 60"/>
                <a:gd name="T21" fmla="*/ 40 h 61"/>
                <a:gd name="T22" fmla="*/ 60 w 60"/>
                <a:gd name="T23" fmla="*/ 42 h 61"/>
                <a:gd name="T24" fmla="*/ 56 w 60"/>
                <a:gd name="T25" fmla="*/ 43 h 61"/>
                <a:gd name="T26" fmla="*/ 46 w 60"/>
                <a:gd name="T27" fmla="*/ 42 h 61"/>
                <a:gd name="T28" fmla="*/ 44 w 60"/>
                <a:gd name="T29" fmla="*/ 40 h 61"/>
                <a:gd name="T30" fmla="*/ 41 w 60"/>
                <a:gd name="T31" fmla="*/ 41 h 61"/>
                <a:gd name="T32" fmla="*/ 43 w 60"/>
                <a:gd name="T33" fmla="*/ 45 h 61"/>
                <a:gd name="T34" fmla="*/ 39 w 60"/>
                <a:gd name="T35" fmla="*/ 52 h 61"/>
                <a:gd name="T36" fmla="*/ 37 w 60"/>
                <a:gd name="T37" fmla="*/ 59 h 61"/>
                <a:gd name="T38" fmla="*/ 33 w 60"/>
                <a:gd name="T39" fmla="*/ 61 h 61"/>
                <a:gd name="T40" fmla="*/ 29 w 60"/>
                <a:gd name="T41" fmla="*/ 52 h 61"/>
                <a:gd name="T42" fmla="*/ 30 w 60"/>
                <a:gd name="T43" fmla="*/ 43 h 61"/>
                <a:gd name="T44" fmla="*/ 28 w 60"/>
                <a:gd name="T45" fmla="*/ 34 h 61"/>
                <a:gd name="T46" fmla="*/ 17 w 60"/>
                <a:gd name="T47" fmla="*/ 22 h 61"/>
                <a:gd name="T48" fmla="*/ 10 w 60"/>
                <a:gd name="T49" fmla="*/ 13 h 61"/>
                <a:gd name="T50" fmla="*/ 5 w 60"/>
                <a:gd name="T51" fmla="*/ 7 h 61"/>
                <a:gd name="T52" fmla="*/ 0 w 60"/>
                <a:gd name="T53" fmla="*/ 5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0" h="61">
                  <a:moveTo>
                    <a:pt x="0" y="5"/>
                  </a:moveTo>
                  <a:lnTo>
                    <a:pt x="3" y="2"/>
                  </a:lnTo>
                  <a:lnTo>
                    <a:pt x="13" y="0"/>
                  </a:lnTo>
                  <a:lnTo>
                    <a:pt x="26" y="6"/>
                  </a:lnTo>
                  <a:lnTo>
                    <a:pt x="33" y="7"/>
                  </a:lnTo>
                  <a:lnTo>
                    <a:pt x="41" y="12"/>
                  </a:lnTo>
                  <a:lnTo>
                    <a:pt x="41" y="20"/>
                  </a:lnTo>
                  <a:lnTo>
                    <a:pt x="47" y="23"/>
                  </a:lnTo>
                  <a:lnTo>
                    <a:pt x="51" y="31"/>
                  </a:lnTo>
                  <a:lnTo>
                    <a:pt x="57" y="37"/>
                  </a:lnTo>
                  <a:lnTo>
                    <a:pt x="57" y="40"/>
                  </a:lnTo>
                  <a:lnTo>
                    <a:pt x="60" y="42"/>
                  </a:lnTo>
                  <a:lnTo>
                    <a:pt x="56" y="43"/>
                  </a:lnTo>
                  <a:lnTo>
                    <a:pt x="46" y="42"/>
                  </a:lnTo>
                  <a:lnTo>
                    <a:pt x="44" y="40"/>
                  </a:lnTo>
                  <a:lnTo>
                    <a:pt x="41" y="41"/>
                  </a:lnTo>
                  <a:lnTo>
                    <a:pt x="43" y="45"/>
                  </a:lnTo>
                  <a:lnTo>
                    <a:pt x="39" y="52"/>
                  </a:lnTo>
                  <a:lnTo>
                    <a:pt x="37" y="59"/>
                  </a:lnTo>
                  <a:lnTo>
                    <a:pt x="33" y="61"/>
                  </a:lnTo>
                  <a:lnTo>
                    <a:pt x="29" y="52"/>
                  </a:lnTo>
                  <a:lnTo>
                    <a:pt x="30" y="43"/>
                  </a:lnTo>
                  <a:lnTo>
                    <a:pt x="28" y="34"/>
                  </a:lnTo>
                  <a:lnTo>
                    <a:pt x="17" y="22"/>
                  </a:lnTo>
                  <a:lnTo>
                    <a:pt x="10" y="13"/>
                  </a:lnTo>
                  <a:lnTo>
                    <a:pt x="5" y="7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62" name="Freeform 119">
              <a:extLst>
                <a:ext uri="{FF2B5EF4-FFF2-40B4-BE49-F238E27FC236}">
                  <a16:creationId xmlns:a16="http://schemas.microsoft.com/office/drawing/2014/main" id="{921B5271-FDF3-4492-B09E-4A813EAA9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3838" y="3202224"/>
              <a:ext cx="183647" cy="365992"/>
            </a:xfrm>
            <a:custGeom>
              <a:avLst/>
              <a:gdLst>
                <a:gd name="T0" fmla="*/ 127 w 141"/>
                <a:gd name="T1" fmla="*/ 8 h 281"/>
                <a:gd name="T2" fmla="*/ 131 w 141"/>
                <a:gd name="T3" fmla="*/ 17 h 281"/>
                <a:gd name="T4" fmla="*/ 135 w 141"/>
                <a:gd name="T5" fmla="*/ 31 h 281"/>
                <a:gd name="T6" fmla="*/ 136 w 141"/>
                <a:gd name="T7" fmla="*/ 56 h 281"/>
                <a:gd name="T8" fmla="*/ 141 w 141"/>
                <a:gd name="T9" fmla="*/ 66 h 281"/>
                <a:gd name="T10" fmla="*/ 138 w 141"/>
                <a:gd name="T11" fmla="*/ 76 h 281"/>
                <a:gd name="T12" fmla="*/ 134 w 141"/>
                <a:gd name="T13" fmla="*/ 82 h 281"/>
                <a:gd name="T14" fmla="*/ 129 w 141"/>
                <a:gd name="T15" fmla="*/ 70 h 281"/>
                <a:gd name="T16" fmla="*/ 125 w 141"/>
                <a:gd name="T17" fmla="*/ 76 h 281"/>
                <a:gd name="T18" fmla="*/ 128 w 141"/>
                <a:gd name="T19" fmla="*/ 91 h 281"/>
                <a:gd name="T20" fmla="*/ 126 w 141"/>
                <a:gd name="T21" fmla="*/ 100 h 281"/>
                <a:gd name="T22" fmla="*/ 120 w 141"/>
                <a:gd name="T23" fmla="*/ 105 h 281"/>
                <a:gd name="T24" fmla="*/ 118 w 141"/>
                <a:gd name="T25" fmla="*/ 122 h 281"/>
                <a:gd name="T26" fmla="*/ 109 w 141"/>
                <a:gd name="T27" fmla="*/ 147 h 281"/>
                <a:gd name="T28" fmla="*/ 98 w 141"/>
                <a:gd name="T29" fmla="*/ 175 h 281"/>
                <a:gd name="T30" fmla="*/ 83 w 141"/>
                <a:gd name="T31" fmla="*/ 215 h 281"/>
                <a:gd name="T32" fmla="*/ 74 w 141"/>
                <a:gd name="T33" fmla="*/ 244 h 281"/>
                <a:gd name="T34" fmla="*/ 63 w 141"/>
                <a:gd name="T35" fmla="*/ 268 h 281"/>
                <a:gd name="T36" fmla="*/ 49 w 141"/>
                <a:gd name="T37" fmla="*/ 272 h 281"/>
                <a:gd name="T38" fmla="*/ 32 w 141"/>
                <a:gd name="T39" fmla="*/ 281 h 281"/>
                <a:gd name="T40" fmla="*/ 22 w 141"/>
                <a:gd name="T41" fmla="*/ 276 h 281"/>
                <a:gd name="T42" fmla="*/ 9 w 141"/>
                <a:gd name="T43" fmla="*/ 268 h 281"/>
                <a:gd name="T44" fmla="*/ 5 w 141"/>
                <a:gd name="T45" fmla="*/ 258 h 281"/>
                <a:gd name="T46" fmla="*/ 5 w 141"/>
                <a:gd name="T47" fmla="*/ 239 h 281"/>
                <a:gd name="T48" fmla="*/ 0 w 141"/>
                <a:gd name="T49" fmla="*/ 223 h 281"/>
                <a:gd name="T50" fmla="*/ 0 w 141"/>
                <a:gd name="T51" fmla="*/ 208 h 281"/>
                <a:gd name="T52" fmla="*/ 4 w 141"/>
                <a:gd name="T53" fmla="*/ 193 h 281"/>
                <a:gd name="T54" fmla="*/ 13 w 141"/>
                <a:gd name="T55" fmla="*/ 189 h 281"/>
                <a:gd name="T56" fmla="*/ 13 w 141"/>
                <a:gd name="T57" fmla="*/ 182 h 281"/>
                <a:gd name="T58" fmla="*/ 23 w 141"/>
                <a:gd name="T59" fmla="*/ 166 h 281"/>
                <a:gd name="T60" fmla="*/ 26 w 141"/>
                <a:gd name="T61" fmla="*/ 153 h 281"/>
                <a:gd name="T62" fmla="*/ 22 w 141"/>
                <a:gd name="T63" fmla="*/ 143 h 281"/>
                <a:gd name="T64" fmla="*/ 20 w 141"/>
                <a:gd name="T65" fmla="*/ 130 h 281"/>
                <a:gd name="T66" fmla="*/ 19 w 141"/>
                <a:gd name="T67" fmla="*/ 111 h 281"/>
                <a:gd name="T68" fmla="*/ 27 w 141"/>
                <a:gd name="T69" fmla="*/ 99 h 281"/>
                <a:gd name="T70" fmla="*/ 30 w 141"/>
                <a:gd name="T71" fmla="*/ 86 h 281"/>
                <a:gd name="T72" fmla="*/ 39 w 141"/>
                <a:gd name="T73" fmla="*/ 85 h 281"/>
                <a:gd name="T74" fmla="*/ 49 w 141"/>
                <a:gd name="T75" fmla="*/ 81 h 281"/>
                <a:gd name="T76" fmla="*/ 56 w 141"/>
                <a:gd name="T77" fmla="*/ 77 h 281"/>
                <a:gd name="T78" fmla="*/ 64 w 141"/>
                <a:gd name="T79" fmla="*/ 77 h 281"/>
                <a:gd name="T80" fmla="*/ 75 w 141"/>
                <a:gd name="T81" fmla="*/ 65 h 281"/>
                <a:gd name="T82" fmla="*/ 91 w 141"/>
                <a:gd name="T83" fmla="*/ 53 h 281"/>
                <a:gd name="T84" fmla="*/ 97 w 141"/>
                <a:gd name="T85" fmla="*/ 42 h 281"/>
                <a:gd name="T86" fmla="*/ 95 w 141"/>
                <a:gd name="T87" fmla="*/ 33 h 281"/>
                <a:gd name="T88" fmla="*/ 102 w 141"/>
                <a:gd name="T89" fmla="*/ 36 h 281"/>
                <a:gd name="T90" fmla="*/ 113 w 141"/>
                <a:gd name="T91" fmla="*/ 21 h 281"/>
                <a:gd name="T92" fmla="*/ 114 w 141"/>
                <a:gd name="T93" fmla="*/ 9 h 281"/>
                <a:gd name="T94" fmla="*/ 121 w 141"/>
                <a:gd name="T95" fmla="*/ 0 h 281"/>
                <a:gd name="T96" fmla="*/ 127 w 141"/>
                <a:gd name="T97" fmla="*/ 8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1" h="281">
                  <a:moveTo>
                    <a:pt x="127" y="8"/>
                  </a:moveTo>
                  <a:lnTo>
                    <a:pt x="131" y="17"/>
                  </a:lnTo>
                  <a:lnTo>
                    <a:pt x="135" y="31"/>
                  </a:lnTo>
                  <a:lnTo>
                    <a:pt x="136" y="56"/>
                  </a:lnTo>
                  <a:lnTo>
                    <a:pt x="141" y="66"/>
                  </a:lnTo>
                  <a:lnTo>
                    <a:pt x="138" y="76"/>
                  </a:lnTo>
                  <a:lnTo>
                    <a:pt x="134" y="82"/>
                  </a:lnTo>
                  <a:lnTo>
                    <a:pt x="129" y="70"/>
                  </a:lnTo>
                  <a:lnTo>
                    <a:pt x="125" y="76"/>
                  </a:lnTo>
                  <a:lnTo>
                    <a:pt x="128" y="91"/>
                  </a:lnTo>
                  <a:lnTo>
                    <a:pt x="126" y="100"/>
                  </a:lnTo>
                  <a:lnTo>
                    <a:pt x="120" y="105"/>
                  </a:lnTo>
                  <a:lnTo>
                    <a:pt x="118" y="122"/>
                  </a:lnTo>
                  <a:lnTo>
                    <a:pt x="109" y="147"/>
                  </a:lnTo>
                  <a:lnTo>
                    <a:pt x="98" y="175"/>
                  </a:lnTo>
                  <a:lnTo>
                    <a:pt x="83" y="215"/>
                  </a:lnTo>
                  <a:lnTo>
                    <a:pt x="74" y="244"/>
                  </a:lnTo>
                  <a:lnTo>
                    <a:pt x="63" y="268"/>
                  </a:lnTo>
                  <a:lnTo>
                    <a:pt x="49" y="272"/>
                  </a:lnTo>
                  <a:lnTo>
                    <a:pt x="32" y="281"/>
                  </a:lnTo>
                  <a:lnTo>
                    <a:pt x="22" y="276"/>
                  </a:lnTo>
                  <a:lnTo>
                    <a:pt x="9" y="268"/>
                  </a:lnTo>
                  <a:lnTo>
                    <a:pt x="5" y="258"/>
                  </a:lnTo>
                  <a:lnTo>
                    <a:pt x="5" y="239"/>
                  </a:lnTo>
                  <a:lnTo>
                    <a:pt x="0" y="223"/>
                  </a:lnTo>
                  <a:lnTo>
                    <a:pt x="0" y="208"/>
                  </a:lnTo>
                  <a:lnTo>
                    <a:pt x="4" y="193"/>
                  </a:lnTo>
                  <a:lnTo>
                    <a:pt x="13" y="189"/>
                  </a:lnTo>
                  <a:lnTo>
                    <a:pt x="13" y="182"/>
                  </a:lnTo>
                  <a:lnTo>
                    <a:pt x="23" y="166"/>
                  </a:lnTo>
                  <a:lnTo>
                    <a:pt x="26" y="153"/>
                  </a:lnTo>
                  <a:lnTo>
                    <a:pt x="22" y="143"/>
                  </a:lnTo>
                  <a:lnTo>
                    <a:pt x="20" y="130"/>
                  </a:lnTo>
                  <a:lnTo>
                    <a:pt x="19" y="111"/>
                  </a:lnTo>
                  <a:lnTo>
                    <a:pt x="27" y="99"/>
                  </a:lnTo>
                  <a:lnTo>
                    <a:pt x="30" y="86"/>
                  </a:lnTo>
                  <a:lnTo>
                    <a:pt x="39" y="85"/>
                  </a:lnTo>
                  <a:lnTo>
                    <a:pt x="49" y="81"/>
                  </a:lnTo>
                  <a:lnTo>
                    <a:pt x="56" y="77"/>
                  </a:lnTo>
                  <a:lnTo>
                    <a:pt x="64" y="77"/>
                  </a:lnTo>
                  <a:lnTo>
                    <a:pt x="75" y="65"/>
                  </a:lnTo>
                  <a:lnTo>
                    <a:pt x="91" y="53"/>
                  </a:lnTo>
                  <a:lnTo>
                    <a:pt x="97" y="42"/>
                  </a:lnTo>
                  <a:lnTo>
                    <a:pt x="95" y="33"/>
                  </a:lnTo>
                  <a:lnTo>
                    <a:pt x="102" y="36"/>
                  </a:lnTo>
                  <a:lnTo>
                    <a:pt x="113" y="21"/>
                  </a:lnTo>
                  <a:lnTo>
                    <a:pt x="114" y="9"/>
                  </a:lnTo>
                  <a:lnTo>
                    <a:pt x="121" y="0"/>
                  </a:lnTo>
                  <a:lnTo>
                    <a:pt x="127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63" name="Freeform 120">
              <a:extLst>
                <a:ext uri="{FF2B5EF4-FFF2-40B4-BE49-F238E27FC236}">
                  <a16:creationId xmlns:a16="http://schemas.microsoft.com/office/drawing/2014/main" id="{0DF90BE3-E18F-45A2-B97A-6288BE1C44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6994" y="1990935"/>
              <a:ext cx="627786" cy="491028"/>
            </a:xfrm>
            <a:custGeom>
              <a:avLst/>
              <a:gdLst>
                <a:gd name="T0" fmla="*/ 298 w 482"/>
                <a:gd name="T1" fmla="*/ 175 h 377"/>
                <a:gd name="T2" fmla="*/ 288 w 482"/>
                <a:gd name="T3" fmla="*/ 225 h 377"/>
                <a:gd name="T4" fmla="*/ 303 w 482"/>
                <a:gd name="T5" fmla="*/ 266 h 377"/>
                <a:gd name="T6" fmla="*/ 329 w 482"/>
                <a:gd name="T7" fmla="*/ 294 h 377"/>
                <a:gd name="T8" fmla="*/ 366 w 482"/>
                <a:gd name="T9" fmla="*/ 295 h 377"/>
                <a:gd name="T10" fmla="*/ 405 w 482"/>
                <a:gd name="T11" fmla="*/ 279 h 377"/>
                <a:gd name="T12" fmla="*/ 419 w 482"/>
                <a:gd name="T13" fmla="*/ 243 h 377"/>
                <a:gd name="T14" fmla="*/ 468 w 482"/>
                <a:gd name="T15" fmla="*/ 234 h 377"/>
                <a:gd name="T16" fmla="*/ 480 w 482"/>
                <a:gd name="T17" fmla="*/ 246 h 377"/>
                <a:gd name="T18" fmla="*/ 465 w 482"/>
                <a:gd name="T19" fmla="*/ 275 h 377"/>
                <a:gd name="T20" fmla="*/ 451 w 482"/>
                <a:gd name="T21" fmla="*/ 295 h 377"/>
                <a:gd name="T22" fmla="*/ 436 w 482"/>
                <a:gd name="T23" fmla="*/ 308 h 377"/>
                <a:gd name="T24" fmla="*/ 430 w 482"/>
                <a:gd name="T25" fmla="*/ 309 h 377"/>
                <a:gd name="T26" fmla="*/ 395 w 482"/>
                <a:gd name="T27" fmla="*/ 321 h 377"/>
                <a:gd name="T28" fmla="*/ 399 w 482"/>
                <a:gd name="T29" fmla="*/ 333 h 377"/>
                <a:gd name="T30" fmla="*/ 402 w 482"/>
                <a:gd name="T31" fmla="*/ 346 h 377"/>
                <a:gd name="T32" fmla="*/ 370 w 482"/>
                <a:gd name="T33" fmla="*/ 367 h 377"/>
                <a:gd name="T34" fmla="*/ 348 w 482"/>
                <a:gd name="T35" fmla="*/ 355 h 377"/>
                <a:gd name="T36" fmla="*/ 315 w 482"/>
                <a:gd name="T37" fmla="*/ 344 h 377"/>
                <a:gd name="T38" fmla="*/ 278 w 482"/>
                <a:gd name="T39" fmla="*/ 349 h 377"/>
                <a:gd name="T40" fmla="*/ 236 w 482"/>
                <a:gd name="T41" fmla="*/ 332 h 377"/>
                <a:gd name="T42" fmla="*/ 199 w 482"/>
                <a:gd name="T43" fmla="*/ 307 h 377"/>
                <a:gd name="T44" fmla="*/ 165 w 482"/>
                <a:gd name="T45" fmla="*/ 290 h 377"/>
                <a:gd name="T46" fmla="*/ 138 w 482"/>
                <a:gd name="T47" fmla="*/ 255 h 377"/>
                <a:gd name="T48" fmla="*/ 149 w 482"/>
                <a:gd name="T49" fmla="*/ 242 h 377"/>
                <a:gd name="T50" fmla="*/ 146 w 482"/>
                <a:gd name="T51" fmla="*/ 217 h 377"/>
                <a:gd name="T52" fmla="*/ 116 w 482"/>
                <a:gd name="T53" fmla="*/ 169 h 377"/>
                <a:gd name="T54" fmla="*/ 95 w 482"/>
                <a:gd name="T55" fmla="*/ 143 h 377"/>
                <a:gd name="T56" fmla="*/ 85 w 482"/>
                <a:gd name="T57" fmla="*/ 115 h 377"/>
                <a:gd name="T58" fmla="*/ 68 w 482"/>
                <a:gd name="T59" fmla="*/ 88 h 377"/>
                <a:gd name="T60" fmla="*/ 59 w 482"/>
                <a:gd name="T61" fmla="*/ 56 h 377"/>
                <a:gd name="T62" fmla="*/ 50 w 482"/>
                <a:gd name="T63" fmla="*/ 24 h 377"/>
                <a:gd name="T64" fmla="*/ 31 w 482"/>
                <a:gd name="T65" fmla="*/ 27 h 377"/>
                <a:gd name="T66" fmla="*/ 31 w 482"/>
                <a:gd name="T67" fmla="*/ 62 h 377"/>
                <a:gd name="T68" fmla="*/ 43 w 482"/>
                <a:gd name="T69" fmla="*/ 82 h 377"/>
                <a:gd name="T70" fmla="*/ 46 w 482"/>
                <a:gd name="T71" fmla="*/ 102 h 377"/>
                <a:gd name="T72" fmla="*/ 61 w 482"/>
                <a:gd name="T73" fmla="*/ 125 h 377"/>
                <a:gd name="T74" fmla="*/ 67 w 482"/>
                <a:gd name="T75" fmla="*/ 164 h 377"/>
                <a:gd name="T76" fmla="*/ 80 w 482"/>
                <a:gd name="T77" fmla="*/ 185 h 377"/>
                <a:gd name="T78" fmla="*/ 74 w 482"/>
                <a:gd name="T79" fmla="*/ 205 h 377"/>
                <a:gd name="T80" fmla="*/ 59 w 482"/>
                <a:gd name="T81" fmla="*/ 181 h 377"/>
                <a:gd name="T82" fmla="*/ 45 w 482"/>
                <a:gd name="T83" fmla="*/ 150 h 377"/>
                <a:gd name="T84" fmla="*/ 28 w 482"/>
                <a:gd name="T85" fmla="*/ 123 h 377"/>
                <a:gd name="T86" fmla="*/ 13 w 482"/>
                <a:gd name="T87" fmla="*/ 115 h 377"/>
                <a:gd name="T88" fmla="*/ 14 w 482"/>
                <a:gd name="T89" fmla="*/ 103 h 377"/>
                <a:gd name="T90" fmla="*/ 17 w 482"/>
                <a:gd name="T91" fmla="*/ 71 h 377"/>
                <a:gd name="T92" fmla="*/ 4 w 482"/>
                <a:gd name="T93" fmla="*/ 39 h 377"/>
                <a:gd name="T94" fmla="*/ 21 w 482"/>
                <a:gd name="T95" fmla="*/ 2 h 377"/>
                <a:gd name="T96" fmla="*/ 64 w 482"/>
                <a:gd name="T97" fmla="*/ 14 h 377"/>
                <a:gd name="T98" fmla="*/ 148 w 482"/>
                <a:gd name="T99" fmla="*/ 28 h 377"/>
                <a:gd name="T100" fmla="*/ 185 w 482"/>
                <a:gd name="T101" fmla="*/ 27 h 377"/>
                <a:gd name="T102" fmla="*/ 202 w 482"/>
                <a:gd name="T103" fmla="*/ 54 h 377"/>
                <a:gd name="T104" fmla="*/ 224 w 482"/>
                <a:gd name="T105" fmla="*/ 78 h 377"/>
                <a:gd name="T106" fmla="*/ 264 w 482"/>
                <a:gd name="T107" fmla="*/ 69 h 377"/>
                <a:gd name="T108" fmla="*/ 280 w 482"/>
                <a:gd name="T109" fmla="*/ 107 h 377"/>
                <a:gd name="T110" fmla="*/ 296 w 482"/>
                <a:gd name="T111" fmla="*/ 138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82" h="377">
                  <a:moveTo>
                    <a:pt x="315" y="142"/>
                  </a:moveTo>
                  <a:lnTo>
                    <a:pt x="304" y="160"/>
                  </a:lnTo>
                  <a:lnTo>
                    <a:pt x="298" y="175"/>
                  </a:lnTo>
                  <a:lnTo>
                    <a:pt x="291" y="203"/>
                  </a:lnTo>
                  <a:lnTo>
                    <a:pt x="287" y="213"/>
                  </a:lnTo>
                  <a:lnTo>
                    <a:pt x="288" y="225"/>
                  </a:lnTo>
                  <a:lnTo>
                    <a:pt x="292" y="235"/>
                  </a:lnTo>
                  <a:lnTo>
                    <a:pt x="293" y="251"/>
                  </a:lnTo>
                  <a:lnTo>
                    <a:pt x="303" y="266"/>
                  </a:lnTo>
                  <a:lnTo>
                    <a:pt x="305" y="278"/>
                  </a:lnTo>
                  <a:lnTo>
                    <a:pt x="311" y="288"/>
                  </a:lnTo>
                  <a:lnTo>
                    <a:pt x="329" y="294"/>
                  </a:lnTo>
                  <a:lnTo>
                    <a:pt x="335" y="302"/>
                  </a:lnTo>
                  <a:lnTo>
                    <a:pt x="352" y="297"/>
                  </a:lnTo>
                  <a:lnTo>
                    <a:pt x="366" y="295"/>
                  </a:lnTo>
                  <a:lnTo>
                    <a:pt x="380" y="291"/>
                  </a:lnTo>
                  <a:lnTo>
                    <a:pt x="392" y="287"/>
                  </a:lnTo>
                  <a:lnTo>
                    <a:pt x="405" y="279"/>
                  </a:lnTo>
                  <a:lnTo>
                    <a:pt x="411" y="267"/>
                  </a:lnTo>
                  <a:lnTo>
                    <a:pt x="415" y="249"/>
                  </a:lnTo>
                  <a:lnTo>
                    <a:pt x="419" y="243"/>
                  </a:lnTo>
                  <a:lnTo>
                    <a:pt x="432" y="238"/>
                  </a:lnTo>
                  <a:lnTo>
                    <a:pt x="452" y="233"/>
                  </a:lnTo>
                  <a:lnTo>
                    <a:pt x="468" y="234"/>
                  </a:lnTo>
                  <a:lnTo>
                    <a:pt x="479" y="232"/>
                  </a:lnTo>
                  <a:lnTo>
                    <a:pt x="482" y="236"/>
                  </a:lnTo>
                  <a:lnTo>
                    <a:pt x="480" y="246"/>
                  </a:lnTo>
                  <a:lnTo>
                    <a:pt x="469" y="259"/>
                  </a:lnTo>
                  <a:lnTo>
                    <a:pt x="463" y="271"/>
                  </a:lnTo>
                  <a:lnTo>
                    <a:pt x="465" y="275"/>
                  </a:lnTo>
                  <a:lnTo>
                    <a:pt x="461" y="284"/>
                  </a:lnTo>
                  <a:lnTo>
                    <a:pt x="455" y="300"/>
                  </a:lnTo>
                  <a:lnTo>
                    <a:pt x="451" y="295"/>
                  </a:lnTo>
                  <a:lnTo>
                    <a:pt x="447" y="295"/>
                  </a:lnTo>
                  <a:lnTo>
                    <a:pt x="444" y="295"/>
                  </a:lnTo>
                  <a:lnTo>
                    <a:pt x="436" y="308"/>
                  </a:lnTo>
                  <a:lnTo>
                    <a:pt x="433" y="306"/>
                  </a:lnTo>
                  <a:lnTo>
                    <a:pt x="430" y="306"/>
                  </a:lnTo>
                  <a:lnTo>
                    <a:pt x="430" y="309"/>
                  </a:lnTo>
                  <a:lnTo>
                    <a:pt x="413" y="309"/>
                  </a:lnTo>
                  <a:lnTo>
                    <a:pt x="396" y="309"/>
                  </a:lnTo>
                  <a:lnTo>
                    <a:pt x="395" y="321"/>
                  </a:lnTo>
                  <a:lnTo>
                    <a:pt x="387" y="321"/>
                  </a:lnTo>
                  <a:lnTo>
                    <a:pt x="393" y="328"/>
                  </a:lnTo>
                  <a:lnTo>
                    <a:pt x="399" y="333"/>
                  </a:lnTo>
                  <a:lnTo>
                    <a:pt x="400" y="337"/>
                  </a:lnTo>
                  <a:lnTo>
                    <a:pt x="403" y="338"/>
                  </a:lnTo>
                  <a:lnTo>
                    <a:pt x="402" y="346"/>
                  </a:lnTo>
                  <a:lnTo>
                    <a:pt x="378" y="346"/>
                  </a:lnTo>
                  <a:lnTo>
                    <a:pt x="368" y="363"/>
                  </a:lnTo>
                  <a:lnTo>
                    <a:pt x="370" y="367"/>
                  </a:lnTo>
                  <a:lnTo>
                    <a:pt x="367" y="371"/>
                  </a:lnTo>
                  <a:lnTo>
                    <a:pt x="366" y="377"/>
                  </a:lnTo>
                  <a:lnTo>
                    <a:pt x="348" y="355"/>
                  </a:lnTo>
                  <a:lnTo>
                    <a:pt x="339" y="348"/>
                  </a:lnTo>
                  <a:lnTo>
                    <a:pt x="325" y="343"/>
                  </a:lnTo>
                  <a:lnTo>
                    <a:pt x="315" y="344"/>
                  </a:lnTo>
                  <a:lnTo>
                    <a:pt x="299" y="352"/>
                  </a:lnTo>
                  <a:lnTo>
                    <a:pt x="290" y="354"/>
                  </a:lnTo>
                  <a:lnTo>
                    <a:pt x="278" y="349"/>
                  </a:lnTo>
                  <a:lnTo>
                    <a:pt x="265" y="345"/>
                  </a:lnTo>
                  <a:lnTo>
                    <a:pt x="249" y="335"/>
                  </a:lnTo>
                  <a:lnTo>
                    <a:pt x="236" y="332"/>
                  </a:lnTo>
                  <a:lnTo>
                    <a:pt x="216" y="323"/>
                  </a:lnTo>
                  <a:lnTo>
                    <a:pt x="203" y="313"/>
                  </a:lnTo>
                  <a:lnTo>
                    <a:pt x="199" y="307"/>
                  </a:lnTo>
                  <a:lnTo>
                    <a:pt x="189" y="306"/>
                  </a:lnTo>
                  <a:lnTo>
                    <a:pt x="171" y="299"/>
                  </a:lnTo>
                  <a:lnTo>
                    <a:pt x="165" y="290"/>
                  </a:lnTo>
                  <a:lnTo>
                    <a:pt x="148" y="278"/>
                  </a:lnTo>
                  <a:lnTo>
                    <a:pt x="141" y="265"/>
                  </a:lnTo>
                  <a:lnTo>
                    <a:pt x="138" y="255"/>
                  </a:lnTo>
                  <a:lnTo>
                    <a:pt x="145" y="253"/>
                  </a:lnTo>
                  <a:lnTo>
                    <a:pt x="144" y="247"/>
                  </a:lnTo>
                  <a:lnTo>
                    <a:pt x="149" y="242"/>
                  </a:lnTo>
                  <a:lnTo>
                    <a:pt x="150" y="234"/>
                  </a:lnTo>
                  <a:lnTo>
                    <a:pt x="146" y="225"/>
                  </a:lnTo>
                  <a:lnTo>
                    <a:pt x="146" y="217"/>
                  </a:lnTo>
                  <a:lnTo>
                    <a:pt x="142" y="206"/>
                  </a:lnTo>
                  <a:lnTo>
                    <a:pt x="131" y="186"/>
                  </a:lnTo>
                  <a:lnTo>
                    <a:pt x="116" y="169"/>
                  </a:lnTo>
                  <a:lnTo>
                    <a:pt x="110" y="156"/>
                  </a:lnTo>
                  <a:lnTo>
                    <a:pt x="97" y="148"/>
                  </a:lnTo>
                  <a:lnTo>
                    <a:pt x="95" y="143"/>
                  </a:lnTo>
                  <a:lnTo>
                    <a:pt x="101" y="130"/>
                  </a:lnTo>
                  <a:lnTo>
                    <a:pt x="93" y="125"/>
                  </a:lnTo>
                  <a:lnTo>
                    <a:pt x="85" y="115"/>
                  </a:lnTo>
                  <a:lnTo>
                    <a:pt x="85" y="101"/>
                  </a:lnTo>
                  <a:lnTo>
                    <a:pt x="75" y="99"/>
                  </a:lnTo>
                  <a:lnTo>
                    <a:pt x="68" y="88"/>
                  </a:lnTo>
                  <a:lnTo>
                    <a:pt x="63" y="78"/>
                  </a:lnTo>
                  <a:lnTo>
                    <a:pt x="64" y="72"/>
                  </a:lnTo>
                  <a:lnTo>
                    <a:pt x="59" y="56"/>
                  </a:lnTo>
                  <a:lnTo>
                    <a:pt x="58" y="40"/>
                  </a:lnTo>
                  <a:lnTo>
                    <a:pt x="61" y="32"/>
                  </a:lnTo>
                  <a:lnTo>
                    <a:pt x="50" y="24"/>
                  </a:lnTo>
                  <a:lnTo>
                    <a:pt x="44" y="25"/>
                  </a:lnTo>
                  <a:lnTo>
                    <a:pt x="36" y="19"/>
                  </a:lnTo>
                  <a:lnTo>
                    <a:pt x="31" y="27"/>
                  </a:lnTo>
                  <a:lnTo>
                    <a:pt x="30" y="37"/>
                  </a:lnTo>
                  <a:lnTo>
                    <a:pt x="27" y="53"/>
                  </a:lnTo>
                  <a:lnTo>
                    <a:pt x="31" y="62"/>
                  </a:lnTo>
                  <a:lnTo>
                    <a:pt x="39" y="76"/>
                  </a:lnTo>
                  <a:lnTo>
                    <a:pt x="41" y="81"/>
                  </a:lnTo>
                  <a:lnTo>
                    <a:pt x="43" y="82"/>
                  </a:lnTo>
                  <a:lnTo>
                    <a:pt x="43" y="89"/>
                  </a:lnTo>
                  <a:lnTo>
                    <a:pt x="47" y="89"/>
                  </a:lnTo>
                  <a:lnTo>
                    <a:pt x="46" y="102"/>
                  </a:lnTo>
                  <a:lnTo>
                    <a:pt x="51" y="108"/>
                  </a:lnTo>
                  <a:lnTo>
                    <a:pt x="52" y="115"/>
                  </a:lnTo>
                  <a:lnTo>
                    <a:pt x="61" y="125"/>
                  </a:lnTo>
                  <a:lnTo>
                    <a:pt x="62" y="145"/>
                  </a:lnTo>
                  <a:lnTo>
                    <a:pt x="65" y="154"/>
                  </a:lnTo>
                  <a:lnTo>
                    <a:pt x="67" y="164"/>
                  </a:lnTo>
                  <a:lnTo>
                    <a:pt x="66" y="174"/>
                  </a:lnTo>
                  <a:lnTo>
                    <a:pt x="74" y="175"/>
                  </a:lnTo>
                  <a:lnTo>
                    <a:pt x="80" y="185"/>
                  </a:lnTo>
                  <a:lnTo>
                    <a:pt x="84" y="194"/>
                  </a:lnTo>
                  <a:lnTo>
                    <a:pt x="83" y="198"/>
                  </a:lnTo>
                  <a:lnTo>
                    <a:pt x="74" y="205"/>
                  </a:lnTo>
                  <a:lnTo>
                    <a:pt x="71" y="205"/>
                  </a:lnTo>
                  <a:lnTo>
                    <a:pt x="68" y="193"/>
                  </a:lnTo>
                  <a:lnTo>
                    <a:pt x="59" y="181"/>
                  </a:lnTo>
                  <a:lnTo>
                    <a:pt x="49" y="171"/>
                  </a:lnTo>
                  <a:lnTo>
                    <a:pt x="41" y="165"/>
                  </a:lnTo>
                  <a:lnTo>
                    <a:pt x="45" y="150"/>
                  </a:lnTo>
                  <a:lnTo>
                    <a:pt x="45" y="139"/>
                  </a:lnTo>
                  <a:lnTo>
                    <a:pt x="38" y="133"/>
                  </a:lnTo>
                  <a:lnTo>
                    <a:pt x="28" y="123"/>
                  </a:lnTo>
                  <a:lnTo>
                    <a:pt x="25" y="126"/>
                  </a:lnTo>
                  <a:lnTo>
                    <a:pt x="22" y="121"/>
                  </a:lnTo>
                  <a:lnTo>
                    <a:pt x="13" y="115"/>
                  </a:lnTo>
                  <a:lnTo>
                    <a:pt x="6" y="103"/>
                  </a:lnTo>
                  <a:lnTo>
                    <a:pt x="7" y="102"/>
                  </a:lnTo>
                  <a:lnTo>
                    <a:pt x="14" y="103"/>
                  </a:lnTo>
                  <a:lnTo>
                    <a:pt x="23" y="95"/>
                  </a:lnTo>
                  <a:lnTo>
                    <a:pt x="26" y="86"/>
                  </a:lnTo>
                  <a:lnTo>
                    <a:pt x="17" y="71"/>
                  </a:lnTo>
                  <a:lnTo>
                    <a:pt x="8" y="65"/>
                  </a:lnTo>
                  <a:lnTo>
                    <a:pt x="6" y="52"/>
                  </a:lnTo>
                  <a:lnTo>
                    <a:pt x="4" y="39"/>
                  </a:lnTo>
                  <a:lnTo>
                    <a:pt x="1" y="22"/>
                  </a:lnTo>
                  <a:lnTo>
                    <a:pt x="0" y="4"/>
                  </a:lnTo>
                  <a:lnTo>
                    <a:pt x="21" y="2"/>
                  </a:lnTo>
                  <a:lnTo>
                    <a:pt x="43" y="0"/>
                  </a:lnTo>
                  <a:lnTo>
                    <a:pt x="41" y="4"/>
                  </a:lnTo>
                  <a:lnTo>
                    <a:pt x="64" y="14"/>
                  </a:lnTo>
                  <a:lnTo>
                    <a:pt x="99" y="29"/>
                  </a:lnTo>
                  <a:lnTo>
                    <a:pt x="134" y="28"/>
                  </a:lnTo>
                  <a:lnTo>
                    <a:pt x="148" y="28"/>
                  </a:lnTo>
                  <a:lnTo>
                    <a:pt x="150" y="20"/>
                  </a:lnTo>
                  <a:lnTo>
                    <a:pt x="181" y="20"/>
                  </a:lnTo>
                  <a:lnTo>
                    <a:pt x="185" y="27"/>
                  </a:lnTo>
                  <a:lnTo>
                    <a:pt x="192" y="34"/>
                  </a:lnTo>
                  <a:lnTo>
                    <a:pt x="200" y="43"/>
                  </a:lnTo>
                  <a:lnTo>
                    <a:pt x="202" y="54"/>
                  </a:lnTo>
                  <a:lnTo>
                    <a:pt x="203" y="65"/>
                  </a:lnTo>
                  <a:lnTo>
                    <a:pt x="211" y="71"/>
                  </a:lnTo>
                  <a:lnTo>
                    <a:pt x="224" y="78"/>
                  </a:lnTo>
                  <a:lnTo>
                    <a:pt x="240" y="61"/>
                  </a:lnTo>
                  <a:lnTo>
                    <a:pt x="254" y="61"/>
                  </a:lnTo>
                  <a:lnTo>
                    <a:pt x="264" y="69"/>
                  </a:lnTo>
                  <a:lnTo>
                    <a:pt x="269" y="83"/>
                  </a:lnTo>
                  <a:lnTo>
                    <a:pt x="273" y="95"/>
                  </a:lnTo>
                  <a:lnTo>
                    <a:pt x="280" y="107"/>
                  </a:lnTo>
                  <a:lnTo>
                    <a:pt x="281" y="122"/>
                  </a:lnTo>
                  <a:lnTo>
                    <a:pt x="283" y="132"/>
                  </a:lnTo>
                  <a:lnTo>
                    <a:pt x="296" y="138"/>
                  </a:lnTo>
                  <a:lnTo>
                    <a:pt x="307" y="143"/>
                  </a:lnTo>
                  <a:lnTo>
                    <a:pt x="315" y="142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64" name="Freeform 121">
              <a:extLst>
                <a:ext uri="{FF2B5EF4-FFF2-40B4-BE49-F238E27FC236}">
                  <a16:creationId xmlns:a16="http://schemas.microsoft.com/office/drawing/2014/main" id="{7BD55D83-20F7-4ED4-B04D-519BDA528C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8570" y="1733048"/>
              <a:ext cx="54703" cy="39074"/>
            </a:xfrm>
            <a:custGeom>
              <a:avLst/>
              <a:gdLst>
                <a:gd name="T0" fmla="*/ 2 w 42"/>
                <a:gd name="T1" fmla="*/ 9 h 30"/>
                <a:gd name="T2" fmla="*/ 4 w 42"/>
                <a:gd name="T3" fmla="*/ 9 h 30"/>
                <a:gd name="T4" fmla="*/ 4 w 42"/>
                <a:gd name="T5" fmla="*/ 5 h 30"/>
                <a:gd name="T6" fmla="*/ 14 w 42"/>
                <a:gd name="T7" fmla="*/ 2 h 30"/>
                <a:gd name="T8" fmla="*/ 17 w 42"/>
                <a:gd name="T9" fmla="*/ 1 h 30"/>
                <a:gd name="T10" fmla="*/ 23 w 42"/>
                <a:gd name="T11" fmla="*/ 0 h 30"/>
                <a:gd name="T12" fmla="*/ 31 w 42"/>
                <a:gd name="T13" fmla="*/ 0 h 30"/>
                <a:gd name="T14" fmla="*/ 40 w 42"/>
                <a:gd name="T15" fmla="*/ 6 h 30"/>
                <a:gd name="T16" fmla="*/ 42 w 42"/>
                <a:gd name="T17" fmla="*/ 20 h 30"/>
                <a:gd name="T18" fmla="*/ 39 w 42"/>
                <a:gd name="T19" fmla="*/ 20 h 30"/>
                <a:gd name="T20" fmla="*/ 37 w 42"/>
                <a:gd name="T21" fmla="*/ 24 h 30"/>
                <a:gd name="T22" fmla="*/ 28 w 42"/>
                <a:gd name="T23" fmla="*/ 24 h 30"/>
                <a:gd name="T24" fmla="*/ 22 w 42"/>
                <a:gd name="T25" fmla="*/ 28 h 30"/>
                <a:gd name="T26" fmla="*/ 11 w 42"/>
                <a:gd name="T27" fmla="*/ 30 h 30"/>
                <a:gd name="T28" fmla="*/ 3 w 42"/>
                <a:gd name="T29" fmla="*/ 25 h 30"/>
                <a:gd name="T30" fmla="*/ 0 w 42"/>
                <a:gd name="T31" fmla="*/ 16 h 30"/>
                <a:gd name="T32" fmla="*/ 2 w 42"/>
                <a:gd name="T33" fmla="*/ 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2" h="30">
                  <a:moveTo>
                    <a:pt x="2" y="9"/>
                  </a:moveTo>
                  <a:lnTo>
                    <a:pt x="4" y="9"/>
                  </a:lnTo>
                  <a:lnTo>
                    <a:pt x="4" y="5"/>
                  </a:lnTo>
                  <a:lnTo>
                    <a:pt x="14" y="2"/>
                  </a:lnTo>
                  <a:lnTo>
                    <a:pt x="17" y="1"/>
                  </a:lnTo>
                  <a:lnTo>
                    <a:pt x="23" y="0"/>
                  </a:lnTo>
                  <a:lnTo>
                    <a:pt x="31" y="0"/>
                  </a:lnTo>
                  <a:lnTo>
                    <a:pt x="40" y="6"/>
                  </a:lnTo>
                  <a:lnTo>
                    <a:pt x="42" y="20"/>
                  </a:lnTo>
                  <a:lnTo>
                    <a:pt x="39" y="20"/>
                  </a:lnTo>
                  <a:lnTo>
                    <a:pt x="37" y="24"/>
                  </a:lnTo>
                  <a:lnTo>
                    <a:pt x="28" y="24"/>
                  </a:lnTo>
                  <a:lnTo>
                    <a:pt x="22" y="28"/>
                  </a:lnTo>
                  <a:lnTo>
                    <a:pt x="11" y="30"/>
                  </a:lnTo>
                  <a:lnTo>
                    <a:pt x="3" y="25"/>
                  </a:lnTo>
                  <a:lnTo>
                    <a:pt x="0" y="16"/>
                  </a:lnTo>
                  <a:lnTo>
                    <a:pt x="2" y="9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65" name="Freeform 122">
              <a:extLst>
                <a:ext uri="{FF2B5EF4-FFF2-40B4-BE49-F238E27FC236}">
                  <a16:creationId xmlns:a16="http://schemas.microsoft.com/office/drawing/2014/main" id="{D21831BB-0C11-4E23-944C-215EBC9911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2680" y="2200632"/>
              <a:ext cx="389436" cy="402461"/>
            </a:xfrm>
            <a:custGeom>
              <a:avLst/>
              <a:gdLst>
                <a:gd name="T0" fmla="*/ 6 w 299"/>
                <a:gd name="T1" fmla="*/ 211 h 309"/>
                <a:gd name="T2" fmla="*/ 15 w 299"/>
                <a:gd name="T3" fmla="*/ 198 h 309"/>
                <a:gd name="T4" fmla="*/ 38 w 299"/>
                <a:gd name="T5" fmla="*/ 200 h 309"/>
                <a:gd name="T6" fmla="*/ 48 w 299"/>
                <a:gd name="T7" fmla="*/ 197 h 309"/>
                <a:gd name="T8" fmla="*/ 125 w 299"/>
                <a:gd name="T9" fmla="*/ 182 h 309"/>
                <a:gd name="T10" fmla="*/ 114 w 299"/>
                <a:gd name="T11" fmla="*/ 90 h 309"/>
                <a:gd name="T12" fmla="*/ 133 w 299"/>
                <a:gd name="T13" fmla="*/ 0 h 309"/>
                <a:gd name="T14" fmla="*/ 254 w 299"/>
                <a:gd name="T15" fmla="*/ 90 h 309"/>
                <a:gd name="T16" fmla="*/ 270 w 299"/>
                <a:gd name="T17" fmla="*/ 106 h 309"/>
                <a:gd name="T18" fmla="*/ 278 w 299"/>
                <a:gd name="T19" fmla="*/ 123 h 309"/>
                <a:gd name="T20" fmla="*/ 299 w 299"/>
                <a:gd name="T21" fmla="*/ 168 h 309"/>
                <a:gd name="T22" fmla="*/ 287 w 299"/>
                <a:gd name="T23" fmla="*/ 195 h 309"/>
                <a:gd name="T24" fmla="*/ 246 w 299"/>
                <a:gd name="T25" fmla="*/ 200 h 309"/>
                <a:gd name="T26" fmla="*/ 228 w 299"/>
                <a:gd name="T27" fmla="*/ 208 h 309"/>
                <a:gd name="T28" fmla="*/ 212 w 299"/>
                <a:gd name="T29" fmla="*/ 204 h 309"/>
                <a:gd name="T30" fmla="*/ 185 w 299"/>
                <a:gd name="T31" fmla="*/ 216 h 309"/>
                <a:gd name="T32" fmla="*/ 167 w 299"/>
                <a:gd name="T33" fmla="*/ 232 h 309"/>
                <a:gd name="T34" fmla="*/ 157 w 299"/>
                <a:gd name="T35" fmla="*/ 241 h 309"/>
                <a:gd name="T36" fmla="*/ 143 w 299"/>
                <a:gd name="T37" fmla="*/ 244 h 309"/>
                <a:gd name="T38" fmla="*/ 126 w 299"/>
                <a:gd name="T39" fmla="*/ 275 h 309"/>
                <a:gd name="T40" fmla="*/ 121 w 299"/>
                <a:gd name="T41" fmla="*/ 291 h 309"/>
                <a:gd name="T42" fmla="*/ 115 w 299"/>
                <a:gd name="T43" fmla="*/ 306 h 309"/>
                <a:gd name="T44" fmla="*/ 108 w 299"/>
                <a:gd name="T45" fmla="*/ 300 h 309"/>
                <a:gd name="T46" fmla="*/ 99 w 299"/>
                <a:gd name="T47" fmla="*/ 302 h 309"/>
                <a:gd name="T48" fmla="*/ 82 w 299"/>
                <a:gd name="T49" fmla="*/ 307 h 309"/>
                <a:gd name="T50" fmla="*/ 75 w 299"/>
                <a:gd name="T51" fmla="*/ 306 h 309"/>
                <a:gd name="T52" fmla="*/ 70 w 299"/>
                <a:gd name="T53" fmla="*/ 294 h 309"/>
                <a:gd name="T54" fmla="*/ 64 w 299"/>
                <a:gd name="T55" fmla="*/ 294 h 309"/>
                <a:gd name="T56" fmla="*/ 68 w 299"/>
                <a:gd name="T57" fmla="*/ 282 h 309"/>
                <a:gd name="T58" fmla="*/ 59 w 299"/>
                <a:gd name="T59" fmla="*/ 267 h 309"/>
                <a:gd name="T60" fmla="*/ 51 w 299"/>
                <a:gd name="T61" fmla="*/ 262 h 309"/>
                <a:gd name="T62" fmla="*/ 41 w 299"/>
                <a:gd name="T63" fmla="*/ 268 h 309"/>
                <a:gd name="T64" fmla="*/ 28 w 299"/>
                <a:gd name="T65" fmla="*/ 271 h 309"/>
                <a:gd name="T66" fmla="*/ 20 w 299"/>
                <a:gd name="T67" fmla="*/ 265 h 309"/>
                <a:gd name="T68" fmla="*/ 12 w 299"/>
                <a:gd name="T69" fmla="*/ 267 h 309"/>
                <a:gd name="T70" fmla="*/ 12 w 299"/>
                <a:gd name="T71" fmla="*/ 253 h 309"/>
                <a:gd name="T72" fmla="*/ 4 w 299"/>
                <a:gd name="T73" fmla="*/ 240 h 309"/>
                <a:gd name="T74" fmla="*/ 0 w 299"/>
                <a:gd name="T75" fmla="*/ 215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99" h="309">
                  <a:moveTo>
                    <a:pt x="0" y="215"/>
                  </a:moveTo>
                  <a:lnTo>
                    <a:pt x="6" y="211"/>
                  </a:lnTo>
                  <a:lnTo>
                    <a:pt x="9" y="199"/>
                  </a:lnTo>
                  <a:lnTo>
                    <a:pt x="15" y="198"/>
                  </a:lnTo>
                  <a:lnTo>
                    <a:pt x="28" y="204"/>
                  </a:lnTo>
                  <a:lnTo>
                    <a:pt x="38" y="200"/>
                  </a:lnTo>
                  <a:lnTo>
                    <a:pt x="45" y="201"/>
                  </a:lnTo>
                  <a:lnTo>
                    <a:pt x="48" y="197"/>
                  </a:lnTo>
                  <a:lnTo>
                    <a:pt x="121" y="196"/>
                  </a:lnTo>
                  <a:lnTo>
                    <a:pt x="125" y="182"/>
                  </a:lnTo>
                  <a:lnTo>
                    <a:pt x="122" y="179"/>
                  </a:lnTo>
                  <a:lnTo>
                    <a:pt x="114" y="90"/>
                  </a:lnTo>
                  <a:lnTo>
                    <a:pt x="106" y="0"/>
                  </a:lnTo>
                  <a:lnTo>
                    <a:pt x="133" y="0"/>
                  </a:lnTo>
                  <a:lnTo>
                    <a:pt x="193" y="45"/>
                  </a:lnTo>
                  <a:lnTo>
                    <a:pt x="254" y="90"/>
                  </a:lnTo>
                  <a:lnTo>
                    <a:pt x="258" y="100"/>
                  </a:lnTo>
                  <a:lnTo>
                    <a:pt x="270" y="106"/>
                  </a:lnTo>
                  <a:lnTo>
                    <a:pt x="278" y="109"/>
                  </a:lnTo>
                  <a:lnTo>
                    <a:pt x="278" y="123"/>
                  </a:lnTo>
                  <a:lnTo>
                    <a:pt x="298" y="120"/>
                  </a:lnTo>
                  <a:lnTo>
                    <a:pt x="299" y="168"/>
                  </a:lnTo>
                  <a:lnTo>
                    <a:pt x="289" y="182"/>
                  </a:lnTo>
                  <a:lnTo>
                    <a:pt x="287" y="195"/>
                  </a:lnTo>
                  <a:lnTo>
                    <a:pt x="271" y="198"/>
                  </a:lnTo>
                  <a:lnTo>
                    <a:pt x="246" y="200"/>
                  </a:lnTo>
                  <a:lnTo>
                    <a:pt x="240" y="207"/>
                  </a:lnTo>
                  <a:lnTo>
                    <a:pt x="228" y="208"/>
                  </a:lnTo>
                  <a:lnTo>
                    <a:pt x="216" y="208"/>
                  </a:lnTo>
                  <a:lnTo>
                    <a:pt x="212" y="204"/>
                  </a:lnTo>
                  <a:lnTo>
                    <a:pt x="202" y="207"/>
                  </a:lnTo>
                  <a:lnTo>
                    <a:pt x="185" y="216"/>
                  </a:lnTo>
                  <a:lnTo>
                    <a:pt x="182" y="222"/>
                  </a:lnTo>
                  <a:lnTo>
                    <a:pt x="167" y="232"/>
                  </a:lnTo>
                  <a:lnTo>
                    <a:pt x="165" y="237"/>
                  </a:lnTo>
                  <a:lnTo>
                    <a:pt x="157" y="241"/>
                  </a:lnTo>
                  <a:lnTo>
                    <a:pt x="148" y="238"/>
                  </a:lnTo>
                  <a:lnTo>
                    <a:pt x="143" y="244"/>
                  </a:lnTo>
                  <a:lnTo>
                    <a:pt x="140" y="258"/>
                  </a:lnTo>
                  <a:lnTo>
                    <a:pt x="126" y="275"/>
                  </a:lnTo>
                  <a:lnTo>
                    <a:pt x="126" y="282"/>
                  </a:lnTo>
                  <a:lnTo>
                    <a:pt x="121" y="291"/>
                  </a:lnTo>
                  <a:lnTo>
                    <a:pt x="122" y="303"/>
                  </a:lnTo>
                  <a:lnTo>
                    <a:pt x="115" y="306"/>
                  </a:lnTo>
                  <a:lnTo>
                    <a:pt x="111" y="309"/>
                  </a:lnTo>
                  <a:lnTo>
                    <a:pt x="108" y="300"/>
                  </a:lnTo>
                  <a:lnTo>
                    <a:pt x="103" y="302"/>
                  </a:lnTo>
                  <a:lnTo>
                    <a:pt x="99" y="302"/>
                  </a:lnTo>
                  <a:lnTo>
                    <a:pt x="96" y="308"/>
                  </a:lnTo>
                  <a:lnTo>
                    <a:pt x="82" y="307"/>
                  </a:lnTo>
                  <a:lnTo>
                    <a:pt x="77" y="305"/>
                  </a:lnTo>
                  <a:lnTo>
                    <a:pt x="75" y="306"/>
                  </a:lnTo>
                  <a:lnTo>
                    <a:pt x="69" y="300"/>
                  </a:lnTo>
                  <a:lnTo>
                    <a:pt x="70" y="294"/>
                  </a:lnTo>
                  <a:lnTo>
                    <a:pt x="68" y="292"/>
                  </a:lnTo>
                  <a:lnTo>
                    <a:pt x="64" y="294"/>
                  </a:lnTo>
                  <a:lnTo>
                    <a:pt x="65" y="287"/>
                  </a:lnTo>
                  <a:lnTo>
                    <a:pt x="68" y="282"/>
                  </a:lnTo>
                  <a:lnTo>
                    <a:pt x="61" y="273"/>
                  </a:lnTo>
                  <a:lnTo>
                    <a:pt x="59" y="267"/>
                  </a:lnTo>
                  <a:lnTo>
                    <a:pt x="55" y="263"/>
                  </a:lnTo>
                  <a:lnTo>
                    <a:pt x="51" y="262"/>
                  </a:lnTo>
                  <a:lnTo>
                    <a:pt x="47" y="265"/>
                  </a:lnTo>
                  <a:lnTo>
                    <a:pt x="41" y="268"/>
                  </a:lnTo>
                  <a:lnTo>
                    <a:pt x="36" y="272"/>
                  </a:lnTo>
                  <a:lnTo>
                    <a:pt x="28" y="271"/>
                  </a:lnTo>
                  <a:lnTo>
                    <a:pt x="23" y="265"/>
                  </a:lnTo>
                  <a:lnTo>
                    <a:pt x="20" y="265"/>
                  </a:lnTo>
                  <a:lnTo>
                    <a:pt x="15" y="267"/>
                  </a:lnTo>
                  <a:lnTo>
                    <a:pt x="12" y="267"/>
                  </a:lnTo>
                  <a:lnTo>
                    <a:pt x="11" y="260"/>
                  </a:lnTo>
                  <a:lnTo>
                    <a:pt x="12" y="253"/>
                  </a:lnTo>
                  <a:lnTo>
                    <a:pt x="11" y="245"/>
                  </a:lnTo>
                  <a:lnTo>
                    <a:pt x="4" y="240"/>
                  </a:lnTo>
                  <a:lnTo>
                    <a:pt x="0" y="228"/>
                  </a:lnTo>
                  <a:lnTo>
                    <a:pt x="0" y="21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66" name="Freeform 123">
              <a:extLst>
                <a:ext uri="{FF2B5EF4-FFF2-40B4-BE49-F238E27FC236}">
                  <a16:creationId xmlns:a16="http://schemas.microsoft.com/office/drawing/2014/main" id="{2ADEB37C-BD17-441E-95D7-74A7108FE3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5212" y="2109460"/>
              <a:ext cx="208394" cy="497540"/>
            </a:xfrm>
            <a:custGeom>
              <a:avLst/>
              <a:gdLst>
                <a:gd name="T0" fmla="*/ 126 w 160"/>
                <a:gd name="T1" fmla="*/ 178 h 382"/>
                <a:gd name="T2" fmla="*/ 108 w 160"/>
                <a:gd name="T3" fmla="*/ 201 h 382"/>
                <a:gd name="T4" fmla="*/ 112 w 160"/>
                <a:gd name="T5" fmla="*/ 223 h 382"/>
                <a:gd name="T6" fmla="*/ 135 w 160"/>
                <a:gd name="T7" fmla="*/ 252 h 382"/>
                <a:gd name="T8" fmla="*/ 125 w 160"/>
                <a:gd name="T9" fmla="*/ 274 h 382"/>
                <a:gd name="T10" fmla="*/ 144 w 160"/>
                <a:gd name="T11" fmla="*/ 301 h 382"/>
                <a:gd name="T12" fmla="*/ 148 w 160"/>
                <a:gd name="T13" fmla="*/ 322 h 382"/>
                <a:gd name="T14" fmla="*/ 149 w 160"/>
                <a:gd name="T15" fmla="*/ 361 h 382"/>
                <a:gd name="T16" fmla="*/ 139 w 160"/>
                <a:gd name="T17" fmla="*/ 367 h 382"/>
                <a:gd name="T18" fmla="*/ 136 w 160"/>
                <a:gd name="T19" fmla="*/ 338 h 382"/>
                <a:gd name="T20" fmla="*/ 126 w 160"/>
                <a:gd name="T21" fmla="*/ 305 h 382"/>
                <a:gd name="T22" fmla="*/ 112 w 160"/>
                <a:gd name="T23" fmla="*/ 254 h 382"/>
                <a:gd name="T24" fmla="*/ 91 w 160"/>
                <a:gd name="T25" fmla="*/ 247 h 382"/>
                <a:gd name="T26" fmla="*/ 62 w 160"/>
                <a:gd name="T27" fmla="*/ 260 h 382"/>
                <a:gd name="T28" fmla="*/ 53 w 160"/>
                <a:gd name="T29" fmla="*/ 229 h 382"/>
                <a:gd name="T30" fmla="*/ 29 w 160"/>
                <a:gd name="T31" fmla="*/ 186 h 382"/>
                <a:gd name="T32" fmla="*/ 19 w 160"/>
                <a:gd name="T33" fmla="*/ 176 h 382"/>
                <a:gd name="T34" fmla="*/ 0 w 160"/>
                <a:gd name="T35" fmla="*/ 142 h 382"/>
                <a:gd name="T36" fmla="*/ 4 w 160"/>
                <a:gd name="T37" fmla="*/ 131 h 382"/>
                <a:gd name="T38" fmla="*/ 9 w 160"/>
                <a:gd name="T39" fmla="*/ 117 h 382"/>
                <a:gd name="T40" fmla="*/ 9 w 160"/>
                <a:gd name="T41" fmla="*/ 88 h 382"/>
                <a:gd name="T42" fmla="*/ 28 w 160"/>
                <a:gd name="T43" fmla="*/ 76 h 382"/>
                <a:gd name="T44" fmla="*/ 33 w 160"/>
                <a:gd name="T45" fmla="*/ 48 h 382"/>
                <a:gd name="T46" fmla="*/ 50 w 160"/>
                <a:gd name="T47" fmla="*/ 22 h 382"/>
                <a:gd name="T48" fmla="*/ 59 w 160"/>
                <a:gd name="T49" fmla="*/ 13 h 382"/>
                <a:gd name="T50" fmla="*/ 61 w 160"/>
                <a:gd name="T51" fmla="*/ 1 h 382"/>
                <a:gd name="T52" fmla="*/ 80 w 160"/>
                <a:gd name="T53" fmla="*/ 12 h 382"/>
                <a:gd name="T54" fmla="*/ 93 w 160"/>
                <a:gd name="T55" fmla="*/ 33 h 382"/>
                <a:gd name="T56" fmla="*/ 83 w 160"/>
                <a:gd name="T57" fmla="*/ 67 h 382"/>
                <a:gd name="T58" fmla="*/ 104 w 160"/>
                <a:gd name="T59" fmla="*/ 89 h 382"/>
                <a:gd name="T60" fmla="*/ 124 w 160"/>
                <a:gd name="T61" fmla="*/ 112 h 382"/>
                <a:gd name="T62" fmla="*/ 137 w 160"/>
                <a:gd name="T63" fmla="*/ 137 h 382"/>
                <a:gd name="T64" fmla="*/ 158 w 160"/>
                <a:gd name="T65" fmla="*/ 134 h 382"/>
                <a:gd name="T66" fmla="*/ 147 w 160"/>
                <a:gd name="T67" fmla="*/ 156 h 382"/>
                <a:gd name="T68" fmla="*/ 135 w 160"/>
                <a:gd name="T69" fmla="*/ 169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0" h="382">
                  <a:moveTo>
                    <a:pt x="135" y="169"/>
                  </a:moveTo>
                  <a:lnTo>
                    <a:pt x="126" y="178"/>
                  </a:lnTo>
                  <a:lnTo>
                    <a:pt x="113" y="179"/>
                  </a:lnTo>
                  <a:lnTo>
                    <a:pt x="108" y="201"/>
                  </a:lnTo>
                  <a:lnTo>
                    <a:pt x="101" y="205"/>
                  </a:lnTo>
                  <a:lnTo>
                    <a:pt x="112" y="223"/>
                  </a:lnTo>
                  <a:lnTo>
                    <a:pt x="126" y="239"/>
                  </a:lnTo>
                  <a:lnTo>
                    <a:pt x="135" y="252"/>
                  </a:lnTo>
                  <a:lnTo>
                    <a:pt x="131" y="270"/>
                  </a:lnTo>
                  <a:lnTo>
                    <a:pt x="125" y="274"/>
                  </a:lnTo>
                  <a:lnTo>
                    <a:pt x="130" y="285"/>
                  </a:lnTo>
                  <a:lnTo>
                    <a:pt x="144" y="301"/>
                  </a:lnTo>
                  <a:lnTo>
                    <a:pt x="147" y="313"/>
                  </a:lnTo>
                  <a:lnTo>
                    <a:pt x="148" y="322"/>
                  </a:lnTo>
                  <a:lnTo>
                    <a:pt x="157" y="341"/>
                  </a:lnTo>
                  <a:lnTo>
                    <a:pt x="149" y="361"/>
                  </a:lnTo>
                  <a:lnTo>
                    <a:pt x="142" y="382"/>
                  </a:lnTo>
                  <a:lnTo>
                    <a:pt x="139" y="367"/>
                  </a:lnTo>
                  <a:lnTo>
                    <a:pt x="143" y="351"/>
                  </a:lnTo>
                  <a:lnTo>
                    <a:pt x="136" y="338"/>
                  </a:lnTo>
                  <a:lnTo>
                    <a:pt x="135" y="316"/>
                  </a:lnTo>
                  <a:lnTo>
                    <a:pt x="126" y="305"/>
                  </a:lnTo>
                  <a:lnTo>
                    <a:pt x="118" y="280"/>
                  </a:lnTo>
                  <a:lnTo>
                    <a:pt x="112" y="254"/>
                  </a:lnTo>
                  <a:lnTo>
                    <a:pt x="102" y="237"/>
                  </a:lnTo>
                  <a:lnTo>
                    <a:pt x="91" y="247"/>
                  </a:lnTo>
                  <a:lnTo>
                    <a:pt x="72" y="262"/>
                  </a:lnTo>
                  <a:lnTo>
                    <a:pt x="62" y="260"/>
                  </a:lnTo>
                  <a:lnTo>
                    <a:pt x="50" y="255"/>
                  </a:lnTo>
                  <a:lnTo>
                    <a:pt x="53" y="229"/>
                  </a:lnTo>
                  <a:lnTo>
                    <a:pt x="46" y="210"/>
                  </a:lnTo>
                  <a:lnTo>
                    <a:pt x="29" y="186"/>
                  </a:lnTo>
                  <a:lnTo>
                    <a:pt x="30" y="179"/>
                  </a:lnTo>
                  <a:lnTo>
                    <a:pt x="19" y="176"/>
                  </a:lnTo>
                  <a:lnTo>
                    <a:pt x="4" y="159"/>
                  </a:lnTo>
                  <a:lnTo>
                    <a:pt x="0" y="142"/>
                  </a:lnTo>
                  <a:lnTo>
                    <a:pt x="7" y="145"/>
                  </a:lnTo>
                  <a:lnTo>
                    <a:pt x="4" y="131"/>
                  </a:lnTo>
                  <a:lnTo>
                    <a:pt x="12" y="125"/>
                  </a:lnTo>
                  <a:lnTo>
                    <a:pt x="9" y="117"/>
                  </a:lnTo>
                  <a:lnTo>
                    <a:pt x="12" y="110"/>
                  </a:lnTo>
                  <a:lnTo>
                    <a:pt x="9" y="88"/>
                  </a:lnTo>
                  <a:lnTo>
                    <a:pt x="23" y="93"/>
                  </a:lnTo>
                  <a:lnTo>
                    <a:pt x="28" y="76"/>
                  </a:lnTo>
                  <a:lnTo>
                    <a:pt x="27" y="66"/>
                  </a:lnTo>
                  <a:lnTo>
                    <a:pt x="33" y="48"/>
                  </a:lnTo>
                  <a:lnTo>
                    <a:pt x="30" y="36"/>
                  </a:lnTo>
                  <a:lnTo>
                    <a:pt x="50" y="22"/>
                  </a:lnTo>
                  <a:lnTo>
                    <a:pt x="64" y="26"/>
                  </a:lnTo>
                  <a:lnTo>
                    <a:pt x="59" y="13"/>
                  </a:lnTo>
                  <a:lnTo>
                    <a:pt x="64" y="9"/>
                  </a:lnTo>
                  <a:lnTo>
                    <a:pt x="61" y="1"/>
                  </a:lnTo>
                  <a:lnTo>
                    <a:pt x="71" y="0"/>
                  </a:lnTo>
                  <a:lnTo>
                    <a:pt x="80" y="12"/>
                  </a:lnTo>
                  <a:lnTo>
                    <a:pt x="89" y="17"/>
                  </a:lnTo>
                  <a:lnTo>
                    <a:pt x="93" y="33"/>
                  </a:lnTo>
                  <a:lnTo>
                    <a:pt x="96" y="50"/>
                  </a:lnTo>
                  <a:lnTo>
                    <a:pt x="83" y="67"/>
                  </a:lnTo>
                  <a:lnTo>
                    <a:pt x="86" y="92"/>
                  </a:lnTo>
                  <a:lnTo>
                    <a:pt x="104" y="89"/>
                  </a:lnTo>
                  <a:lnTo>
                    <a:pt x="112" y="108"/>
                  </a:lnTo>
                  <a:lnTo>
                    <a:pt x="124" y="112"/>
                  </a:lnTo>
                  <a:lnTo>
                    <a:pt x="122" y="129"/>
                  </a:lnTo>
                  <a:lnTo>
                    <a:pt x="137" y="137"/>
                  </a:lnTo>
                  <a:lnTo>
                    <a:pt x="146" y="141"/>
                  </a:lnTo>
                  <a:lnTo>
                    <a:pt x="158" y="134"/>
                  </a:lnTo>
                  <a:lnTo>
                    <a:pt x="160" y="143"/>
                  </a:lnTo>
                  <a:lnTo>
                    <a:pt x="147" y="156"/>
                  </a:lnTo>
                  <a:lnTo>
                    <a:pt x="144" y="164"/>
                  </a:lnTo>
                  <a:lnTo>
                    <a:pt x="135" y="16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67" name="Freeform 124">
              <a:extLst>
                <a:ext uri="{FF2B5EF4-FFF2-40B4-BE49-F238E27FC236}">
                  <a16:creationId xmlns:a16="http://schemas.microsoft.com/office/drawing/2014/main" id="{DA6EEA9B-0B0D-497E-8323-1D00FA76BE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2984" y="1700487"/>
              <a:ext cx="40377" cy="44284"/>
            </a:xfrm>
            <a:custGeom>
              <a:avLst/>
              <a:gdLst>
                <a:gd name="T0" fmla="*/ 22 w 31"/>
                <a:gd name="T1" fmla="*/ 21 h 34"/>
                <a:gd name="T2" fmla="*/ 21 w 31"/>
                <a:gd name="T3" fmla="*/ 17 h 34"/>
                <a:gd name="T4" fmla="*/ 15 w 31"/>
                <a:gd name="T5" fmla="*/ 27 h 34"/>
                <a:gd name="T6" fmla="*/ 16 w 31"/>
                <a:gd name="T7" fmla="*/ 34 h 34"/>
                <a:gd name="T8" fmla="*/ 13 w 31"/>
                <a:gd name="T9" fmla="*/ 32 h 34"/>
                <a:gd name="T10" fmla="*/ 7 w 31"/>
                <a:gd name="T11" fmla="*/ 25 h 34"/>
                <a:gd name="T12" fmla="*/ 0 w 31"/>
                <a:gd name="T13" fmla="*/ 21 h 34"/>
                <a:gd name="T14" fmla="*/ 1 w 31"/>
                <a:gd name="T15" fmla="*/ 18 h 34"/>
                <a:gd name="T16" fmla="*/ 3 w 31"/>
                <a:gd name="T17" fmla="*/ 7 h 34"/>
                <a:gd name="T18" fmla="*/ 8 w 31"/>
                <a:gd name="T19" fmla="*/ 2 h 34"/>
                <a:gd name="T20" fmla="*/ 11 w 31"/>
                <a:gd name="T21" fmla="*/ 0 h 34"/>
                <a:gd name="T22" fmla="*/ 16 w 31"/>
                <a:gd name="T23" fmla="*/ 3 h 34"/>
                <a:gd name="T24" fmla="*/ 18 w 31"/>
                <a:gd name="T25" fmla="*/ 6 h 34"/>
                <a:gd name="T26" fmla="*/ 24 w 31"/>
                <a:gd name="T27" fmla="*/ 9 h 34"/>
                <a:gd name="T28" fmla="*/ 31 w 31"/>
                <a:gd name="T29" fmla="*/ 13 h 34"/>
                <a:gd name="T30" fmla="*/ 29 w 31"/>
                <a:gd name="T31" fmla="*/ 14 h 34"/>
                <a:gd name="T32" fmla="*/ 27 w 31"/>
                <a:gd name="T33" fmla="*/ 19 h 34"/>
                <a:gd name="T34" fmla="*/ 22 w 31"/>
                <a:gd name="T35" fmla="*/ 2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1" h="34">
                  <a:moveTo>
                    <a:pt x="22" y="21"/>
                  </a:moveTo>
                  <a:lnTo>
                    <a:pt x="21" y="17"/>
                  </a:lnTo>
                  <a:lnTo>
                    <a:pt x="15" y="27"/>
                  </a:lnTo>
                  <a:lnTo>
                    <a:pt x="16" y="34"/>
                  </a:lnTo>
                  <a:lnTo>
                    <a:pt x="13" y="32"/>
                  </a:lnTo>
                  <a:lnTo>
                    <a:pt x="7" y="25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3" y="7"/>
                  </a:lnTo>
                  <a:lnTo>
                    <a:pt x="8" y="2"/>
                  </a:lnTo>
                  <a:lnTo>
                    <a:pt x="11" y="0"/>
                  </a:lnTo>
                  <a:lnTo>
                    <a:pt x="16" y="3"/>
                  </a:lnTo>
                  <a:lnTo>
                    <a:pt x="18" y="6"/>
                  </a:lnTo>
                  <a:lnTo>
                    <a:pt x="24" y="9"/>
                  </a:lnTo>
                  <a:lnTo>
                    <a:pt x="31" y="13"/>
                  </a:lnTo>
                  <a:lnTo>
                    <a:pt x="29" y="14"/>
                  </a:lnTo>
                  <a:lnTo>
                    <a:pt x="27" y="19"/>
                  </a:lnTo>
                  <a:lnTo>
                    <a:pt x="22" y="21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68" name="Freeform 125">
              <a:extLst>
                <a:ext uri="{FF2B5EF4-FFF2-40B4-BE49-F238E27FC236}">
                  <a16:creationId xmlns:a16="http://schemas.microsoft.com/office/drawing/2014/main" id="{B9BC9A5C-5FCB-43A6-9376-F66927DC45B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4387" y="1475161"/>
              <a:ext cx="709841" cy="277424"/>
            </a:xfrm>
            <a:custGeom>
              <a:avLst/>
              <a:gdLst>
                <a:gd name="T0" fmla="*/ 15 w 545"/>
                <a:gd name="T1" fmla="*/ 52 h 213"/>
                <a:gd name="T2" fmla="*/ 57 w 545"/>
                <a:gd name="T3" fmla="*/ 25 h 213"/>
                <a:gd name="T4" fmla="*/ 90 w 545"/>
                <a:gd name="T5" fmla="*/ 31 h 213"/>
                <a:gd name="T6" fmla="*/ 122 w 545"/>
                <a:gd name="T7" fmla="*/ 42 h 213"/>
                <a:gd name="T8" fmla="*/ 156 w 545"/>
                <a:gd name="T9" fmla="*/ 33 h 213"/>
                <a:gd name="T10" fmla="*/ 148 w 545"/>
                <a:gd name="T11" fmla="*/ 0 h 213"/>
                <a:gd name="T12" fmla="*/ 186 w 545"/>
                <a:gd name="T13" fmla="*/ 10 h 213"/>
                <a:gd name="T14" fmla="*/ 219 w 545"/>
                <a:gd name="T15" fmla="*/ 31 h 213"/>
                <a:gd name="T16" fmla="*/ 259 w 545"/>
                <a:gd name="T17" fmla="*/ 35 h 213"/>
                <a:gd name="T18" fmla="*/ 296 w 545"/>
                <a:gd name="T19" fmla="*/ 35 h 213"/>
                <a:gd name="T20" fmla="*/ 333 w 545"/>
                <a:gd name="T21" fmla="*/ 55 h 213"/>
                <a:gd name="T22" fmla="*/ 370 w 545"/>
                <a:gd name="T23" fmla="*/ 59 h 213"/>
                <a:gd name="T24" fmla="*/ 400 w 545"/>
                <a:gd name="T25" fmla="*/ 50 h 213"/>
                <a:gd name="T26" fmla="*/ 426 w 545"/>
                <a:gd name="T27" fmla="*/ 38 h 213"/>
                <a:gd name="T28" fmla="*/ 456 w 545"/>
                <a:gd name="T29" fmla="*/ 43 h 213"/>
                <a:gd name="T30" fmla="*/ 459 w 545"/>
                <a:gd name="T31" fmla="*/ 79 h 213"/>
                <a:gd name="T32" fmla="*/ 476 w 545"/>
                <a:gd name="T33" fmla="*/ 84 h 213"/>
                <a:gd name="T34" fmla="*/ 502 w 545"/>
                <a:gd name="T35" fmla="*/ 80 h 213"/>
                <a:gd name="T36" fmla="*/ 542 w 545"/>
                <a:gd name="T37" fmla="*/ 101 h 213"/>
                <a:gd name="T38" fmla="*/ 530 w 545"/>
                <a:gd name="T39" fmla="*/ 106 h 213"/>
                <a:gd name="T40" fmla="*/ 500 w 545"/>
                <a:gd name="T41" fmla="*/ 114 h 213"/>
                <a:gd name="T42" fmla="*/ 475 w 545"/>
                <a:gd name="T43" fmla="*/ 136 h 213"/>
                <a:gd name="T44" fmla="*/ 445 w 545"/>
                <a:gd name="T45" fmla="*/ 143 h 213"/>
                <a:gd name="T46" fmla="*/ 433 w 545"/>
                <a:gd name="T47" fmla="*/ 154 h 213"/>
                <a:gd name="T48" fmla="*/ 449 w 545"/>
                <a:gd name="T49" fmla="*/ 168 h 213"/>
                <a:gd name="T50" fmla="*/ 434 w 545"/>
                <a:gd name="T51" fmla="*/ 186 h 213"/>
                <a:gd name="T52" fmla="*/ 393 w 545"/>
                <a:gd name="T53" fmla="*/ 194 h 213"/>
                <a:gd name="T54" fmla="*/ 355 w 545"/>
                <a:gd name="T55" fmla="*/ 213 h 213"/>
                <a:gd name="T56" fmla="*/ 324 w 545"/>
                <a:gd name="T57" fmla="*/ 206 h 213"/>
                <a:gd name="T58" fmla="*/ 276 w 545"/>
                <a:gd name="T59" fmla="*/ 191 h 213"/>
                <a:gd name="T60" fmla="*/ 219 w 545"/>
                <a:gd name="T61" fmla="*/ 189 h 213"/>
                <a:gd name="T62" fmla="*/ 186 w 545"/>
                <a:gd name="T63" fmla="*/ 177 h 213"/>
                <a:gd name="T64" fmla="*/ 159 w 545"/>
                <a:gd name="T65" fmla="*/ 156 h 213"/>
                <a:gd name="T66" fmla="*/ 110 w 545"/>
                <a:gd name="T67" fmla="*/ 140 h 213"/>
                <a:gd name="T68" fmla="*/ 79 w 545"/>
                <a:gd name="T69" fmla="*/ 128 h 213"/>
                <a:gd name="T70" fmla="*/ 56 w 545"/>
                <a:gd name="T71" fmla="*/ 88 h 213"/>
                <a:gd name="T72" fmla="*/ 11 w 545"/>
                <a:gd name="T73" fmla="*/ 69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45" h="213">
                  <a:moveTo>
                    <a:pt x="0" y="55"/>
                  </a:moveTo>
                  <a:lnTo>
                    <a:pt x="15" y="52"/>
                  </a:lnTo>
                  <a:lnTo>
                    <a:pt x="37" y="34"/>
                  </a:lnTo>
                  <a:lnTo>
                    <a:pt x="57" y="25"/>
                  </a:lnTo>
                  <a:lnTo>
                    <a:pt x="74" y="31"/>
                  </a:lnTo>
                  <a:lnTo>
                    <a:pt x="90" y="31"/>
                  </a:lnTo>
                  <a:lnTo>
                    <a:pt x="106" y="41"/>
                  </a:lnTo>
                  <a:lnTo>
                    <a:pt x="122" y="42"/>
                  </a:lnTo>
                  <a:lnTo>
                    <a:pt x="148" y="46"/>
                  </a:lnTo>
                  <a:lnTo>
                    <a:pt x="156" y="33"/>
                  </a:lnTo>
                  <a:lnTo>
                    <a:pt x="143" y="21"/>
                  </a:lnTo>
                  <a:lnTo>
                    <a:pt x="148" y="0"/>
                  </a:lnTo>
                  <a:lnTo>
                    <a:pt x="170" y="8"/>
                  </a:lnTo>
                  <a:lnTo>
                    <a:pt x="186" y="10"/>
                  </a:lnTo>
                  <a:lnTo>
                    <a:pt x="207" y="16"/>
                  </a:lnTo>
                  <a:lnTo>
                    <a:pt x="219" y="31"/>
                  </a:lnTo>
                  <a:lnTo>
                    <a:pt x="246" y="39"/>
                  </a:lnTo>
                  <a:lnTo>
                    <a:pt x="259" y="35"/>
                  </a:lnTo>
                  <a:lnTo>
                    <a:pt x="278" y="33"/>
                  </a:lnTo>
                  <a:lnTo>
                    <a:pt x="296" y="35"/>
                  </a:lnTo>
                  <a:lnTo>
                    <a:pt x="317" y="45"/>
                  </a:lnTo>
                  <a:lnTo>
                    <a:pt x="333" y="55"/>
                  </a:lnTo>
                  <a:lnTo>
                    <a:pt x="348" y="55"/>
                  </a:lnTo>
                  <a:lnTo>
                    <a:pt x="370" y="59"/>
                  </a:lnTo>
                  <a:lnTo>
                    <a:pt x="381" y="53"/>
                  </a:lnTo>
                  <a:lnTo>
                    <a:pt x="400" y="50"/>
                  </a:lnTo>
                  <a:lnTo>
                    <a:pt x="415" y="36"/>
                  </a:lnTo>
                  <a:lnTo>
                    <a:pt x="426" y="38"/>
                  </a:lnTo>
                  <a:lnTo>
                    <a:pt x="439" y="45"/>
                  </a:lnTo>
                  <a:lnTo>
                    <a:pt x="456" y="43"/>
                  </a:lnTo>
                  <a:lnTo>
                    <a:pt x="458" y="59"/>
                  </a:lnTo>
                  <a:lnTo>
                    <a:pt x="459" y="79"/>
                  </a:lnTo>
                  <a:lnTo>
                    <a:pt x="468" y="87"/>
                  </a:lnTo>
                  <a:lnTo>
                    <a:pt x="476" y="84"/>
                  </a:lnTo>
                  <a:lnTo>
                    <a:pt x="494" y="88"/>
                  </a:lnTo>
                  <a:lnTo>
                    <a:pt x="502" y="80"/>
                  </a:lnTo>
                  <a:lnTo>
                    <a:pt x="519" y="87"/>
                  </a:lnTo>
                  <a:lnTo>
                    <a:pt x="542" y="101"/>
                  </a:lnTo>
                  <a:lnTo>
                    <a:pt x="545" y="108"/>
                  </a:lnTo>
                  <a:lnTo>
                    <a:pt x="530" y="106"/>
                  </a:lnTo>
                  <a:lnTo>
                    <a:pt x="508" y="109"/>
                  </a:lnTo>
                  <a:lnTo>
                    <a:pt x="500" y="114"/>
                  </a:lnTo>
                  <a:lnTo>
                    <a:pt x="496" y="128"/>
                  </a:lnTo>
                  <a:lnTo>
                    <a:pt x="475" y="136"/>
                  </a:lnTo>
                  <a:lnTo>
                    <a:pt x="464" y="147"/>
                  </a:lnTo>
                  <a:lnTo>
                    <a:pt x="445" y="143"/>
                  </a:lnTo>
                  <a:lnTo>
                    <a:pt x="435" y="141"/>
                  </a:lnTo>
                  <a:lnTo>
                    <a:pt x="433" y="154"/>
                  </a:lnTo>
                  <a:lnTo>
                    <a:pt x="443" y="162"/>
                  </a:lnTo>
                  <a:lnTo>
                    <a:pt x="449" y="168"/>
                  </a:lnTo>
                  <a:lnTo>
                    <a:pt x="441" y="175"/>
                  </a:lnTo>
                  <a:lnTo>
                    <a:pt x="434" y="186"/>
                  </a:lnTo>
                  <a:lnTo>
                    <a:pt x="418" y="194"/>
                  </a:lnTo>
                  <a:lnTo>
                    <a:pt x="393" y="194"/>
                  </a:lnTo>
                  <a:lnTo>
                    <a:pt x="370" y="202"/>
                  </a:lnTo>
                  <a:lnTo>
                    <a:pt x="355" y="213"/>
                  </a:lnTo>
                  <a:lnTo>
                    <a:pt x="345" y="206"/>
                  </a:lnTo>
                  <a:lnTo>
                    <a:pt x="324" y="206"/>
                  </a:lnTo>
                  <a:lnTo>
                    <a:pt x="294" y="194"/>
                  </a:lnTo>
                  <a:lnTo>
                    <a:pt x="276" y="191"/>
                  </a:lnTo>
                  <a:lnTo>
                    <a:pt x="255" y="194"/>
                  </a:lnTo>
                  <a:lnTo>
                    <a:pt x="219" y="189"/>
                  </a:lnTo>
                  <a:lnTo>
                    <a:pt x="201" y="189"/>
                  </a:lnTo>
                  <a:lnTo>
                    <a:pt x="186" y="177"/>
                  </a:lnTo>
                  <a:lnTo>
                    <a:pt x="170" y="158"/>
                  </a:lnTo>
                  <a:lnTo>
                    <a:pt x="159" y="156"/>
                  </a:lnTo>
                  <a:lnTo>
                    <a:pt x="133" y="143"/>
                  </a:lnTo>
                  <a:lnTo>
                    <a:pt x="110" y="140"/>
                  </a:lnTo>
                  <a:lnTo>
                    <a:pt x="89" y="137"/>
                  </a:lnTo>
                  <a:lnTo>
                    <a:pt x="79" y="128"/>
                  </a:lnTo>
                  <a:lnTo>
                    <a:pt x="75" y="104"/>
                  </a:lnTo>
                  <a:lnTo>
                    <a:pt x="56" y="88"/>
                  </a:lnTo>
                  <a:lnTo>
                    <a:pt x="29" y="80"/>
                  </a:lnTo>
                  <a:lnTo>
                    <a:pt x="11" y="69"/>
                  </a:lnTo>
                  <a:lnTo>
                    <a:pt x="0" y="55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69" name="Freeform 126">
              <a:extLst>
                <a:ext uri="{FF2B5EF4-FFF2-40B4-BE49-F238E27FC236}">
                  <a16:creationId xmlns:a16="http://schemas.microsoft.com/office/drawing/2014/main" id="{1D88DC6A-B2FB-43F3-8940-C8CC0F0FA9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6877" y="3155335"/>
              <a:ext cx="251375" cy="444139"/>
            </a:xfrm>
            <a:custGeom>
              <a:avLst/>
              <a:gdLst>
                <a:gd name="T0" fmla="*/ 96 w 193"/>
                <a:gd name="T1" fmla="*/ 23 h 341"/>
                <a:gd name="T2" fmla="*/ 122 w 193"/>
                <a:gd name="T3" fmla="*/ 26 h 341"/>
                <a:gd name="T4" fmla="*/ 142 w 193"/>
                <a:gd name="T5" fmla="*/ 20 h 341"/>
                <a:gd name="T6" fmla="*/ 173 w 193"/>
                <a:gd name="T7" fmla="*/ 12 h 341"/>
                <a:gd name="T8" fmla="*/ 190 w 193"/>
                <a:gd name="T9" fmla="*/ 9 h 341"/>
                <a:gd name="T10" fmla="*/ 191 w 193"/>
                <a:gd name="T11" fmla="*/ 48 h 341"/>
                <a:gd name="T12" fmla="*/ 193 w 193"/>
                <a:gd name="T13" fmla="*/ 91 h 341"/>
                <a:gd name="T14" fmla="*/ 179 w 193"/>
                <a:gd name="T15" fmla="*/ 120 h 341"/>
                <a:gd name="T16" fmla="*/ 150 w 193"/>
                <a:gd name="T17" fmla="*/ 141 h 341"/>
                <a:gd name="T18" fmla="*/ 107 w 193"/>
                <a:gd name="T19" fmla="*/ 173 h 341"/>
                <a:gd name="T20" fmla="*/ 86 w 193"/>
                <a:gd name="T21" fmla="*/ 192 h 341"/>
                <a:gd name="T22" fmla="*/ 76 w 193"/>
                <a:gd name="T23" fmla="*/ 211 h 341"/>
                <a:gd name="T24" fmla="*/ 87 w 193"/>
                <a:gd name="T25" fmla="*/ 239 h 341"/>
                <a:gd name="T26" fmla="*/ 90 w 193"/>
                <a:gd name="T27" fmla="*/ 244 h 341"/>
                <a:gd name="T28" fmla="*/ 84 w 193"/>
                <a:gd name="T29" fmla="*/ 274 h 341"/>
                <a:gd name="T30" fmla="*/ 85 w 193"/>
                <a:gd name="T31" fmla="*/ 287 h 341"/>
                <a:gd name="T32" fmla="*/ 62 w 193"/>
                <a:gd name="T33" fmla="*/ 301 h 341"/>
                <a:gd name="T34" fmla="*/ 31 w 193"/>
                <a:gd name="T35" fmla="*/ 320 h 341"/>
                <a:gd name="T36" fmla="*/ 36 w 193"/>
                <a:gd name="T37" fmla="*/ 330 h 341"/>
                <a:gd name="T38" fmla="*/ 20 w 193"/>
                <a:gd name="T39" fmla="*/ 341 h 341"/>
                <a:gd name="T40" fmla="*/ 18 w 193"/>
                <a:gd name="T41" fmla="*/ 322 h 341"/>
                <a:gd name="T42" fmla="*/ 21 w 193"/>
                <a:gd name="T43" fmla="*/ 292 h 341"/>
                <a:gd name="T44" fmla="*/ 11 w 193"/>
                <a:gd name="T45" fmla="*/ 248 h 341"/>
                <a:gd name="T46" fmla="*/ 37 w 193"/>
                <a:gd name="T47" fmla="*/ 209 h 341"/>
                <a:gd name="T48" fmla="*/ 42 w 193"/>
                <a:gd name="T49" fmla="*/ 195 h 341"/>
                <a:gd name="T50" fmla="*/ 41 w 193"/>
                <a:gd name="T51" fmla="*/ 173 h 341"/>
                <a:gd name="T52" fmla="*/ 47 w 193"/>
                <a:gd name="T53" fmla="*/ 133 h 341"/>
                <a:gd name="T54" fmla="*/ 29 w 193"/>
                <a:gd name="T55" fmla="*/ 124 h 341"/>
                <a:gd name="T56" fmla="*/ 17 w 193"/>
                <a:gd name="T57" fmla="*/ 115 h 341"/>
                <a:gd name="T58" fmla="*/ 1 w 193"/>
                <a:gd name="T59" fmla="*/ 108 h 341"/>
                <a:gd name="T60" fmla="*/ 56 w 193"/>
                <a:gd name="T61" fmla="*/ 76 h 341"/>
                <a:gd name="T62" fmla="*/ 71 w 193"/>
                <a:gd name="T63" fmla="*/ 84 h 341"/>
                <a:gd name="T64" fmla="*/ 79 w 193"/>
                <a:gd name="T65" fmla="*/ 97 h 341"/>
                <a:gd name="T66" fmla="*/ 75 w 193"/>
                <a:gd name="T67" fmla="*/ 122 h 341"/>
                <a:gd name="T68" fmla="*/ 92 w 193"/>
                <a:gd name="T69" fmla="*/ 120 h 341"/>
                <a:gd name="T70" fmla="*/ 100 w 193"/>
                <a:gd name="T71" fmla="*/ 89 h 341"/>
                <a:gd name="T72" fmla="*/ 87 w 193"/>
                <a:gd name="T73" fmla="*/ 67 h 341"/>
                <a:gd name="T74" fmla="*/ 76 w 193"/>
                <a:gd name="T75" fmla="*/ 40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3" h="341">
                  <a:moveTo>
                    <a:pt x="82" y="25"/>
                  </a:moveTo>
                  <a:lnTo>
                    <a:pt x="96" y="23"/>
                  </a:lnTo>
                  <a:lnTo>
                    <a:pt x="117" y="29"/>
                  </a:lnTo>
                  <a:lnTo>
                    <a:pt x="122" y="26"/>
                  </a:lnTo>
                  <a:lnTo>
                    <a:pt x="135" y="26"/>
                  </a:lnTo>
                  <a:lnTo>
                    <a:pt x="142" y="20"/>
                  </a:lnTo>
                  <a:lnTo>
                    <a:pt x="153" y="20"/>
                  </a:lnTo>
                  <a:lnTo>
                    <a:pt x="173" y="12"/>
                  </a:lnTo>
                  <a:lnTo>
                    <a:pt x="188" y="0"/>
                  </a:lnTo>
                  <a:lnTo>
                    <a:pt x="190" y="9"/>
                  </a:lnTo>
                  <a:lnTo>
                    <a:pt x="189" y="30"/>
                  </a:lnTo>
                  <a:lnTo>
                    <a:pt x="191" y="48"/>
                  </a:lnTo>
                  <a:lnTo>
                    <a:pt x="190" y="81"/>
                  </a:lnTo>
                  <a:lnTo>
                    <a:pt x="193" y="91"/>
                  </a:lnTo>
                  <a:lnTo>
                    <a:pt x="186" y="105"/>
                  </a:lnTo>
                  <a:lnTo>
                    <a:pt x="179" y="120"/>
                  </a:lnTo>
                  <a:lnTo>
                    <a:pt x="166" y="133"/>
                  </a:lnTo>
                  <a:lnTo>
                    <a:pt x="150" y="141"/>
                  </a:lnTo>
                  <a:lnTo>
                    <a:pt x="129" y="151"/>
                  </a:lnTo>
                  <a:lnTo>
                    <a:pt x="107" y="173"/>
                  </a:lnTo>
                  <a:lnTo>
                    <a:pt x="100" y="177"/>
                  </a:lnTo>
                  <a:lnTo>
                    <a:pt x="86" y="192"/>
                  </a:lnTo>
                  <a:lnTo>
                    <a:pt x="79" y="196"/>
                  </a:lnTo>
                  <a:lnTo>
                    <a:pt x="76" y="211"/>
                  </a:lnTo>
                  <a:lnTo>
                    <a:pt x="84" y="227"/>
                  </a:lnTo>
                  <a:lnTo>
                    <a:pt x="87" y="239"/>
                  </a:lnTo>
                  <a:lnTo>
                    <a:pt x="86" y="245"/>
                  </a:lnTo>
                  <a:lnTo>
                    <a:pt x="90" y="244"/>
                  </a:lnTo>
                  <a:lnTo>
                    <a:pt x="88" y="265"/>
                  </a:lnTo>
                  <a:lnTo>
                    <a:pt x="84" y="274"/>
                  </a:lnTo>
                  <a:lnTo>
                    <a:pt x="88" y="278"/>
                  </a:lnTo>
                  <a:lnTo>
                    <a:pt x="85" y="287"/>
                  </a:lnTo>
                  <a:lnTo>
                    <a:pt x="77" y="294"/>
                  </a:lnTo>
                  <a:lnTo>
                    <a:pt x="62" y="301"/>
                  </a:lnTo>
                  <a:lnTo>
                    <a:pt x="39" y="312"/>
                  </a:lnTo>
                  <a:lnTo>
                    <a:pt x="31" y="320"/>
                  </a:lnTo>
                  <a:lnTo>
                    <a:pt x="32" y="329"/>
                  </a:lnTo>
                  <a:lnTo>
                    <a:pt x="36" y="330"/>
                  </a:lnTo>
                  <a:lnTo>
                    <a:pt x="34" y="341"/>
                  </a:lnTo>
                  <a:lnTo>
                    <a:pt x="20" y="341"/>
                  </a:lnTo>
                  <a:lnTo>
                    <a:pt x="20" y="332"/>
                  </a:lnTo>
                  <a:lnTo>
                    <a:pt x="18" y="322"/>
                  </a:lnTo>
                  <a:lnTo>
                    <a:pt x="17" y="315"/>
                  </a:lnTo>
                  <a:lnTo>
                    <a:pt x="21" y="292"/>
                  </a:lnTo>
                  <a:lnTo>
                    <a:pt x="18" y="277"/>
                  </a:lnTo>
                  <a:lnTo>
                    <a:pt x="11" y="248"/>
                  </a:lnTo>
                  <a:lnTo>
                    <a:pt x="31" y="224"/>
                  </a:lnTo>
                  <a:lnTo>
                    <a:pt x="37" y="209"/>
                  </a:lnTo>
                  <a:lnTo>
                    <a:pt x="39" y="207"/>
                  </a:lnTo>
                  <a:lnTo>
                    <a:pt x="42" y="195"/>
                  </a:lnTo>
                  <a:lnTo>
                    <a:pt x="40" y="189"/>
                  </a:lnTo>
                  <a:lnTo>
                    <a:pt x="41" y="173"/>
                  </a:lnTo>
                  <a:lnTo>
                    <a:pt x="46" y="159"/>
                  </a:lnTo>
                  <a:lnTo>
                    <a:pt x="47" y="133"/>
                  </a:lnTo>
                  <a:lnTo>
                    <a:pt x="38" y="126"/>
                  </a:lnTo>
                  <a:lnTo>
                    <a:pt x="29" y="124"/>
                  </a:lnTo>
                  <a:lnTo>
                    <a:pt x="25" y="119"/>
                  </a:lnTo>
                  <a:lnTo>
                    <a:pt x="17" y="115"/>
                  </a:lnTo>
                  <a:lnTo>
                    <a:pt x="2" y="115"/>
                  </a:lnTo>
                  <a:lnTo>
                    <a:pt x="1" y="108"/>
                  </a:lnTo>
                  <a:lnTo>
                    <a:pt x="0" y="93"/>
                  </a:lnTo>
                  <a:lnTo>
                    <a:pt x="56" y="76"/>
                  </a:lnTo>
                  <a:lnTo>
                    <a:pt x="66" y="86"/>
                  </a:lnTo>
                  <a:lnTo>
                    <a:pt x="71" y="84"/>
                  </a:lnTo>
                  <a:lnTo>
                    <a:pt x="78" y="89"/>
                  </a:lnTo>
                  <a:lnTo>
                    <a:pt x="79" y="97"/>
                  </a:lnTo>
                  <a:lnTo>
                    <a:pt x="74" y="107"/>
                  </a:lnTo>
                  <a:lnTo>
                    <a:pt x="75" y="122"/>
                  </a:lnTo>
                  <a:lnTo>
                    <a:pt x="86" y="134"/>
                  </a:lnTo>
                  <a:lnTo>
                    <a:pt x="92" y="120"/>
                  </a:lnTo>
                  <a:lnTo>
                    <a:pt x="100" y="116"/>
                  </a:lnTo>
                  <a:lnTo>
                    <a:pt x="100" y="89"/>
                  </a:lnTo>
                  <a:lnTo>
                    <a:pt x="93" y="74"/>
                  </a:lnTo>
                  <a:lnTo>
                    <a:pt x="87" y="67"/>
                  </a:lnTo>
                  <a:lnTo>
                    <a:pt x="80" y="68"/>
                  </a:lnTo>
                  <a:lnTo>
                    <a:pt x="76" y="40"/>
                  </a:lnTo>
                  <a:lnTo>
                    <a:pt x="82" y="2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70" name="Freeform 127">
              <a:extLst>
                <a:ext uri="{FF2B5EF4-FFF2-40B4-BE49-F238E27FC236}">
                  <a16:creationId xmlns:a16="http://schemas.microsoft.com/office/drawing/2014/main" id="{5C96D995-AF0B-42CF-9586-30704E8E7E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0669" y="2134206"/>
              <a:ext cx="285239" cy="346454"/>
            </a:xfrm>
            <a:custGeom>
              <a:avLst/>
              <a:gdLst>
                <a:gd name="T0" fmla="*/ 86 w 219"/>
                <a:gd name="T1" fmla="*/ 266 h 266"/>
                <a:gd name="T2" fmla="*/ 74 w 219"/>
                <a:gd name="T3" fmla="*/ 251 h 266"/>
                <a:gd name="T4" fmla="*/ 63 w 219"/>
                <a:gd name="T5" fmla="*/ 236 h 266"/>
                <a:gd name="T6" fmla="*/ 51 w 219"/>
                <a:gd name="T7" fmla="*/ 231 h 266"/>
                <a:gd name="T8" fmla="*/ 43 w 219"/>
                <a:gd name="T9" fmla="*/ 225 h 266"/>
                <a:gd name="T10" fmla="*/ 33 w 219"/>
                <a:gd name="T11" fmla="*/ 225 h 266"/>
                <a:gd name="T12" fmla="*/ 24 w 219"/>
                <a:gd name="T13" fmla="*/ 229 h 266"/>
                <a:gd name="T14" fmla="*/ 15 w 219"/>
                <a:gd name="T15" fmla="*/ 227 h 266"/>
                <a:gd name="T16" fmla="*/ 8 w 219"/>
                <a:gd name="T17" fmla="*/ 234 h 266"/>
                <a:gd name="T18" fmla="*/ 7 w 219"/>
                <a:gd name="T19" fmla="*/ 223 h 266"/>
                <a:gd name="T20" fmla="*/ 12 w 219"/>
                <a:gd name="T21" fmla="*/ 213 h 266"/>
                <a:gd name="T22" fmla="*/ 15 w 219"/>
                <a:gd name="T23" fmla="*/ 193 h 266"/>
                <a:gd name="T24" fmla="*/ 13 w 219"/>
                <a:gd name="T25" fmla="*/ 173 h 266"/>
                <a:gd name="T26" fmla="*/ 11 w 219"/>
                <a:gd name="T27" fmla="*/ 162 h 266"/>
                <a:gd name="T28" fmla="*/ 14 w 219"/>
                <a:gd name="T29" fmla="*/ 152 h 266"/>
                <a:gd name="T30" fmla="*/ 9 w 219"/>
                <a:gd name="T31" fmla="*/ 142 h 266"/>
                <a:gd name="T32" fmla="*/ 0 w 219"/>
                <a:gd name="T33" fmla="*/ 133 h 266"/>
                <a:gd name="T34" fmla="*/ 4 w 219"/>
                <a:gd name="T35" fmla="*/ 126 h 266"/>
                <a:gd name="T36" fmla="*/ 75 w 219"/>
                <a:gd name="T37" fmla="*/ 126 h 266"/>
                <a:gd name="T38" fmla="*/ 72 w 219"/>
                <a:gd name="T39" fmla="*/ 96 h 266"/>
                <a:gd name="T40" fmla="*/ 77 w 219"/>
                <a:gd name="T41" fmla="*/ 86 h 266"/>
                <a:gd name="T42" fmla="*/ 93 w 219"/>
                <a:gd name="T43" fmla="*/ 84 h 266"/>
                <a:gd name="T44" fmla="*/ 94 w 219"/>
                <a:gd name="T45" fmla="*/ 31 h 266"/>
                <a:gd name="T46" fmla="*/ 153 w 219"/>
                <a:gd name="T47" fmla="*/ 32 h 266"/>
                <a:gd name="T48" fmla="*/ 153 w 219"/>
                <a:gd name="T49" fmla="*/ 0 h 266"/>
                <a:gd name="T50" fmla="*/ 219 w 219"/>
                <a:gd name="T51" fmla="*/ 51 h 266"/>
                <a:gd name="T52" fmla="*/ 192 w 219"/>
                <a:gd name="T53" fmla="*/ 51 h 266"/>
                <a:gd name="T54" fmla="*/ 200 w 219"/>
                <a:gd name="T55" fmla="*/ 141 h 266"/>
                <a:gd name="T56" fmla="*/ 208 w 219"/>
                <a:gd name="T57" fmla="*/ 230 h 266"/>
                <a:gd name="T58" fmla="*/ 211 w 219"/>
                <a:gd name="T59" fmla="*/ 233 h 266"/>
                <a:gd name="T60" fmla="*/ 207 w 219"/>
                <a:gd name="T61" fmla="*/ 247 h 266"/>
                <a:gd name="T62" fmla="*/ 134 w 219"/>
                <a:gd name="T63" fmla="*/ 248 h 266"/>
                <a:gd name="T64" fmla="*/ 131 w 219"/>
                <a:gd name="T65" fmla="*/ 252 h 266"/>
                <a:gd name="T66" fmla="*/ 124 w 219"/>
                <a:gd name="T67" fmla="*/ 251 h 266"/>
                <a:gd name="T68" fmla="*/ 114 w 219"/>
                <a:gd name="T69" fmla="*/ 255 h 266"/>
                <a:gd name="T70" fmla="*/ 101 w 219"/>
                <a:gd name="T71" fmla="*/ 249 h 266"/>
                <a:gd name="T72" fmla="*/ 95 w 219"/>
                <a:gd name="T73" fmla="*/ 250 h 266"/>
                <a:gd name="T74" fmla="*/ 92 w 219"/>
                <a:gd name="T75" fmla="*/ 262 h 266"/>
                <a:gd name="T76" fmla="*/ 86 w 219"/>
                <a:gd name="T77" fmla="*/ 266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9" h="266">
                  <a:moveTo>
                    <a:pt x="86" y="266"/>
                  </a:moveTo>
                  <a:lnTo>
                    <a:pt x="74" y="251"/>
                  </a:lnTo>
                  <a:lnTo>
                    <a:pt x="63" y="236"/>
                  </a:lnTo>
                  <a:lnTo>
                    <a:pt x="51" y="231"/>
                  </a:lnTo>
                  <a:lnTo>
                    <a:pt x="43" y="225"/>
                  </a:lnTo>
                  <a:lnTo>
                    <a:pt x="33" y="225"/>
                  </a:lnTo>
                  <a:lnTo>
                    <a:pt x="24" y="229"/>
                  </a:lnTo>
                  <a:lnTo>
                    <a:pt x="15" y="227"/>
                  </a:lnTo>
                  <a:lnTo>
                    <a:pt x="8" y="234"/>
                  </a:lnTo>
                  <a:lnTo>
                    <a:pt x="7" y="223"/>
                  </a:lnTo>
                  <a:lnTo>
                    <a:pt x="12" y="213"/>
                  </a:lnTo>
                  <a:lnTo>
                    <a:pt x="15" y="193"/>
                  </a:lnTo>
                  <a:lnTo>
                    <a:pt x="13" y="173"/>
                  </a:lnTo>
                  <a:lnTo>
                    <a:pt x="11" y="162"/>
                  </a:lnTo>
                  <a:lnTo>
                    <a:pt x="14" y="152"/>
                  </a:lnTo>
                  <a:lnTo>
                    <a:pt x="9" y="142"/>
                  </a:lnTo>
                  <a:lnTo>
                    <a:pt x="0" y="133"/>
                  </a:lnTo>
                  <a:lnTo>
                    <a:pt x="4" y="126"/>
                  </a:lnTo>
                  <a:lnTo>
                    <a:pt x="75" y="126"/>
                  </a:lnTo>
                  <a:lnTo>
                    <a:pt x="72" y="96"/>
                  </a:lnTo>
                  <a:lnTo>
                    <a:pt x="77" y="86"/>
                  </a:lnTo>
                  <a:lnTo>
                    <a:pt x="93" y="84"/>
                  </a:lnTo>
                  <a:lnTo>
                    <a:pt x="94" y="31"/>
                  </a:lnTo>
                  <a:lnTo>
                    <a:pt x="153" y="32"/>
                  </a:lnTo>
                  <a:lnTo>
                    <a:pt x="153" y="0"/>
                  </a:lnTo>
                  <a:lnTo>
                    <a:pt x="219" y="51"/>
                  </a:lnTo>
                  <a:lnTo>
                    <a:pt x="192" y="51"/>
                  </a:lnTo>
                  <a:lnTo>
                    <a:pt x="200" y="141"/>
                  </a:lnTo>
                  <a:lnTo>
                    <a:pt x="208" y="230"/>
                  </a:lnTo>
                  <a:lnTo>
                    <a:pt x="211" y="233"/>
                  </a:lnTo>
                  <a:lnTo>
                    <a:pt x="207" y="247"/>
                  </a:lnTo>
                  <a:lnTo>
                    <a:pt x="134" y="248"/>
                  </a:lnTo>
                  <a:lnTo>
                    <a:pt x="131" y="252"/>
                  </a:lnTo>
                  <a:lnTo>
                    <a:pt x="124" y="251"/>
                  </a:lnTo>
                  <a:lnTo>
                    <a:pt x="114" y="255"/>
                  </a:lnTo>
                  <a:lnTo>
                    <a:pt x="101" y="249"/>
                  </a:lnTo>
                  <a:lnTo>
                    <a:pt x="95" y="250"/>
                  </a:lnTo>
                  <a:lnTo>
                    <a:pt x="92" y="262"/>
                  </a:lnTo>
                  <a:lnTo>
                    <a:pt x="86" y="26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71" name="Freeform 128">
              <a:extLst>
                <a:ext uri="{FF2B5EF4-FFF2-40B4-BE49-F238E27FC236}">
                  <a16:creationId xmlns:a16="http://schemas.microsoft.com/office/drawing/2014/main" id="{279BA55C-255D-4AD7-8064-AF5B0AC290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6790" y="3125378"/>
              <a:ext cx="70333" cy="204487"/>
            </a:xfrm>
            <a:custGeom>
              <a:avLst/>
              <a:gdLst>
                <a:gd name="T0" fmla="*/ 36 w 54"/>
                <a:gd name="T1" fmla="*/ 48 h 157"/>
                <a:gd name="T2" fmla="*/ 30 w 54"/>
                <a:gd name="T3" fmla="*/ 63 h 157"/>
                <a:gd name="T4" fmla="*/ 34 w 54"/>
                <a:gd name="T5" fmla="*/ 91 h 157"/>
                <a:gd name="T6" fmla="*/ 41 w 54"/>
                <a:gd name="T7" fmla="*/ 90 h 157"/>
                <a:gd name="T8" fmla="*/ 47 w 54"/>
                <a:gd name="T9" fmla="*/ 97 h 157"/>
                <a:gd name="T10" fmla="*/ 54 w 54"/>
                <a:gd name="T11" fmla="*/ 112 h 157"/>
                <a:gd name="T12" fmla="*/ 54 w 54"/>
                <a:gd name="T13" fmla="*/ 139 h 157"/>
                <a:gd name="T14" fmla="*/ 46 w 54"/>
                <a:gd name="T15" fmla="*/ 143 h 157"/>
                <a:gd name="T16" fmla="*/ 40 w 54"/>
                <a:gd name="T17" fmla="*/ 157 h 157"/>
                <a:gd name="T18" fmla="*/ 29 w 54"/>
                <a:gd name="T19" fmla="*/ 145 h 157"/>
                <a:gd name="T20" fmla="*/ 28 w 54"/>
                <a:gd name="T21" fmla="*/ 130 h 157"/>
                <a:gd name="T22" fmla="*/ 33 w 54"/>
                <a:gd name="T23" fmla="*/ 120 h 157"/>
                <a:gd name="T24" fmla="*/ 32 w 54"/>
                <a:gd name="T25" fmla="*/ 112 h 157"/>
                <a:gd name="T26" fmla="*/ 25 w 54"/>
                <a:gd name="T27" fmla="*/ 107 h 157"/>
                <a:gd name="T28" fmla="*/ 20 w 54"/>
                <a:gd name="T29" fmla="*/ 109 h 157"/>
                <a:gd name="T30" fmla="*/ 10 w 54"/>
                <a:gd name="T31" fmla="*/ 99 h 157"/>
                <a:gd name="T32" fmla="*/ 0 w 54"/>
                <a:gd name="T33" fmla="*/ 93 h 157"/>
                <a:gd name="T34" fmla="*/ 6 w 54"/>
                <a:gd name="T35" fmla="*/ 74 h 157"/>
                <a:gd name="T36" fmla="*/ 12 w 54"/>
                <a:gd name="T37" fmla="*/ 67 h 157"/>
                <a:gd name="T38" fmla="*/ 9 w 54"/>
                <a:gd name="T39" fmla="*/ 50 h 157"/>
                <a:gd name="T40" fmla="*/ 13 w 54"/>
                <a:gd name="T41" fmla="*/ 33 h 157"/>
                <a:gd name="T42" fmla="*/ 17 w 54"/>
                <a:gd name="T43" fmla="*/ 27 h 157"/>
                <a:gd name="T44" fmla="*/ 13 w 54"/>
                <a:gd name="T45" fmla="*/ 10 h 157"/>
                <a:gd name="T46" fmla="*/ 4 w 54"/>
                <a:gd name="T47" fmla="*/ 0 h 157"/>
                <a:gd name="T48" fmla="*/ 22 w 54"/>
                <a:gd name="T49" fmla="*/ 4 h 157"/>
                <a:gd name="T50" fmla="*/ 25 w 54"/>
                <a:gd name="T51" fmla="*/ 10 h 157"/>
                <a:gd name="T52" fmla="*/ 32 w 54"/>
                <a:gd name="T53" fmla="*/ 20 h 157"/>
                <a:gd name="T54" fmla="*/ 36 w 54"/>
                <a:gd name="T55" fmla="*/ 48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4" h="157">
                  <a:moveTo>
                    <a:pt x="36" y="48"/>
                  </a:moveTo>
                  <a:lnTo>
                    <a:pt x="30" y="63"/>
                  </a:lnTo>
                  <a:lnTo>
                    <a:pt x="34" y="91"/>
                  </a:lnTo>
                  <a:lnTo>
                    <a:pt x="41" y="90"/>
                  </a:lnTo>
                  <a:lnTo>
                    <a:pt x="47" y="97"/>
                  </a:lnTo>
                  <a:lnTo>
                    <a:pt x="54" y="112"/>
                  </a:lnTo>
                  <a:lnTo>
                    <a:pt x="54" y="139"/>
                  </a:lnTo>
                  <a:lnTo>
                    <a:pt x="46" y="143"/>
                  </a:lnTo>
                  <a:lnTo>
                    <a:pt x="40" y="157"/>
                  </a:lnTo>
                  <a:lnTo>
                    <a:pt x="29" y="145"/>
                  </a:lnTo>
                  <a:lnTo>
                    <a:pt x="28" y="130"/>
                  </a:lnTo>
                  <a:lnTo>
                    <a:pt x="33" y="120"/>
                  </a:lnTo>
                  <a:lnTo>
                    <a:pt x="32" y="112"/>
                  </a:lnTo>
                  <a:lnTo>
                    <a:pt x="25" y="107"/>
                  </a:lnTo>
                  <a:lnTo>
                    <a:pt x="20" y="109"/>
                  </a:lnTo>
                  <a:lnTo>
                    <a:pt x="10" y="99"/>
                  </a:lnTo>
                  <a:lnTo>
                    <a:pt x="0" y="93"/>
                  </a:lnTo>
                  <a:lnTo>
                    <a:pt x="6" y="74"/>
                  </a:lnTo>
                  <a:lnTo>
                    <a:pt x="12" y="67"/>
                  </a:lnTo>
                  <a:lnTo>
                    <a:pt x="9" y="50"/>
                  </a:lnTo>
                  <a:lnTo>
                    <a:pt x="13" y="33"/>
                  </a:lnTo>
                  <a:lnTo>
                    <a:pt x="17" y="27"/>
                  </a:lnTo>
                  <a:lnTo>
                    <a:pt x="13" y="10"/>
                  </a:lnTo>
                  <a:lnTo>
                    <a:pt x="4" y="0"/>
                  </a:lnTo>
                  <a:lnTo>
                    <a:pt x="22" y="4"/>
                  </a:lnTo>
                  <a:lnTo>
                    <a:pt x="25" y="10"/>
                  </a:lnTo>
                  <a:lnTo>
                    <a:pt x="32" y="20"/>
                  </a:lnTo>
                  <a:lnTo>
                    <a:pt x="36" y="4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72" name="Freeform 129">
              <a:extLst>
                <a:ext uri="{FF2B5EF4-FFF2-40B4-BE49-F238E27FC236}">
                  <a16:creationId xmlns:a16="http://schemas.microsoft.com/office/drawing/2014/main" id="{D8E70D27-3DC0-4289-A26B-459B2CBCF8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31840" y="2689055"/>
              <a:ext cx="457164" cy="165413"/>
            </a:xfrm>
            <a:custGeom>
              <a:avLst/>
              <a:gdLst>
                <a:gd name="T0" fmla="*/ 1401 w 1439"/>
                <a:gd name="T1" fmla="*/ 208 h 524"/>
                <a:gd name="T2" fmla="*/ 1346 w 1439"/>
                <a:gd name="T3" fmla="*/ 237 h 524"/>
                <a:gd name="T4" fmla="*/ 1281 w 1439"/>
                <a:gd name="T5" fmla="*/ 223 h 524"/>
                <a:gd name="T6" fmla="*/ 1194 w 1439"/>
                <a:gd name="T7" fmla="*/ 223 h 524"/>
                <a:gd name="T8" fmla="*/ 1171 w 1439"/>
                <a:gd name="T9" fmla="*/ 320 h 524"/>
                <a:gd name="T10" fmla="*/ 1143 w 1439"/>
                <a:gd name="T11" fmla="*/ 349 h 524"/>
                <a:gd name="T12" fmla="*/ 1107 w 1439"/>
                <a:gd name="T13" fmla="*/ 468 h 524"/>
                <a:gd name="T14" fmla="*/ 1045 w 1439"/>
                <a:gd name="T15" fmla="*/ 486 h 524"/>
                <a:gd name="T16" fmla="*/ 974 w 1439"/>
                <a:gd name="T17" fmla="*/ 462 h 524"/>
                <a:gd name="T18" fmla="*/ 938 w 1439"/>
                <a:gd name="T19" fmla="*/ 469 h 524"/>
                <a:gd name="T20" fmla="*/ 894 w 1439"/>
                <a:gd name="T21" fmla="*/ 512 h 524"/>
                <a:gd name="T22" fmla="*/ 846 w 1439"/>
                <a:gd name="T23" fmla="*/ 506 h 524"/>
                <a:gd name="T24" fmla="*/ 798 w 1439"/>
                <a:gd name="T25" fmla="*/ 524 h 524"/>
                <a:gd name="T26" fmla="*/ 746 w 1439"/>
                <a:gd name="T27" fmla="*/ 476 h 524"/>
                <a:gd name="T28" fmla="*/ 733 w 1439"/>
                <a:gd name="T29" fmla="*/ 419 h 524"/>
                <a:gd name="T30" fmla="*/ 788 w 1439"/>
                <a:gd name="T31" fmla="*/ 448 h 524"/>
                <a:gd name="T32" fmla="*/ 846 w 1439"/>
                <a:gd name="T33" fmla="*/ 432 h 524"/>
                <a:gd name="T34" fmla="*/ 860 w 1439"/>
                <a:gd name="T35" fmla="*/ 360 h 524"/>
                <a:gd name="T36" fmla="*/ 892 w 1439"/>
                <a:gd name="T37" fmla="*/ 344 h 524"/>
                <a:gd name="T38" fmla="*/ 981 w 1439"/>
                <a:gd name="T39" fmla="*/ 325 h 524"/>
                <a:gd name="T40" fmla="*/ 1033 w 1439"/>
                <a:gd name="T41" fmla="*/ 258 h 524"/>
                <a:gd name="T42" fmla="*/ 1068 w 1439"/>
                <a:gd name="T43" fmla="*/ 204 h 524"/>
                <a:gd name="T44" fmla="*/ 1104 w 1439"/>
                <a:gd name="T45" fmla="*/ 248 h 524"/>
                <a:gd name="T46" fmla="*/ 1119 w 1439"/>
                <a:gd name="T47" fmla="*/ 219 h 524"/>
                <a:gd name="T48" fmla="*/ 1155 w 1439"/>
                <a:gd name="T49" fmla="*/ 222 h 524"/>
                <a:gd name="T50" fmla="*/ 1157 w 1439"/>
                <a:gd name="T51" fmla="*/ 168 h 524"/>
                <a:gd name="T52" fmla="*/ 1159 w 1439"/>
                <a:gd name="T53" fmla="*/ 126 h 524"/>
                <a:gd name="T54" fmla="*/ 1214 w 1439"/>
                <a:gd name="T55" fmla="*/ 66 h 524"/>
                <a:gd name="T56" fmla="*/ 1248 w 1439"/>
                <a:gd name="T57" fmla="*/ 0 h 524"/>
                <a:gd name="T58" fmla="*/ 1278 w 1439"/>
                <a:gd name="T59" fmla="*/ 0 h 524"/>
                <a:gd name="T60" fmla="*/ 1319 w 1439"/>
                <a:gd name="T61" fmla="*/ 43 h 524"/>
                <a:gd name="T62" fmla="*/ 1325 w 1439"/>
                <a:gd name="T63" fmla="*/ 80 h 524"/>
                <a:gd name="T64" fmla="*/ 1375 w 1439"/>
                <a:gd name="T65" fmla="*/ 103 h 524"/>
                <a:gd name="T66" fmla="*/ 1439 w 1439"/>
                <a:gd name="T67" fmla="*/ 129 h 524"/>
                <a:gd name="T68" fmla="*/ 1436 w 1439"/>
                <a:gd name="T69" fmla="*/ 162 h 524"/>
                <a:gd name="T70" fmla="*/ 1385 w 1439"/>
                <a:gd name="T71" fmla="*/ 167 h 524"/>
                <a:gd name="T72" fmla="*/ 1401 w 1439"/>
                <a:gd name="T73" fmla="*/ 208 h 524"/>
                <a:gd name="T74" fmla="*/ 75 w 1439"/>
                <a:gd name="T75" fmla="*/ 61 h 524"/>
                <a:gd name="T76" fmla="*/ 83 w 1439"/>
                <a:gd name="T77" fmla="*/ 105 h 524"/>
                <a:gd name="T78" fmla="*/ 133 w 1439"/>
                <a:gd name="T79" fmla="*/ 95 h 524"/>
                <a:gd name="T80" fmla="*/ 155 w 1439"/>
                <a:gd name="T81" fmla="*/ 60 h 524"/>
                <a:gd name="T82" fmla="*/ 173 w 1439"/>
                <a:gd name="T83" fmla="*/ 68 h 524"/>
                <a:gd name="T84" fmla="*/ 220 w 1439"/>
                <a:gd name="T85" fmla="*/ 119 h 524"/>
                <a:gd name="T86" fmla="*/ 254 w 1439"/>
                <a:gd name="T87" fmla="*/ 176 h 524"/>
                <a:gd name="T88" fmla="*/ 260 w 1439"/>
                <a:gd name="T89" fmla="*/ 233 h 524"/>
                <a:gd name="T90" fmla="*/ 253 w 1439"/>
                <a:gd name="T91" fmla="*/ 272 h 524"/>
                <a:gd name="T92" fmla="*/ 261 w 1439"/>
                <a:gd name="T93" fmla="*/ 301 h 524"/>
                <a:gd name="T94" fmla="*/ 268 w 1439"/>
                <a:gd name="T95" fmla="*/ 352 h 524"/>
                <a:gd name="T96" fmla="*/ 295 w 1439"/>
                <a:gd name="T97" fmla="*/ 375 h 524"/>
                <a:gd name="T98" fmla="*/ 326 w 1439"/>
                <a:gd name="T99" fmla="*/ 451 h 524"/>
                <a:gd name="T100" fmla="*/ 325 w 1439"/>
                <a:gd name="T101" fmla="*/ 479 h 524"/>
                <a:gd name="T102" fmla="*/ 271 w 1439"/>
                <a:gd name="T103" fmla="*/ 485 h 524"/>
                <a:gd name="T104" fmla="*/ 199 w 1439"/>
                <a:gd name="T105" fmla="*/ 422 h 524"/>
                <a:gd name="T106" fmla="*/ 109 w 1439"/>
                <a:gd name="T107" fmla="*/ 354 h 524"/>
                <a:gd name="T108" fmla="*/ 99 w 1439"/>
                <a:gd name="T109" fmla="*/ 311 h 524"/>
                <a:gd name="T110" fmla="*/ 54 w 1439"/>
                <a:gd name="T111" fmla="*/ 254 h 524"/>
                <a:gd name="T112" fmla="*/ 42 w 1439"/>
                <a:gd name="T113" fmla="*/ 184 h 524"/>
                <a:gd name="T114" fmla="*/ 13 w 1439"/>
                <a:gd name="T115" fmla="*/ 137 h 524"/>
                <a:gd name="T116" fmla="*/ 18 w 1439"/>
                <a:gd name="T117" fmla="*/ 75 h 524"/>
                <a:gd name="T118" fmla="*/ 0 w 1439"/>
                <a:gd name="T119" fmla="*/ 39 h 524"/>
                <a:gd name="T120" fmla="*/ 12 w 1439"/>
                <a:gd name="T121" fmla="*/ 24 h 524"/>
                <a:gd name="T122" fmla="*/ 75 w 1439"/>
                <a:gd name="T123" fmla="*/ 61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439" h="524">
                  <a:moveTo>
                    <a:pt x="1401" y="208"/>
                  </a:moveTo>
                  <a:lnTo>
                    <a:pt x="1346" y="237"/>
                  </a:lnTo>
                  <a:lnTo>
                    <a:pt x="1281" y="223"/>
                  </a:lnTo>
                  <a:lnTo>
                    <a:pt x="1194" y="223"/>
                  </a:lnTo>
                  <a:lnTo>
                    <a:pt x="1171" y="320"/>
                  </a:lnTo>
                  <a:lnTo>
                    <a:pt x="1143" y="349"/>
                  </a:lnTo>
                  <a:lnTo>
                    <a:pt x="1107" y="468"/>
                  </a:lnTo>
                  <a:lnTo>
                    <a:pt x="1045" y="486"/>
                  </a:lnTo>
                  <a:lnTo>
                    <a:pt x="974" y="462"/>
                  </a:lnTo>
                  <a:lnTo>
                    <a:pt x="938" y="469"/>
                  </a:lnTo>
                  <a:lnTo>
                    <a:pt x="894" y="512"/>
                  </a:lnTo>
                  <a:lnTo>
                    <a:pt x="846" y="506"/>
                  </a:lnTo>
                  <a:lnTo>
                    <a:pt x="798" y="524"/>
                  </a:lnTo>
                  <a:lnTo>
                    <a:pt x="746" y="476"/>
                  </a:lnTo>
                  <a:lnTo>
                    <a:pt x="733" y="419"/>
                  </a:lnTo>
                  <a:lnTo>
                    <a:pt x="788" y="448"/>
                  </a:lnTo>
                  <a:lnTo>
                    <a:pt x="846" y="432"/>
                  </a:lnTo>
                  <a:lnTo>
                    <a:pt x="860" y="360"/>
                  </a:lnTo>
                  <a:lnTo>
                    <a:pt x="892" y="344"/>
                  </a:lnTo>
                  <a:lnTo>
                    <a:pt x="981" y="325"/>
                  </a:lnTo>
                  <a:lnTo>
                    <a:pt x="1033" y="258"/>
                  </a:lnTo>
                  <a:lnTo>
                    <a:pt x="1068" y="204"/>
                  </a:lnTo>
                  <a:lnTo>
                    <a:pt x="1104" y="248"/>
                  </a:lnTo>
                  <a:lnTo>
                    <a:pt x="1119" y="219"/>
                  </a:lnTo>
                  <a:lnTo>
                    <a:pt x="1155" y="222"/>
                  </a:lnTo>
                  <a:lnTo>
                    <a:pt x="1157" y="168"/>
                  </a:lnTo>
                  <a:lnTo>
                    <a:pt x="1159" y="126"/>
                  </a:lnTo>
                  <a:lnTo>
                    <a:pt x="1214" y="66"/>
                  </a:lnTo>
                  <a:lnTo>
                    <a:pt x="1248" y="0"/>
                  </a:lnTo>
                  <a:lnTo>
                    <a:pt x="1278" y="0"/>
                  </a:lnTo>
                  <a:lnTo>
                    <a:pt x="1319" y="43"/>
                  </a:lnTo>
                  <a:lnTo>
                    <a:pt x="1325" y="80"/>
                  </a:lnTo>
                  <a:lnTo>
                    <a:pt x="1375" y="103"/>
                  </a:lnTo>
                  <a:lnTo>
                    <a:pt x="1439" y="129"/>
                  </a:lnTo>
                  <a:lnTo>
                    <a:pt x="1436" y="162"/>
                  </a:lnTo>
                  <a:lnTo>
                    <a:pt x="1385" y="167"/>
                  </a:lnTo>
                  <a:lnTo>
                    <a:pt x="1401" y="208"/>
                  </a:lnTo>
                  <a:moveTo>
                    <a:pt x="75" y="61"/>
                  </a:moveTo>
                  <a:lnTo>
                    <a:pt x="83" y="105"/>
                  </a:lnTo>
                  <a:lnTo>
                    <a:pt x="133" y="95"/>
                  </a:lnTo>
                  <a:lnTo>
                    <a:pt x="155" y="60"/>
                  </a:lnTo>
                  <a:lnTo>
                    <a:pt x="173" y="68"/>
                  </a:lnTo>
                  <a:lnTo>
                    <a:pt x="220" y="119"/>
                  </a:lnTo>
                  <a:lnTo>
                    <a:pt x="254" y="176"/>
                  </a:lnTo>
                  <a:lnTo>
                    <a:pt x="260" y="233"/>
                  </a:lnTo>
                  <a:lnTo>
                    <a:pt x="253" y="272"/>
                  </a:lnTo>
                  <a:lnTo>
                    <a:pt x="261" y="301"/>
                  </a:lnTo>
                  <a:lnTo>
                    <a:pt x="268" y="352"/>
                  </a:lnTo>
                  <a:lnTo>
                    <a:pt x="295" y="375"/>
                  </a:lnTo>
                  <a:lnTo>
                    <a:pt x="326" y="451"/>
                  </a:lnTo>
                  <a:lnTo>
                    <a:pt x="325" y="479"/>
                  </a:lnTo>
                  <a:lnTo>
                    <a:pt x="271" y="485"/>
                  </a:lnTo>
                  <a:lnTo>
                    <a:pt x="199" y="422"/>
                  </a:lnTo>
                  <a:lnTo>
                    <a:pt x="109" y="354"/>
                  </a:lnTo>
                  <a:lnTo>
                    <a:pt x="99" y="311"/>
                  </a:lnTo>
                  <a:lnTo>
                    <a:pt x="54" y="254"/>
                  </a:lnTo>
                  <a:lnTo>
                    <a:pt x="42" y="184"/>
                  </a:lnTo>
                  <a:lnTo>
                    <a:pt x="13" y="137"/>
                  </a:lnTo>
                  <a:lnTo>
                    <a:pt x="18" y="75"/>
                  </a:lnTo>
                  <a:lnTo>
                    <a:pt x="0" y="39"/>
                  </a:lnTo>
                  <a:lnTo>
                    <a:pt x="12" y="24"/>
                  </a:lnTo>
                  <a:lnTo>
                    <a:pt x="75" y="61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73" name="Freeform 130">
              <a:extLst>
                <a:ext uri="{FF2B5EF4-FFF2-40B4-BE49-F238E27FC236}">
                  <a16:creationId xmlns:a16="http://schemas.microsoft.com/office/drawing/2014/main" id="{54F72CCD-0594-43FB-ACC2-EE468E2F5C1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7948" y="3333772"/>
              <a:ext cx="315195" cy="328220"/>
            </a:xfrm>
            <a:custGeom>
              <a:avLst/>
              <a:gdLst>
                <a:gd name="T0" fmla="*/ 76 w 242"/>
                <a:gd name="T1" fmla="*/ 242 h 252"/>
                <a:gd name="T2" fmla="*/ 64 w 242"/>
                <a:gd name="T3" fmla="*/ 226 h 252"/>
                <a:gd name="T4" fmla="*/ 58 w 242"/>
                <a:gd name="T5" fmla="*/ 211 h 252"/>
                <a:gd name="T6" fmla="*/ 54 w 242"/>
                <a:gd name="T7" fmla="*/ 191 h 252"/>
                <a:gd name="T8" fmla="*/ 50 w 242"/>
                <a:gd name="T9" fmla="*/ 176 h 252"/>
                <a:gd name="T10" fmla="*/ 45 w 242"/>
                <a:gd name="T11" fmla="*/ 144 h 252"/>
                <a:gd name="T12" fmla="*/ 46 w 242"/>
                <a:gd name="T13" fmla="*/ 119 h 252"/>
                <a:gd name="T14" fmla="*/ 44 w 242"/>
                <a:gd name="T15" fmla="*/ 108 h 252"/>
                <a:gd name="T16" fmla="*/ 37 w 242"/>
                <a:gd name="T17" fmla="*/ 99 h 252"/>
                <a:gd name="T18" fmla="*/ 28 w 242"/>
                <a:gd name="T19" fmla="*/ 82 h 252"/>
                <a:gd name="T20" fmla="*/ 19 w 242"/>
                <a:gd name="T21" fmla="*/ 57 h 252"/>
                <a:gd name="T22" fmla="*/ 15 w 242"/>
                <a:gd name="T23" fmla="*/ 44 h 252"/>
                <a:gd name="T24" fmla="*/ 1 w 242"/>
                <a:gd name="T25" fmla="*/ 24 h 252"/>
                <a:gd name="T26" fmla="*/ 0 w 242"/>
                <a:gd name="T27" fmla="*/ 8 h 252"/>
                <a:gd name="T28" fmla="*/ 9 w 242"/>
                <a:gd name="T29" fmla="*/ 4 h 252"/>
                <a:gd name="T30" fmla="*/ 20 w 242"/>
                <a:gd name="T31" fmla="*/ 0 h 252"/>
                <a:gd name="T32" fmla="*/ 32 w 242"/>
                <a:gd name="T33" fmla="*/ 1 h 252"/>
                <a:gd name="T34" fmla="*/ 42 w 242"/>
                <a:gd name="T35" fmla="*/ 10 h 252"/>
                <a:gd name="T36" fmla="*/ 45 w 242"/>
                <a:gd name="T37" fmla="*/ 9 h 252"/>
                <a:gd name="T38" fmla="*/ 119 w 242"/>
                <a:gd name="T39" fmla="*/ 8 h 252"/>
                <a:gd name="T40" fmla="*/ 131 w 242"/>
                <a:gd name="T41" fmla="*/ 18 h 252"/>
                <a:gd name="T42" fmla="*/ 175 w 242"/>
                <a:gd name="T43" fmla="*/ 21 h 252"/>
                <a:gd name="T44" fmla="*/ 208 w 242"/>
                <a:gd name="T45" fmla="*/ 13 h 252"/>
                <a:gd name="T46" fmla="*/ 223 w 242"/>
                <a:gd name="T47" fmla="*/ 8 h 252"/>
                <a:gd name="T48" fmla="*/ 235 w 242"/>
                <a:gd name="T49" fmla="*/ 9 h 252"/>
                <a:gd name="T50" fmla="*/ 242 w 242"/>
                <a:gd name="T51" fmla="*/ 14 h 252"/>
                <a:gd name="T52" fmla="*/ 242 w 242"/>
                <a:gd name="T53" fmla="*/ 15 h 252"/>
                <a:gd name="T54" fmla="*/ 232 w 242"/>
                <a:gd name="T55" fmla="*/ 20 h 252"/>
                <a:gd name="T56" fmla="*/ 226 w 242"/>
                <a:gd name="T57" fmla="*/ 20 h 252"/>
                <a:gd name="T58" fmla="*/ 214 w 242"/>
                <a:gd name="T59" fmla="*/ 28 h 252"/>
                <a:gd name="T60" fmla="*/ 208 w 242"/>
                <a:gd name="T61" fmla="*/ 20 h 252"/>
                <a:gd name="T62" fmla="*/ 179 w 242"/>
                <a:gd name="T63" fmla="*/ 27 h 252"/>
                <a:gd name="T64" fmla="*/ 166 w 242"/>
                <a:gd name="T65" fmla="*/ 28 h 252"/>
                <a:gd name="T66" fmla="*/ 163 w 242"/>
                <a:gd name="T67" fmla="*/ 102 h 252"/>
                <a:gd name="T68" fmla="*/ 145 w 242"/>
                <a:gd name="T69" fmla="*/ 102 h 252"/>
                <a:gd name="T70" fmla="*/ 143 w 242"/>
                <a:gd name="T71" fmla="*/ 163 h 252"/>
                <a:gd name="T72" fmla="*/ 139 w 242"/>
                <a:gd name="T73" fmla="*/ 240 h 252"/>
                <a:gd name="T74" fmla="*/ 123 w 242"/>
                <a:gd name="T75" fmla="*/ 250 h 252"/>
                <a:gd name="T76" fmla="*/ 114 w 242"/>
                <a:gd name="T77" fmla="*/ 252 h 252"/>
                <a:gd name="T78" fmla="*/ 103 w 242"/>
                <a:gd name="T79" fmla="*/ 248 h 252"/>
                <a:gd name="T80" fmla="*/ 95 w 242"/>
                <a:gd name="T81" fmla="*/ 246 h 252"/>
                <a:gd name="T82" fmla="*/ 92 w 242"/>
                <a:gd name="T83" fmla="*/ 238 h 252"/>
                <a:gd name="T84" fmla="*/ 85 w 242"/>
                <a:gd name="T85" fmla="*/ 232 h 252"/>
                <a:gd name="T86" fmla="*/ 76 w 242"/>
                <a:gd name="T87" fmla="*/ 24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42" h="252">
                  <a:moveTo>
                    <a:pt x="76" y="242"/>
                  </a:moveTo>
                  <a:lnTo>
                    <a:pt x="64" y="226"/>
                  </a:lnTo>
                  <a:lnTo>
                    <a:pt x="58" y="211"/>
                  </a:lnTo>
                  <a:lnTo>
                    <a:pt x="54" y="191"/>
                  </a:lnTo>
                  <a:lnTo>
                    <a:pt x="50" y="176"/>
                  </a:lnTo>
                  <a:lnTo>
                    <a:pt x="45" y="144"/>
                  </a:lnTo>
                  <a:lnTo>
                    <a:pt x="46" y="119"/>
                  </a:lnTo>
                  <a:lnTo>
                    <a:pt x="44" y="108"/>
                  </a:lnTo>
                  <a:lnTo>
                    <a:pt x="37" y="99"/>
                  </a:lnTo>
                  <a:lnTo>
                    <a:pt x="28" y="82"/>
                  </a:lnTo>
                  <a:lnTo>
                    <a:pt x="19" y="57"/>
                  </a:lnTo>
                  <a:lnTo>
                    <a:pt x="15" y="44"/>
                  </a:lnTo>
                  <a:lnTo>
                    <a:pt x="1" y="24"/>
                  </a:lnTo>
                  <a:lnTo>
                    <a:pt x="0" y="8"/>
                  </a:lnTo>
                  <a:lnTo>
                    <a:pt x="9" y="4"/>
                  </a:lnTo>
                  <a:lnTo>
                    <a:pt x="20" y="0"/>
                  </a:lnTo>
                  <a:lnTo>
                    <a:pt x="32" y="1"/>
                  </a:lnTo>
                  <a:lnTo>
                    <a:pt x="42" y="10"/>
                  </a:lnTo>
                  <a:lnTo>
                    <a:pt x="45" y="9"/>
                  </a:lnTo>
                  <a:lnTo>
                    <a:pt x="119" y="8"/>
                  </a:lnTo>
                  <a:lnTo>
                    <a:pt x="131" y="18"/>
                  </a:lnTo>
                  <a:lnTo>
                    <a:pt x="175" y="21"/>
                  </a:lnTo>
                  <a:lnTo>
                    <a:pt x="208" y="13"/>
                  </a:lnTo>
                  <a:lnTo>
                    <a:pt x="223" y="8"/>
                  </a:lnTo>
                  <a:lnTo>
                    <a:pt x="235" y="9"/>
                  </a:lnTo>
                  <a:lnTo>
                    <a:pt x="242" y="14"/>
                  </a:lnTo>
                  <a:lnTo>
                    <a:pt x="242" y="15"/>
                  </a:lnTo>
                  <a:lnTo>
                    <a:pt x="232" y="20"/>
                  </a:lnTo>
                  <a:lnTo>
                    <a:pt x="226" y="20"/>
                  </a:lnTo>
                  <a:lnTo>
                    <a:pt x="214" y="28"/>
                  </a:lnTo>
                  <a:lnTo>
                    <a:pt x="208" y="20"/>
                  </a:lnTo>
                  <a:lnTo>
                    <a:pt x="179" y="27"/>
                  </a:lnTo>
                  <a:lnTo>
                    <a:pt x="166" y="28"/>
                  </a:lnTo>
                  <a:lnTo>
                    <a:pt x="163" y="102"/>
                  </a:lnTo>
                  <a:lnTo>
                    <a:pt x="145" y="102"/>
                  </a:lnTo>
                  <a:lnTo>
                    <a:pt x="143" y="163"/>
                  </a:lnTo>
                  <a:lnTo>
                    <a:pt x="139" y="240"/>
                  </a:lnTo>
                  <a:lnTo>
                    <a:pt x="123" y="250"/>
                  </a:lnTo>
                  <a:lnTo>
                    <a:pt x="114" y="252"/>
                  </a:lnTo>
                  <a:lnTo>
                    <a:pt x="103" y="248"/>
                  </a:lnTo>
                  <a:lnTo>
                    <a:pt x="95" y="246"/>
                  </a:lnTo>
                  <a:lnTo>
                    <a:pt x="92" y="238"/>
                  </a:lnTo>
                  <a:lnTo>
                    <a:pt x="85" y="232"/>
                  </a:lnTo>
                  <a:lnTo>
                    <a:pt x="76" y="24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74" name="Freeform 131">
              <a:extLst>
                <a:ext uri="{FF2B5EF4-FFF2-40B4-BE49-F238E27FC236}">
                  <a16:creationId xmlns:a16="http://schemas.microsoft.com/office/drawing/2014/main" id="{F201A383-D609-4812-BFFB-83644A5A0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7107" y="3419734"/>
              <a:ext cx="56006" cy="62518"/>
            </a:xfrm>
            <a:custGeom>
              <a:avLst/>
              <a:gdLst>
                <a:gd name="T0" fmla="*/ 26 w 43"/>
                <a:gd name="T1" fmla="*/ 20 h 48"/>
                <a:gd name="T2" fmla="*/ 37 w 43"/>
                <a:gd name="T3" fmla="*/ 33 h 48"/>
                <a:gd name="T4" fmla="*/ 43 w 43"/>
                <a:gd name="T5" fmla="*/ 43 h 48"/>
                <a:gd name="T6" fmla="*/ 35 w 43"/>
                <a:gd name="T7" fmla="*/ 48 h 48"/>
                <a:gd name="T8" fmla="*/ 27 w 43"/>
                <a:gd name="T9" fmla="*/ 42 h 48"/>
                <a:gd name="T10" fmla="*/ 17 w 43"/>
                <a:gd name="T11" fmla="*/ 33 h 48"/>
                <a:gd name="T12" fmla="*/ 8 w 43"/>
                <a:gd name="T13" fmla="*/ 22 h 48"/>
                <a:gd name="T14" fmla="*/ 0 w 43"/>
                <a:gd name="T15" fmla="*/ 7 h 48"/>
                <a:gd name="T16" fmla="*/ 0 w 43"/>
                <a:gd name="T17" fmla="*/ 0 h 48"/>
                <a:gd name="T18" fmla="*/ 7 w 43"/>
                <a:gd name="T19" fmla="*/ 0 h 48"/>
                <a:gd name="T20" fmla="*/ 16 w 43"/>
                <a:gd name="T21" fmla="*/ 8 h 48"/>
                <a:gd name="T22" fmla="*/ 22 w 43"/>
                <a:gd name="T23" fmla="*/ 15 h 48"/>
                <a:gd name="T24" fmla="*/ 26 w 43"/>
                <a:gd name="T25" fmla="*/ 2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48">
                  <a:moveTo>
                    <a:pt x="26" y="20"/>
                  </a:moveTo>
                  <a:lnTo>
                    <a:pt x="37" y="33"/>
                  </a:lnTo>
                  <a:lnTo>
                    <a:pt x="43" y="43"/>
                  </a:lnTo>
                  <a:lnTo>
                    <a:pt x="35" y="48"/>
                  </a:lnTo>
                  <a:lnTo>
                    <a:pt x="27" y="42"/>
                  </a:lnTo>
                  <a:lnTo>
                    <a:pt x="17" y="33"/>
                  </a:lnTo>
                  <a:lnTo>
                    <a:pt x="8" y="22"/>
                  </a:lnTo>
                  <a:lnTo>
                    <a:pt x="0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16" y="8"/>
                  </a:lnTo>
                  <a:lnTo>
                    <a:pt x="22" y="15"/>
                  </a:lnTo>
                  <a:lnTo>
                    <a:pt x="26" y="2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75" name="Freeform 132">
              <a:extLst>
                <a:ext uri="{FF2B5EF4-FFF2-40B4-BE49-F238E27FC236}">
                  <a16:creationId xmlns:a16="http://schemas.microsoft.com/office/drawing/2014/main" id="{A10D3A3B-009E-4244-9741-7F419585D9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8339" y="2241008"/>
              <a:ext cx="365992" cy="319103"/>
            </a:xfrm>
            <a:custGeom>
              <a:avLst/>
              <a:gdLst>
                <a:gd name="T0" fmla="*/ 34 w 281"/>
                <a:gd name="T1" fmla="*/ 239 h 245"/>
                <a:gd name="T2" fmla="*/ 34 w 281"/>
                <a:gd name="T3" fmla="*/ 225 h 245"/>
                <a:gd name="T4" fmla="*/ 13 w 281"/>
                <a:gd name="T5" fmla="*/ 220 h 245"/>
                <a:gd name="T6" fmla="*/ 12 w 281"/>
                <a:gd name="T7" fmla="*/ 210 h 245"/>
                <a:gd name="T8" fmla="*/ 2 w 281"/>
                <a:gd name="T9" fmla="*/ 197 h 245"/>
                <a:gd name="T10" fmla="*/ 0 w 281"/>
                <a:gd name="T11" fmla="*/ 187 h 245"/>
                <a:gd name="T12" fmla="*/ 1 w 281"/>
                <a:gd name="T13" fmla="*/ 177 h 245"/>
                <a:gd name="T14" fmla="*/ 13 w 281"/>
                <a:gd name="T15" fmla="*/ 176 h 245"/>
                <a:gd name="T16" fmla="*/ 19 w 281"/>
                <a:gd name="T17" fmla="*/ 169 h 245"/>
                <a:gd name="T18" fmla="*/ 44 w 281"/>
                <a:gd name="T19" fmla="*/ 167 h 245"/>
                <a:gd name="T20" fmla="*/ 60 w 281"/>
                <a:gd name="T21" fmla="*/ 164 h 245"/>
                <a:gd name="T22" fmla="*/ 62 w 281"/>
                <a:gd name="T23" fmla="*/ 151 h 245"/>
                <a:gd name="T24" fmla="*/ 72 w 281"/>
                <a:gd name="T25" fmla="*/ 137 h 245"/>
                <a:gd name="T26" fmla="*/ 71 w 281"/>
                <a:gd name="T27" fmla="*/ 89 h 245"/>
                <a:gd name="T28" fmla="*/ 97 w 281"/>
                <a:gd name="T29" fmla="*/ 80 h 245"/>
                <a:gd name="T30" fmla="*/ 149 w 281"/>
                <a:gd name="T31" fmla="*/ 39 h 245"/>
                <a:gd name="T32" fmla="*/ 209 w 281"/>
                <a:gd name="T33" fmla="*/ 0 h 245"/>
                <a:gd name="T34" fmla="*/ 238 w 281"/>
                <a:gd name="T35" fmla="*/ 9 h 245"/>
                <a:gd name="T36" fmla="*/ 248 w 281"/>
                <a:gd name="T37" fmla="*/ 20 h 245"/>
                <a:gd name="T38" fmla="*/ 261 w 281"/>
                <a:gd name="T39" fmla="*/ 12 h 245"/>
                <a:gd name="T40" fmla="*/ 266 w 281"/>
                <a:gd name="T41" fmla="*/ 45 h 245"/>
                <a:gd name="T42" fmla="*/ 273 w 281"/>
                <a:gd name="T43" fmla="*/ 50 h 245"/>
                <a:gd name="T44" fmla="*/ 274 w 281"/>
                <a:gd name="T45" fmla="*/ 57 h 245"/>
                <a:gd name="T46" fmla="*/ 281 w 281"/>
                <a:gd name="T47" fmla="*/ 64 h 245"/>
                <a:gd name="T48" fmla="*/ 278 w 281"/>
                <a:gd name="T49" fmla="*/ 73 h 245"/>
                <a:gd name="T50" fmla="*/ 271 w 281"/>
                <a:gd name="T51" fmla="*/ 115 h 245"/>
                <a:gd name="T52" fmla="*/ 271 w 281"/>
                <a:gd name="T53" fmla="*/ 142 h 245"/>
                <a:gd name="T54" fmla="*/ 248 w 281"/>
                <a:gd name="T55" fmla="*/ 162 h 245"/>
                <a:gd name="T56" fmla="*/ 241 w 281"/>
                <a:gd name="T57" fmla="*/ 189 h 245"/>
                <a:gd name="T58" fmla="*/ 249 w 281"/>
                <a:gd name="T59" fmla="*/ 197 h 245"/>
                <a:gd name="T60" fmla="*/ 249 w 281"/>
                <a:gd name="T61" fmla="*/ 210 h 245"/>
                <a:gd name="T62" fmla="*/ 260 w 281"/>
                <a:gd name="T63" fmla="*/ 210 h 245"/>
                <a:gd name="T64" fmla="*/ 259 w 281"/>
                <a:gd name="T65" fmla="*/ 220 h 245"/>
                <a:gd name="T66" fmla="*/ 254 w 281"/>
                <a:gd name="T67" fmla="*/ 221 h 245"/>
                <a:gd name="T68" fmla="*/ 253 w 281"/>
                <a:gd name="T69" fmla="*/ 228 h 245"/>
                <a:gd name="T70" fmla="*/ 250 w 281"/>
                <a:gd name="T71" fmla="*/ 228 h 245"/>
                <a:gd name="T72" fmla="*/ 237 w 281"/>
                <a:gd name="T73" fmla="*/ 206 h 245"/>
                <a:gd name="T74" fmla="*/ 233 w 281"/>
                <a:gd name="T75" fmla="*/ 205 h 245"/>
                <a:gd name="T76" fmla="*/ 219 w 281"/>
                <a:gd name="T77" fmla="*/ 216 h 245"/>
                <a:gd name="T78" fmla="*/ 205 w 281"/>
                <a:gd name="T79" fmla="*/ 210 h 245"/>
                <a:gd name="T80" fmla="*/ 195 w 281"/>
                <a:gd name="T81" fmla="*/ 209 h 245"/>
                <a:gd name="T82" fmla="*/ 189 w 281"/>
                <a:gd name="T83" fmla="*/ 212 h 245"/>
                <a:gd name="T84" fmla="*/ 179 w 281"/>
                <a:gd name="T85" fmla="*/ 212 h 245"/>
                <a:gd name="T86" fmla="*/ 168 w 281"/>
                <a:gd name="T87" fmla="*/ 220 h 245"/>
                <a:gd name="T88" fmla="*/ 159 w 281"/>
                <a:gd name="T89" fmla="*/ 221 h 245"/>
                <a:gd name="T90" fmla="*/ 137 w 281"/>
                <a:gd name="T91" fmla="*/ 210 h 245"/>
                <a:gd name="T92" fmla="*/ 128 w 281"/>
                <a:gd name="T93" fmla="*/ 215 h 245"/>
                <a:gd name="T94" fmla="*/ 119 w 281"/>
                <a:gd name="T95" fmla="*/ 215 h 245"/>
                <a:gd name="T96" fmla="*/ 112 w 281"/>
                <a:gd name="T97" fmla="*/ 207 h 245"/>
                <a:gd name="T98" fmla="*/ 93 w 281"/>
                <a:gd name="T99" fmla="*/ 199 h 245"/>
                <a:gd name="T100" fmla="*/ 74 w 281"/>
                <a:gd name="T101" fmla="*/ 202 h 245"/>
                <a:gd name="T102" fmla="*/ 69 w 281"/>
                <a:gd name="T103" fmla="*/ 206 h 245"/>
                <a:gd name="T104" fmla="*/ 67 w 281"/>
                <a:gd name="T105" fmla="*/ 218 h 245"/>
                <a:gd name="T106" fmla="*/ 61 w 281"/>
                <a:gd name="T107" fmla="*/ 227 h 245"/>
                <a:gd name="T108" fmla="*/ 60 w 281"/>
                <a:gd name="T109" fmla="*/ 245 h 245"/>
                <a:gd name="T110" fmla="*/ 46 w 281"/>
                <a:gd name="T111" fmla="*/ 233 h 245"/>
                <a:gd name="T112" fmla="*/ 40 w 281"/>
                <a:gd name="T113" fmla="*/ 233 h 245"/>
                <a:gd name="T114" fmla="*/ 34 w 281"/>
                <a:gd name="T115" fmla="*/ 239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1" h="245">
                  <a:moveTo>
                    <a:pt x="34" y="239"/>
                  </a:moveTo>
                  <a:lnTo>
                    <a:pt x="34" y="225"/>
                  </a:lnTo>
                  <a:lnTo>
                    <a:pt x="13" y="220"/>
                  </a:lnTo>
                  <a:lnTo>
                    <a:pt x="12" y="210"/>
                  </a:lnTo>
                  <a:lnTo>
                    <a:pt x="2" y="197"/>
                  </a:lnTo>
                  <a:lnTo>
                    <a:pt x="0" y="187"/>
                  </a:lnTo>
                  <a:lnTo>
                    <a:pt x="1" y="177"/>
                  </a:lnTo>
                  <a:lnTo>
                    <a:pt x="13" y="176"/>
                  </a:lnTo>
                  <a:lnTo>
                    <a:pt x="19" y="169"/>
                  </a:lnTo>
                  <a:lnTo>
                    <a:pt x="44" y="167"/>
                  </a:lnTo>
                  <a:lnTo>
                    <a:pt x="60" y="164"/>
                  </a:lnTo>
                  <a:lnTo>
                    <a:pt x="62" y="151"/>
                  </a:lnTo>
                  <a:lnTo>
                    <a:pt x="72" y="137"/>
                  </a:lnTo>
                  <a:lnTo>
                    <a:pt x="71" y="89"/>
                  </a:lnTo>
                  <a:lnTo>
                    <a:pt x="97" y="80"/>
                  </a:lnTo>
                  <a:lnTo>
                    <a:pt x="149" y="39"/>
                  </a:lnTo>
                  <a:lnTo>
                    <a:pt x="209" y="0"/>
                  </a:lnTo>
                  <a:lnTo>
                    <a:pt x="238" y="9"/>
                  </a:lnTo>
                  <a:lnTo>
                    <a:pt x="248" y="20"/>
                  </a:lnTo>
                  <a:lnTo>
                    <a:pt x="261" y="12"/>
                  </a:lnTo>
                  <a:lnTo>
                    <a:pt x="266" y="45"/>
                  </a:lnTo>
                  <a:lnTo>
                    <a:pt x="273" y="50"/>
                  </a:lnTo>
                  <a:lnTo>
                    <a:pt x="274" y="57"/>
                  </a:lnTo>
                  <a:lnTo>
                    <a:pt x="281" y="64"/>
                  </a:lnTo>
                  <a:lnTo>
                    <a:pt x="278" y="73"/>
                  </a:lnTo>
                  <a:lnTo>
                    <a:pt x="271" y="115"/>
                  </a:lnTo>
                  <a:lnTo>
                    <a:pt x="271" y="142"/>
                  </a:lnTo>
                  <a:lnTo>
                    <a:pt x="248" y="162"/>
                  </a:lnTo>
                  <a:lnTo>
                    <a:pt x="241" y="189"/>
                  </a:lnTo>
                  <a:lnTo>
                    <a:pt x="249" y="197"/>
                  </a:lnTo>
                  <a:lnTo>
                    <a:pt x="249" y="210"/>
                  </a:lnTo>
                  <a:lnTo>
                    <a:pt x="260" y="210"/>
                  </a:lnTo>
                  <a:lnTo>
                    <a:pt x="259" y="220"/>
                  </a:lnTo>
                  <a:lnTo>
                    <a:pt x="254" y="221"/>
                  </a:lnTo>
                  <a:lnTo>
                    <a:pt x="253" y="228"/>
                  </a:lnTo>
                  <a:lnTo>
                    <a:pt x="250" y="228"/>
                  </a:lnTo>
                  <a:lnTo>
                    <a:pt x="237" y="206"/>
                  </a:lnTo>
                  <a:lnTo>
                    <a:pt x="233" y="205"/>
                  </a:lnTo>
                  <a:lnTo>
                    <a:pt x="219" y="216"/>
                  </a:lnTo>
                  <a:lnTo>
                    <a:pt x="205" y="210"/>
                  </a:lnTo>
                  <a:lnTo>
                    <a:pt x="195" y="209"/>
                  </a:lnTo>
                  <a:lnTo>
                    <a:pt x="189" y="212"/>
                  </a:lnTo>
                  <a:lnTo>
                    <a:pt x="179" y="212"/>
                  </a:lnTo>
                  <a:lnTo>
                    <a:pt x="168" y="220"/>
                  </a:lnTo>
                  <a:lnTo>
                    <a:pt x="159" y="221"/>
                  </a:lnTo>
                  <a:lnTo>
                    <a:pt x="137" y="210"/>
                  </a:lnTo>
                  <a:lnTo>
                    <a:pt x="128" y="215"/>
                  </a:lnTo>
                  <a:lnTo>
                    <a:pt x="119" y="215"/>
                  </a:lnTo>
                  <a:lnTo>
                    <a:pt x="112" y="207"/>
                  </a:lnTo>
                  <a:lnTo>
                    <a:pt x="93" y="199"/>
                  </a:lnTo>
                  <a:lnTo>
                    <a:pt x="74" y="202"/>
                  </a:lnTo>
                  <a:lnTo>
                    <a:pt x="69" y="206"/>
                  </a:lnTo>
                  <a:lnTo>
                    <a:pt x="67" y="218"/>
                  </a:lnTo>
                  <a:lnTo>
                    <a:pt x="61" y="227"/>
                  </a:lnTo>
                  <a:lnTo>
                    <a:pt x="60" y="245"/>
                  </a:lnTo>
                  <a:lnTo>
                    <a:pt x="46" y="233"/>
                  </a:lnTo>
                  <a:lnTo>
                    <a:pt x="40" y="233"/>
                  </a:lnTo>
                  <a:lnTo>
                    <a:pt x="34" y="23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76" name="Freeform 133">
              <a:extLst>
                <a:ext uri="{FF2B5EF4-FFF2-40B4-BE49-F238E27FC236}">
                  <a16:creationId xmlns:a16="http://schemas.microsoft.com/office/drawing/2014/main" id="{11B01390-19BA-4165-A331-7A3D080AD2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5647" y="2500198"/>
              <a:ext cx="281331" cy="260492"/>
            </a:xfrm>
            <a:custGeom>
              <a:avLst/>
              <a:gdLst>
                <a:gd name="T0" fmla="*/ 106 w 216"/>
                <a:gd name="T1" fmla="*/ 189 h 200"/>
                <a:gd name="T2" fmla="*/ 87 w 216"/>
                <a:gd name="T3" fmla="*/ 197 h 200"/>
                <a:gd name="T4" fmla="*/ 80 w 216"/>
                <a:gd name="T5" fmla="*/ 196 h 200"/>
                <a:gd name="T6" fmla="*/ 73 w 216"/>
                <a:gd name="T7" fmla="*/ 200 h 200"/>
                <a:gd name="T8" fmla="*/ 59 w 216"/>
                <a:gd name="T9" fmla="*/ 200 h 200"/>
                <a:gd name="T10" fmla="*/ 49 w 216"/>
                <a:gd name="T11" fmla="*/ 187 h 200"/>
                <a:gd name="T12" fmla="*/ 43 w 216"/>
                <a:gd name="T13" fmla="*/ 172 h 200"/>
                <a:gd name="T14" fmla="*/ 30 w 216"/>
                <a:gd name="T15" fmla="*/ 158 h 200"/>
                <a:gd name="T16" fmla="*/ 16 w 216"/>
                <a:gd name="T17" fmla="*/ 158 h 200"/>
                <a:gd name="T18" fmla="*/ 0 w 216"/>
                <a:gd name="T19" fmla="*/ 158 h 200"/>
                <a:gd name="T20" fmla="*/ 1 w 216"/>
                <a:gd name="T21" fmla="*/ 125 h 200"/>
                <a:gd name="T22" fmla="*/ 0 w 216"/>
                <a:gd name="T23" fmla="*/ 112 h 200"/>
                <a:gd name="T24" fmla="*/ 4 w 216"/>
                <a:gd name="T25" fmla="*/ 98 h 200"/>
                <a:gd name="T26" fmla="*/ 9 w 216"/>
                <a:gd name="T27" fmla="*/ 92 h 200"/>
                <a:gd name="T28" fmla="*/ 18 w 216"/>
                <a:gd name="T29" fmla="*/ 79 h 200"/>
                <a:gd name="T30" fmla="*/ 16 w 216"/>
                <a:gd name="T31" fmla="*/ 74 h 200"/>
                <a:gd name="T32" fmla="*/ 20 w 216"/>
                <a:gd name="T33" fmla="*/ 65 h 200"/>
                <a:gd name="T34" fmla="*/ 16 w 216"/>
                <a:gd name="T35" fmla="*/ 53 h 200"/>
                <a:gd name="T36" fmla="*/ 16 w 216"/>
                <a:gd name="T37" fmla="*/ 46 h 200"/>
                <a:gd name="T38" fmla="*/ 17 w 216"/>
                <a:gd name="T39" fmla="*/ 28 h 200"/>
                <a:gd name="T40" fmla="*/ 23 w 216"/>
                <a:gd name="T41" fmla="*/ 19 h 200"/>
                <a:gd name="T42" fmla="*/ 25 w 216"/>
                <a:gd name="T43" fmla="*/ 7 h 200"/>
                <a:gd name="T44" fmla="*/ 30 w 216"/>
                <a:gd name="T45" fmla="*/ 3 h 200"/>
                <a:gd name="T46" fmla="*/ 49 w 216"/>
                <a:gd name="T47" fmla="*/ 0 h 200"/>
                <a:gd name="T48" fmla="*/ 68 w 216"/>
                <a:gd name="T49" fmla="*/ 8 h 200"/>
                <a:gd name="T50" fmla="*/ 75 w 216"/>
                <a:gd name="T51" fmla="*/ 16 h 200"/>
                <a:gd name="T52" fmla="*/ 84 w 216"/>
                <a:gd name="T53" fmla="*/ 16 h 200"/>
                <a:gd name="T54" fmla="*/ 93 w 216"/>
                <a:gd name="T55" fmla="*/ 11 h 200"/>
                <a:gd name="T56" fmla="*/ 115 w 216"/>
                <a:gd name="T57" fmla="*/ 22 h 200"/>
                <a:gd name="T58" fmla="*/ 124 w 216"/>
                <a:gd name="T59" fmla="*/ 21 h 200"/>
                <a:gd name="T60" fmla="*/ 135 w 216"/>
                <a:gd name="T61" fmla="*/ 13 h 200"/>
                <a:gd name="T62" fmla="*/ 145 w 216"/>
                <a:gd name="T63" fmla="*/ 13 h 200"/>
                <a:gd name="T64" fmla="*/ 151 w 216"/>
                <a:gd name="T65" fmla="*/ 10 h 200"/>
                <a:gd name="T66" fmla="*/ 161 w 216"/>
                <a:gd name="T67" fmla="*/ 11 h 200"/>
                <a:gd name="T68" fmla="*/ 175 w 216"/>
                <a:gd name="T69" fmla="*/ 17 h 200"/>
                <a:gd name="T70" fmla="*/ 189 w 216"/>
                <a:gd name="T71" fmla="*/ 6 h 200"/>
                <a:gd name="T72" fmla="*/ 193 w 216"/>
                <a:gd name="T73" fmla="*/ 7 h 200"/>
                <a:gd name="T74" fmla="*/ 206 w 216"/>
                <a:gd name="T75" fmla="*/ 29 h 200"/>
                <a:gd name="T76" fmla="*/ 209 w 216"/>
                <a:gd name="T77" fmla="*/ 29 h 200"/>
                <a:gd name="T78" fmla="*/ 216 w 216"/>
                <a:gd name="T79" fmla="*/ 37 h 200"/>
                <a:gd name="T80" fmla="*/ 214 w 216"/>
                <a:gd name="T81" fmla="*/ 41 h 200"/>
                <a:gd name="T82" fmla="*/ 214 w 216"/>
                <a:gd name="T83" fmla="*/ 48 h 200"/>
                <a:gd name="T84" fmla="*/ 199 w 216"/>
                <a:gd name="T85" fmla="*/ 64 h 200"/>
                <a:gd name="T86" fmla="*/ 194 w 216"/>
                <a:gd name="T87" fmla="*/ 77 h 200"/>
                <a:gd name="T88" fmla="*/ 191 w 216"/>
                <a:gd name="T89" fmla="*/ 88 h 200"/>
                <a:gd name="T90" fmla="*/ 187 w 216"/>
                <a:gd name="T91" fmla="*/ 93 h 200"/>
                <a:gd name="T92" fmla="*/ 184 w 216"/>
                <a:gd name="T93" fmla="*/ 107 h 200"/>
                <a:gd name="T94" fmla="*/ 174 w 216"/>
                <a:gd name="T95" fmla="*/ 116 h 200"/>
                <a:gd name="T96" fmla="*/ 172 w 216"/>
                <a:gd name="T97" fmla="*/ 126 h 200"/>
                <a:gd name="T98" fmla="*/ 167 w 216"/>
                <a:gd name="T99" fmla="*/ 135 h 200"/>
                <a:gd name="T100" fmla="*/ 166 w 216"/>
                <a:gd name="T101" fmla="*/ 143 h 200"/>
                <a:gd name="T102" fmla="*/ 153 w 216"/>
                <a:gd name="T103" fmla="*/ 150 h 200"/>
                <a:gd name="T104" fmla="*/ 143 w 216"/>
                <a:gd name="T105" fmla="*/ 142 h 200"/>
                <a:gd name="T106" fmla="*/ 136 w 216"/>
                <a:gd name="T107" fmla="*/ 142 h 200"/>
                <a:gd name="T108" fmla="*/ 125 w 216"/>
                <a:gd name="T109" fmla="*/ 154 h 200"/>
                <a:gd name="T110" fmla="*/ 120 w 216"/>
                <a:gd name="T111" fmla="*/ 155 h 200"/>
                <a:gd name="T112" fmla="*/ 111 w 216"/>
                <a:gd name="T113" fmla="*/ 175 h 200"/>
                <a:gd name="T114" fmla="*/ 106 w 216"/>
                <a:gd name="T115" fmla="*/ 189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6" h="200">
                  <a:moveTo>
                    <a:pt x="106" y="189"/>
                  </a:moveTo>
                  <a:lnTo>
                    <a:pt x="87" y="197"/>
                  </a:lnTo>
                  <a:lnTo>
                    <a:pt x="80" y="196"/>
                  </a:lnTo>
                  <a:lnTo>
                    <a:pt x="73" y="200"/>
                  </a:lnTo>
                  <a:lnTo>
                    <a:pt x="59" y="200"/>
                  </a:lnTo>
                  <a:lnTo>
                    <a:pt x="49" y="187"/>
                  </a:lnTo>
                  <a:lnTo>
                    <a:pt x="43" y="172"/>
                  </a:lnTo>
                  <a:lnTo>
                    <a:pt x="30" y="158"/>
                  </a:lnTo>
                  <a:lnTo>
                    <a:pt x="16" y="158"/>
                  </a:lnTo>
                  <a:lnTo>
                    <a:pt x="0" y="158"/>
                  </a:lnTo>
                  <a:lnTo>
                    <a:pt x="1" y="125"/>
                  </a:lnTo>
                  <a:lnTo>
                    <a:pt x="0" y="112"/>
                  </a:lnTo>
                  <a:lnTo>
                    <a:pt x="4" y="98"/>
                  </a:lnTo>
                  <a:lnTo>
                    <a:pt x="9" y="92"/>
                  </a:lnTo>
                  <a:lnTo>
                    <a:pt x="18" y="79"/>
                  </a:lnTo>
                  <a:lnTo>
                    <a:pt x="16" y="74"/>
                  </a:lnTo>
                  <a:lnTo>
                    <a:pt x="20" y="65"/>
                  </a:lnTo>
                  <a:lnTo>
                    <a:pt x="16" y="53"/>
                  </a:lnTo>
                  <a:lnTo>
                    <a:pt x="16" y="46"/>
                  </a:lnTo>
                  <a:lnTo>
                    <a:pt x="17" y="28"/>
                  </a:lnTo>
                  <a:lnTo>
                    <a:pt x="23" y="19"/>
                  </a:lnTo>
                  <a:lnTo>
                    <a:pt x="25" y="7"/>
                  </a:lnTo>
                  <a:lnTo>
                    <a:pt x="30" y="3"/>
                  </a:lnTo>
                  <a:lnTo>
                    <a:pt x="49" y="0"/>
                  </a:lnTo>
                  <a:lnTo>
                    <a:pt x="68" y="8"/>
                  </a:lnTo>
                  <a:lnTo>
                    <a:pt x="75" y="16"/>
                  </a:lnTo>
                  <a:lnTo>
                    <a:pt x="84" y="16"/>
                  </a:lnTo>
                  <a:lnTo>
                    <a:pt x="93" y="11"/>
                  </a:lnTo>
                  <a:lnTo>
                    <a:pt x="115" y="22"/>
                  </a:lnTo>
                  <a:lnTo>
                    <a:pt x="124" y="21"/>
                  </a:lnTo>
                  <a:lnTo>
                    <a:pt x="135" y="13"/>
                  </a:lnTo>
                  <a:lnTo>
                    <a:pt x="145" y="13"/>
                  </a:lnTo>
                  <a:lnTo>
                    <a:pt x="151" y="10"/>
                  </a:lnTo>
                  <a:lnTo>
                    <a:pt x="161" y="11"/>
                  </a:lnTo>
                  <a:lnTo>
                    <a:pt x="175" y="17"/>
                  </a:lnTo>
                  <a:lnTo>
                    <a:pt x="189" y="6"/>
                  </a:lnTo>
                  <a:lnTo>
                    <a:pt x="193" y="7"/>
                  </a:lnTo>
                  <a:lnTo>
                    <a:pt x="206" y="29"/>
                  </a:lnTo>
                  <a:lnTo>
                    <a:pt x="209" y="29"/>
                  </a:lnTo>
                  <a:lnTo>
                    <a:pt x="216" y="37"/>
                  </a:lnTo>
                  <a:lnTo>
                    <a:pt x="214" y="41"/>
                  </a:lnTo>
                  <a:lnTo>
                    <a:pt x="214" y="48"/>
                  </a:lnTo>
                  <a:lnTo>
                    <a:pt x="199" y="64"/>
                  </a:lnTo>
                  <a:lnTo>
                    <a:pt x="194" y="77"/>
                  </a:lnTo>
                  <a:lnTo>
                    <a:pt x="191" y="88"/>
                  </a:lnTo>
                  <a:lnTo>
                    <a:pt x="187" y="93"/>
                  </a:lnTo>
                  <a:lnTo>
                    <a:pt x="184" y="107"/>
                  </a:lnTo>
                  <a:lnTo>
                    <a:pt x="174" y="116"/>
                  </a:lnTo>
                  <a:lnTo>
                    <a:pt x="172" y="126"/>
                  </a:lnTo>
                  <a:lnTo>
                    <a:pt x="167" y="135"/>
                  </a:lnTo>
                  <a:lnTo>
                    <a:pt x="166" y="143"/>
                  </a:lnTo>
                  <a:lnTo>
                    <a:pt x="153" y="150"/>
                  </a:lnTo>
                  <a:lnTo>
                    <a:pt x="143" y="142"/>
                  </a:lnTo>
                  <a:lnTo>
                    <a:pt x="136" y="142"/>
                  </a:lnTo>
                  <a:lnTo>
                    <a:pt x="125" y="154"/>
                  </a:lnTo>
                  <a:lnTo>
                    <a:pt x="120" y="155"/>
                  </a:lnTo>
                  <a:lnTo>
                    <a:pt x="111" y="175"/>
                  </a:lnTo>
                  <a:lnTo>
                    <a:pt x="106" y="18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77" name="Freeform 134">
              <a:extLst>
                <a:ext uri="{FF2B5EF4-FFF2-40B4-BE49-F238E27FC236}">
                  <a16:creationId xmlns:a16="http://schemas.microsoft.com/office/drawing/2014/main" id="{F94F6386-F381-4E10-91D4-19B3EDF515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7891" y="2468939"/>
              <a:ext cx="112012" cy="117221"/>
            </a:xfrm>
            <a:custGeom>
              <a:avLst/>
              <a:gdLst>
                <a:gd name="T0" fmla="*/ 33 w 86"/>
                <a:gd name="T1" fmla="*/ 82 h 90"/>
                <a:gd name="T2" fmla="*/ 27 w 86"/>
                <a:gd name="T3" fmla="*/ 75 h 90"/>
                <a:gd name="T4" fmla="*/ 19 w 86"/>
                <a:gd name="T5" fmla="*/ 67 h 90"/>
                <a:gd name="T6" fmla="*/ 15 w 86"/>
                <a:gd name="T7" fmla="*/ 60 h 90"/>
                <a:gd name="T8" fmla="*/ 8 w 86"/>
                <a:gd name="T9" fmla="*/ 54 h 90"/>
                <a:gd name="T10" fmla="*/ 0 w 86"/>
                <a:gd name="T11" fmla="*/ 44 h 90"/>
                <a:gd name="T12" fmla="*/ 2 w 86"/>
                <a:gd name="T13" fmla="*/ 41 h 90"/>
                <a:gd name="T14" fmla="*/ 5 w 86"/>
                <a:gd name="T15" fmla="*/ 44 h 90"/>
                <a:gd name="T16" fmla="*/ 6 w 86"/>
                <a:gd name="T17" fmla="*/ 43 h 90"/>
                <a:gd name="T18" fmla="*/ 12 w 86"/>
                <a:gd name="T19" fmla="*/ 42 h 90"/>
                <a:gd name="T20" fmla="*/ 15 w 86"/>
                <a:gd name="T21" fmla="*/ 37 h 90"/>
                <a:gd name="T22" fmla="*/ 18 w 86"/>
                <a:gd name="T23" fmla="*/ 37 h 90"/>
                <a:gd name="T24" fmla="*/ 18 w 86"/>
                <a:gd name="T25" fmla="*/ 27 h 90"/>
                <a:gd name="T26" fmla="*/ 23 w 86"/>
                <a:gd name="T27" fmla="*/ 26 h 90"/>
                <a:gd name="T28" fmla="*/ 26 w 86"/>
                <a:gd name="T29" fmla="*/ 26 h 90"/>
                <a:gd name="T30" fmla="*/ 31 w 86"/>
                <a:gd name="T31" fmla="*/ 21 h 90"/>
                <a:gd name="T32" fmla="*/ 36 w 86"/>
                <a:gd name="T33" fmla="*/ 25 h 90"/>
                <a:gd name="T34" fmla="*/ 38 w 86"/>
                <a:gd name="T35" fmla="*/ 22 h 90"/>
                <a:gd name="T36" fmla="*/ 41 w 86"/>
                <a:gd name="T37" fmla="*/ 20 h 90"/>
                <a:gd name="T38" fmla="*/ 48 w 86"/>
                <a:gd name="T39" fmla="*/ 14 h 90"/>
                <a:gd name="T40" fmla="*/ 49 w 86"/>
                <a:gd name="T41" fmla="*/ 10 h 90"/>
                <a:gd name="T42" fmla="*/ 51 w 86"/>
                <a:gd name="T43" fmla="*/ 10 h 90"/>
                <a:gd name="T44" fmla="*/ 54 w 86"/>
                <a:gd name="T45" fmla="*/ 5 h 90"/>
                <a:gd name="T46" fmla="*/ 56 w 86"/>
                <a:gd name="T47" fmla="*/ 5 h 90"/>
                <a:gd name="T48" fmla="*/ 58 w 86"/>
                <a:gd name="T49" fmla="*/ 8 h 90"/>
                <a:gd name="T50" fmla="*/ 62 w 86"/>
                <a:gd name="T51" fmla="*/ 9 h 90"/>
                <a:gd name="T52" fmla="*/ 66 w 86"/>
                <a:gd name="T53" fmla="*/ 6 h 90"/>
                <a:gd name="T54" fmla="*/ 71 w 86"/>
                <a:gd name="T55" fmla="*/ 6 h 90"/>
                <a:gd name="T56" fmla="*/ 77 w 86"/>
                <a:gd name="T57" fmla="*/ 3 h 90"/>
                <a:gd name="T58" fmla="*/ 80 w 86"/>
                <a:gd name="T59" fmla="*/ 0 h 90"/>
                <a:gd name="T60" fmla="*/ 86 w 86"/>
                <a:gd name="T61" fmla="*/ 1 h 90"/>
                <a:gd name="T62" fmla="*/ 85 w 86"/>
                <a:gd name="T63" fmla="*/ 3 h 90"/>
                <a:gd name="T64" fmla="*/ 83 w 86"/>
                <a:gd name="T65" fmla="*/ 8 h 90"/>
                <a:gd name="T66" fmla="*/ 84 w 86"/>
                <a:gd name="T67" fmla="*/ 15 h 90"/>
                <a:gd name="T68" fmla="*/ 79 w 86"/>
                <a:gd name="T69" fmla="*/ 22 h 90"/>
                <a:gd name="T70" fmla="*/ 77 w 86"/>
                <a:gd name="T71" fmla="*/ 30 h 90"/>
                <a:gd name="T72" fmla="*/ 76 w 86"/>
                <a:gd name="T73" fmla="*/ 40 h 90"/>
                <a:gd name="T74" fmla="*/ 76 w 86"/>
                <a:gd name="T75" fmla="*/ 45 h 90"/>
                <a:gd name="T76" fmla="*/ 76 w 86"/>
                <a:gd name="T77" fmla="*/ 54 h 90"/>
                <a:gd name="T78" fmla="*/ 73 w 86"/>
                <a:gd name="T79" fmla="*/ 56 h 90"/>
                <a:gd name="T80" fmla="*/ 70 w 86"/>
                <a:gd name="T81" fmla="*/ 65 h 90"/>
                <a:gd name="T82" fmla="*/ 71 w 86"/>
                <a:gd name="T83" fmla="*/ 71 h 90"/>
                <a:gd name="T84" fmla="*/ 67 w 86"/>
                <a:gd name="T85" fmla="*/ 76 h 90"/>
                <a:gd name="T86" fmla="*/ 67 w 86"/>
                <a:gd name="T87" fmla="*/ 82 h 90"/>
                <a:gd name="T88" fmla="*/ 70 w 86"/>
                <a:gd name="T89" fmla="*/ 85 h 90"/>
                <a:gd name="T90" fmla="*/ 65 w 86"/>
                <a:gd name="T91" fmla="*/ 90 h 90"/>
                <a:gd name="T92" fmla="*/ 60 w 86"/>
                <a:gd name="T93" fmla="*/ 88 h 90"/>
                <a:gd name="T94" fmla="*/ 57 w 86"/>
                <a:gd name="T95" fmla="*/ 84 h 90"/>
                <a:gd name="T96" fmla="*/ 52 w 86"/>
                <a:gd name="T97" fmla="*/ 82 h 90"/>
                <a:gd name="T98" fmla="*/ 47 w 86"/>
                <a:gd name="T99" fmla="*/ 85 h 90"/>
                <a:gd name="T100" fmla="*/ 36 w 86"/>
                <a:gd name="T101" fmla="*/ 79 h 90"/>
                <a:gd name="T102" fmla="*/ 33 w 86"/>
                <a:gd name="T103" fmla="*/ 8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6" h="90">
                  <a:moveTo>
                    <a:pt x="33" y="82"/>
                  </a:moveTo>
                  <a:lnTo>
                    <a:pt x="27" y="75"/>
                  </a:lnTo>
                  <a:lnTo>
                    <a:pt x="19" y="67"/>
                  </a:lnTo>
                  <a:lnTo>
                    <a:pt x="15" y="60"/>
                  </a:lnTo>
                  <a:lnTo>
                    <a:pt x="8" y="54"/>
                  </a:lnTo>
                  <a:lnTo>
                    <a:pt x="0" y="44"/>
                  </a:lnTo>
                  <a:lnTo>
                    <a:pt x="2" y="41"/>
                  </a:lnTo>
                  <a:lnTo>
                    <a:pt x="5" y="44"/>
                  </a:lnTo>
                  <a:lnTo>
                    <a:pt x="6" y="43"/>
                  </a:lnTo>
                  <a:lnTo>
                    <a:pt x="12" y="42"/>
                  </a:lnTo>
                  <a:lnTo>
                    <a:pt x="15" y="37"/>
                  </a:lnTo>
                  <a:lnTo>
                    <a:pt x="18" y="37"/>
                  </a:lnTo>
                  <a:lnTo>
                    <a:pt x="18" y="27"/>
                  </a:lnTo>
                  <a:lnTo>
                    <a:pt x="23" y="26"/>
                  </a:lnTo>
                  <a:lnTo>
                    <a:pt x="26" y="26"/>
                  </a:lnTo>
                  <a:lnTo>
                    <a:pt x="31" y="21"/>
                  </a:lnTo>
                  <a:lnTo>
                    <a:pt x="36" y="25"/>
                  </a:lnTo>
                  <a:lnTo>
                    <a:pt x="38" y="22"/>
                  </a:lnTo>
                  <a:lnTo>
                    <a:pt x="41" y="20"/>
                  </a:lnTo>
                  <a:lnTo>
                    <a:pt x="48" y="14"/>
                  </a:lnTo>
                  <a:lnTo>
                    <a:pt x="49" y="10"/>
                  </a:lnTo>
                  <a:lnTo>
                    <a:pt x="51" y="10"/>
                  </a:lnTo>
                  <a:lnTo>
                    <a:pt x="54" y="5"/>
                  </a:lnTo>
                  <a:lnTo>
                    <a:pt x="56" y="5"/>
                  </a:lnTo>
                  <a:lnTo>
                    <a:pt x="58" y="8"/>
                  </a:lnTo>
                  <a:lnTo>
                    <a:pt x="62" y="9"/>
                  </a:lnTo>
                  <a:lnTo>
                    <a:pt x="66" y="6"/>
                  </a:lnTo>
                  <a:lnTo>
                    <a:pt x="71" y="6"/>
                  </a:lnTo>
                  <a:lnTo>
                    <a:pt x="77" y="3"/>
                  </a:lnTo>
                  <a:lnTo>
                    <a:pt x="80" y="0"/>
                  </a:lnTo>
                  <a:lnTo>
                    <a:pt x="86" y="1"/>
                  </a:lnTo>
                  <a:lnTo>
                    <a:pt x="85" y="3"/>
                  </a:lnTo>
                  <a:lnTo>
                    <a:pt x="83" y="8"/>
                  </a:lnTo>
                  <a:lnTo>
                    <a:pt x="84" y="15"/>
                  </a:lnTo>
                  <a:lnTo>
                    <a:pt x="79" y="22"/>
                  </a:lnTo>
                  <a:lnTo>
                    <a:pt x="77" y="30"/>
                  </a:lnTo>
                  <a:lnTo>
                    <a:pt x="76" y="40"/>
                  </a:lnTo>
                  <a:lnTo>
                    <a:pt x="76" y="45"/>
                  </a:lnTo>
                  <a:lnTo>
                    <a:pt x="76" y="54"/>
                  </a:lnTo>
                  <a:lnTo>
                    <a:pt x="73" y="56"/>
                  </a:lnTo>
                  <a:lnTo>
                    <a:pt x="70" y="65"/>
                  </a:lnTo>
                  <a:lnTo>
                    <a:pt x="71" y="71"/>
                  </a:lnTo>
                  <a:lnTo>
                    <a:pt x="67" y="76"/>
                  </a:lnTo>
                  <a:lnTo>
                    <a:pt x="67" y="82"/>
                  </a:lnTo>
                  <a:lnTo>
                    <a:pt x="70" y="85"/>
                  </a:lnTo>
                  <a:lnTo>
                    <a:pt x="65" y="90"/>
                  </a:lnTo>
                  <a:lnTo>
                    <a:pt x="60" y="88"/>
                  </a:lnTo>
                  <a:lnTo>
                    <a:pt x="57" y="84"/>
                  </a:lnTo>
                  <a:lnTo>
                    <a:pt x="52" y="82"/>
                  </a:lnTo>
                  <a:lnTo>
                    <a:pt x="47" y="85"/>
                  </a:lnTo>
                  <a:lnTo>
                    <a:pt x="36" y="79"/>
                  </a:lnTo>
                  <a:lnTo>
                    <a:pt x="33" y="8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78" name="Freeform 135">
              <a:extLst>
                <a:ext uri="{FF2B5EF4-FFF2-40B4-BE49-F238E27FC236}">
                  <a16:creationId xmlns:a16="http://schemas.microsoft.com/office/drawing/2014/main" id="{6975BBD3-66D5-4C5B-829D-33A3AFBAEA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9554" y="1437390"/>
              <a:ext cx="75543" cy="70333"/>
            </a:xfrm>
            <a:custGeom>
              <a:avLst/>
              <a:gdLst>
                <a:gd name="T0" fmla="*/ 42 w 58"/>
                <a:gd name="T1" fmla="*/ 0 h 54"/>
                <a:gd name="T2" fmla="*/ 55 w 58"/>
                <a:gd name="T3" fmla="*/ 0 h 54"/>
                <a:gd name="T4" fmla="*/ 58 w 58"/>
                <a:gd name="T5" fmla="*/ 7 h 54"/>
                <a:gd name="T6" fmla="*/ 55 w 58"/>
                <a:gd name="T7" fmla="*/ 25 h 54"/>
                <a:gd name="T8" fmla="*/ 51 w 58"/>
                <a:gd name="T9" fmla="*/ 33 h 54"/>
                <a:gd name="T10" fmla="*/ 42 w 58"/>
                <a:gd name="T11" fmla="*/ 33 h 54"/>
                <a:gd name="T12" fmla="*/ 45 w 58"/>
                <a:gd name="T13" fmla="*/ 54 h 54"/>
                <a:gd name="T14" fmla="*/ 36 w 58"/>
                <a:gd name="T15" fmla="*/ 49 h 54"/>
                <a:gd name="T16" fmla="*/ 26 w 58"/>
                <a:gd name="T17" fmla="*/ 40 h 54"/>
                <a:gd name="T18" fmla="*/ 11 w 58"/>
                <a:gd name="T19" fmla="*/ 44 h 54"/>
                <a:gd name="T20" fmla="*/ 0 w 58"/>
                <a:gd name="T21" fmla="*/ 43 h 54"/>
                <a:gd name="T22" fmla="*/ 8 w 58"/>
                <a:gd name="T23" fmla="*/ 37 h 54"/>
                <a:gd name="T24" fmla="*/ 21 w 58"/>
                <a:gd name="T25" fmla="*/ 8 h 54"/>
                <a:gd name="T26" fmla="*/ 42 w 58"/>
                <a:gd name="T27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8" h="54">
                  <a:moveTo>
                    <a:pt x="42" y="0"/>
                  </a:moveTo>
                  <a:lnTo>
                    <a:pt x="55" y="0"/>
                  </a:lnTo>
                  <a:lnTo>
                    <a:pt x="58" y="7"/>
                  </a:lnTo>
                  <a:lnTo>
                    <a:pt x="55" y="25"/>
                  </a:lnTo>
                  <a:lnTo>
                    <a:pt x="51" y="33"/>
                  </a:lnTo>
                  <a:lnTo>
                    <a:pt x="42" y="33"/>
                  </a:lnTo>
                  <a:lnTo>
                    <a:pt x="45" y="54"/>
                  </a:lnTo>
                  <a:lnTo>
                    <a:pt x="36" y="49"/>
                  </a:lnTo>
                  <a:lnTo>
                    <a:pt x="26" y="40"/>
                  </a:lnTo>
                  <a:lnTo>
                    <a:pt x="11" y="44"/>
                  </a:lnTo>
                  <a:lnTo>
                    <a:pt x="0" y="43"/>
                  </a:lnTo>
                  <a:lnTo>
                    <a:pt x="8" y="37"/>
                  </a:lnTo>
                  <a:lnTo>
                    <a:pt x="21" y="8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FFD606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79" name="Freeform 136">
              <a:extLst>
                <a:ext uri="{FF2B5EF4-FFF2-40B4-BE49-F238E27FC236}">
                  <a16:creationId xmlns:a16="http://schemas.microsoft.com/office/drawing/2014/main" id="{FAA24A3F-A351-496C-AED4-30925C6DF77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4301" y="1004974"/>
              <a:ext cx="442836" cy="313893"/>
            </a:xfrm>
            <a:custGeom>
              <a:avLst/>
              <a:gdLst>
                <a:gd name="T0" fmla="*/ 294 w 340"/>
                <a:gd name="T1" fmla="*/ 0 h 241"/>
                <a:gd name="T2" fmla="*/ 338 w 340"/>
                <a:gd name="T3" fmla="*/ 13 h 241"/>
                <a:gd name="T4" fmla="*/ 322 w 340"/>
                <a:gd name="T5" fmla="*/ 17 h 241"/>
                <a:gd name="T6" fmla="*/ 340 w 340"/>
                <a:gd name="T7" fmla="*/ 28 h 241"/>
                <a:gd name="T8" fmla="*/ 319 w 340"/>
                <a:gd name="T9" fmla="*/ 35 h 241"/>
                <a:gd name="T10" fmla="*/ 309 w 340"/>
                <a:gd name="T11" fmla="*/ 37 h 241"/>
                <a:gd name="T12" fmla="*/ 311 w 340"/>
                <a:gd name="T13" fmla="*/ 24 h 241"/>
                <a:gd name="T14" fmla="*/ 293 w 340"/>
                <a:gd name="T15" fmla="*/ 18 h 241"/>
                <a:gd name="T16" fmla="*/ 274 w 340"/>
                <a:gd name="T17" fmla="*/ 23 h 241"/>
                <a:gd name="T18" fmla="*/ 270 w 340"/>
                <a:gd name="T19" fmla="*/ 36 h 241"/>
                <a:gd name="T20" fmla="*/ 259 w 340"/>
                <a:gd name="T21" fmla="*/ 44 h 241"/>
                <a:gd name="T22" fmla="*/ 244 w 340"/>
                <a:gd name="T23" fmla="*/ 40 h 241"/>
                <a:gd name="T24" fmla="*/ 227 w 340"/>
                <a:gd name="T25" fmla="*/ 40 h 241"/>
                <a:gd name="T26" fmla="*/ 210 w 340"/>
                <a:gd name="T27" fmla="*/ 31 h 241"/>
                <a:gd name="T28" fmla="*/ 203 w 340"/>
                <a:gd name="T29" fmla="*/ 36 h 241"/>
                <a:gd name="T30" fmla="*/ 195 w 340"/>
                <a:gd name="T31" fmla="*/ 37 h 241"/>
                <a:gd name="T32" fmla="*/ 195 w 340"/>
                <a:gd name="T33" fmla="*/ 48 h 241"/>
                <a:gd name="T34" fmla="*/ 170 w 340"/>
                <a:gd name="T35" fmla="*/ 45 h 241"/>
                <a:gd name="T36" fmla="*/ 168 w 340"/>
                <a:gd name="T37" fmla="*/ 55 h 241"/>
                <a:gd name="T38" fmla="*/ 155 w 340"/>
                <a:gd name="T39" fmla="*/ 55 h 241"/>
                <a:gd name="T40" fmla="*/ 148 w 340"/>
                <a:gd name="T41" fmla="*/ 68 h 241"/>
                <a:gd name="T42" fmla="*/ 137 w 340"/>
                <a:gd name="T43" fmla="*/ 88 h 241"/>
                <a:gd name="T44" fmla="*/ 118 w 340"/>
                <a:gd name="T45" fmla="*/ 114 h 241"/>
                <a:gd name="T46" fmla="*/ 124 w 340"/>
                <a:gd name="T47" fmla="*/ 120 h 241"/>
                <a:gd name="T48" fmla="*/ 120 w 340"/>
                <a:gd name="T49" fmla="*/ 127 h 241"/>
                <a:gd name="T50" fmla="*/ 106 w 340"/>
                <a:gd name="T51" fmla="*/ 127 h 241"/>
                <a:gd name="T52" fmla="*/ 98 w 340"/>
                <a:gd name="T53" fmla="*/ 145 h 241"/>
                <a:gd name="T54" fmla="*/ 102 w 340"/>
                <a:gd name="T55" fmla="*/ 170 h 241"/>
                <a:gd name="T56" fmla="*/ 112 w 340"/>
                <a:gd name="T57" fmla="*/ 179 h 241"/>
                <a:gd name="T58" fmla="*/ 109 w 340"/>
                <a:gd name="T59" fmla="*/ 202 h 241"/>
                <a:gd name="T60" fmla="*/ 98 w 340"/>
                <a:gd name="T61" fmla="*/ 215 h 241"/>
                <a:gd name="T62" fmla="*/ 92 w 340"/>
                <a:gd name="T63" fmla="*/ 226 h 241"/>
                <a:gd name="T64" fmla="*/ 81 w 340"/>
                <a:gd name="T65" fmla="*/ 214 h 241"/>
                <a:gd name="T66" fmla="*/ 54 w 340"/>
                <a:gd name="T67" fmla="*/ 237 h 241"/>
                <a:gd name="T68" fmla="*/ 34 w 340"/>
                <a:gd name="T69" fmla="*/ 241 h 241"/>
                <a:gd name="T70" fmla="*/ 13 w 340"/>
                <a:gd name="T71" fmla="*/ 231 h 241"/>
                <a:gd name="T72" fmla="*/ 7 w 340"/>
                <a:gd name="T73" fmla="*/ 211 h 241"/>
                <a:gd name="T74" fmla="*/ 0 w 340"/>
                <a:gd name="T75" fmla="*/ 166 h 241"/>
                <a:gd name="T76" fmla="*/ 13 w 340"/>
                <a:gd name="T77" fmla="*/ 154 h 241"/>
                <a:gd name="T78" fmla="*/ 50 w 340"/>
                <a:gd name="T79" fmla="*/ 139 h 241"/>
                <a:gd name="T80" fmla="*/ 76 w 340"/>
                <a:gd name="T81" fmla="*/ 119 h 241"/>
                <a:gd name="T82" fmla="*/ 99 w 340"/>
                <a:gd name="T83" fmla="*/ 94 h 241"/>
                <a:gd name="T84" fmla="*/ 128 w 340"/>
                <a:gd name="T85" fmla="*/ 59 h 241"/>
                <a:gd name="T86" fmla="*/ 149 w 340"/>
                <a:gd name="T87" fmla="*/ 45 h 241"/>
                <a:gd name="T88" fmla="*/ 182 w 340"/>
                <a:gd name="T89" fmla="*/ 24 h 241"/>
                <a:gd name="T90" fmla="*/ 209 w 340"/>
                <a:gd name="T91" fmla="*/ 16 h 241"/>
                <a:gd name="T92" fmla="*/ 231 w 340"/>
                <a:gd name="T93" fmla="*/ 17 h 241"/>
                <a:gd name="T94" fmla="*/ 247 w 340"/>
                <a:gd name="T95" fmla="*/ 3 h 241"/>
                <a:gd name="T96" fmla="*/ 271 w 340"/>
                <a:gd name="T97" fmla="*/ 3 h 241"/>
                <a:gd name="T98" fmla="*/ 294 w 340"/>
                <a:gd name="T99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40" h="241">
                  <a:moveTo>
                    <a:pt x="294" y="0"/>
                  </a:moveTo>
                  <a:lnTo>
                    <a:pt x="338" y="13"/>
                  </a:lnTo>
                  <a:lnTo>
                    <a:pt x="322" y="17"/>
                  </a:lnTo>
                  <a:lnTo>
                    <a:pt x="340" y="28"/>
                  </a:lnTo>
                  <a:lnTo>
                    <a:pt x="319" y="35"/>
                  </a:lnTo>
                  <a:lnTo>
                    <a:pt x="309" y="37"/>
                  </a:lnTo>
                  <a:lnTo>
                    <a:pt x="311" y="24"/>
                  </a:lnTo>
                  <a:lnTo>
                    <a:pt x="293" y="18"/>
                  </a:lnTo>
                  <a:lnTo>
                    <a:pt x="274" y="23"/>
                  </a:lnTo>
                  <a:lnTo>
                    <a:pt x="270" y="36"/>
                  </a:lnTo>
                  <a:lnTo>
                    <a:pt x="259" y="44"/>
                  </a:lnTo>
                  <a:lnTo>
                    <a:pt x="244" y="40"/>
                  </a:lnTo>
                  <a:lnTo>
                    <a:pt x="227" y="40"/>
                  </a:lnTo>
                  <a:lnTo>
                    <a:pt x="210" y="31"/>
                  </a:lnTo>
                  <a:lnTo>
                    <a:pt x="203" y="36"/>
                  </a:lnTo>
                  <a:lnTo>
                    <a:pt x="195" y="37"/>
                  </a:lnTo>
                  <a:lnTo>
                    <a:pt x="195" y="48"/>
                  </a:lnTo>
                  <a:lnTo>
                    <a:pt x="170" y="45"/>
                  </a:lnTo>
                  <a:lnTo>
                    <a:pt x="168" y="55"/>
                  </a:lnTo>
                  <a:lnTo>
                    <a:pt x="155" y="55"/>
                  </a:lnTo>
                  <a:lnTo>
                    <a:pt x="148" y="68"/>
                  </a:lnTo>
                  <a:lnTo>
                    <a:pt x="137" y="88"/>
                  </a:lnTo>
                  <a:lnTo>
                    <a:pt x="118" y="114"/>
                  </a:lnTo>
                  <a:lnTo>
                    <a:pt x="124" y="120"/>
                  </a:lnTo>
                  <a:lnTo>
                    <a:pt x="120" y="127"/>
                  </a:lnTo>
                  <a:lnTo>
                    <a:pt x="106" y="127"/>
                  </a:lnTo>
                  <a:lnTo>
                    <a:pt x="98" y="145"/>
                  </a:lnTo>
                  <a:lnTo>
                    <a:pt x="102" y="170"/>
                  </a:lnTo>
                  <a:lnTo>
                    <a:pt x="112" y="179"/>
                  </a:lnTo>
                  <a:lnTo>
                    <a:pt x="109" y="202"/>
                  </a:lnTo>
                  <a:lnTo>
                    <a:pt x="98" y="215"/>
                  </a:lnTo>
                  <a:lnTo>
                    <a:pt x="92" y="226"/>
                  </a:lnTo>
                  <a:lnTo>
                    <a:pt x="81" y="214"/>
                  </a:lnTo>
                  <a:lnTo>
                    <a:pt x="54" y="237"/>
                  </a:lnTo>
                  <a:lnTo>
                    <a:pt x="34" y="241"/>
                  </a:lnTo>
                  <a:lnTo>
                    <a:pt x="13" y="231"/>
                  </a:lnTo>
                  <a:lnTo>
                    <a:pt x="7" y="211"/>
                  </a:lnTo>
                  <a:lnTo>
                    <a:pt x="0" y="166"/>
                  </a:lnTo>
                  <a:lnTo>
                    <a:pt x="13" y="154"/>
                  </a:lnTo>
                  <a:lnTo>
                    <a:pt x="50" y="139"/>
                  </a:lnTo>
                  <a:lnTo>
                    <a:pt x="76" y="119"/>
                  </a:lnTo>
                  <a:lnTo>
                    <a:pt x="99" y="94"/>
                  </a:lnTo>
                  <a:lnTo>
                    <a:pt x="128" y="59"/>
                  </a:lnTo>
                  <a:lnTo>
                    <a:pt x="149" y="45"/>
                  </a:lnTo>
                  <a:lnTo>
                    <a:pt x="182" y="24"/>
                  </a:lnTo>
                  <a:lnTo>
                    <a:pt x="209" y="16"/>
                  </a:lnTo>
                  <a:lnTo>
                    <a:pt x="231" y="17"/>
                  </a:lnTo>
                  <a:lnTo>
                    <a:pt x="247" y="3"/>
                  </a:lnTo>
                  <a:lnTo>
                    <a:pt x="271" y="3"/>
                  </a:lnTo>
                  <a:lnTo>
                    <a:pt x="294" y="0"/>
                  </a:lnTo>
                  <a:close/>
                </a:path>
              </a:pathLst>
            </a:custGeom>
            <a:solidFill>
              <a:srgbClr val="FFD606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80" name="Freeform 137">
              <a:extLst>
                <a:ext uri="{FF2B5EF4-FFF2-40B4-BE49-F238E27FC236}">
                  <a16:creationId xmlns:a16="http://schemas.microsoft.com/office/drawing/2014/main" id="{3F59E04E-A707-4C43-8995-990975E24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9626" y="856493"/>
              <a:ext cx="62518" cy="19537"/>
            </a:xfrm>
            <a:custGeom>
              <a:avLst/>
              <a:gdLst>
                <a:gd name="T0" fmla="*/ 48 w 48"/>
                <a:gd name="T1" fmla="*/ 9 h 15"/>
                <a:gd name="T2" fmla="*/ 23 w 48"/>
                <a:gd name="T3" fmla="*/ 15 h 15"/>
                <a:gd name="T4" fmla="*/ 1 w 48"/>
                <a:gd name="T5" fmla="*/ 11 h 15"/>
                <a:gd name="T6" fmla="*/ 8 w 48"/>
                <a:gd name="T7" fmla="*/ 8 h 15"/>
                <a:gd name="T8" fmla="*/ 0 w 48"/>
                <a:gd name="T9" fmla="*/ 3 h 15"/>
                <a:gd name="T10" fmla="*/ 24 w 48"/>
                <a:gd name="T11" fmla="*/ 0 h 15"/>
                <a:gd name="T12" fmla="*/ 30 w 48"/>
                <a:gd name="T13" fmla="*/ 5 h 15"/>
                <a:gd name="T14" fmla="*/ 48 w 48"/>
                <a:gd name="T15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15">
                  <a:moveTo>
                    <a:pt x="48" y="9"/>
                  </a:moveTo>
                  <a:lnTo>
                    <a:pt x="23" y="15"/>
                  </a:lnTo>
                  <a:lnTo>
                    <a:pt x="1" y="11"/>
                  </a:lnTo>
                  <a:lnTo>
                    <a:pt x="8" y="8"/>
                  </a:lnTo>
                  <a:lnTo>
                    <a:pt x="0" y="3"/>
                  </a:lnTo>
                  <a:lnTo>
                    <a:pt x="24" y="0"/>
                  </a:lnTo>
                  <a:lnTo>
                    <a:pt x="30" y="5"/>
                  </a:lnTo>
                  <a:lnTo>
                    <a:pt x="48" y="9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81" name="Freeform 138">
              <a:extLst>
                <a:ext uri="{FF2B5EF4-FFF2-40B4-BE49-F238E27FC236}">
                  <a16:creationId xmlns:a16="http://schemas.microsoft.com/office/drawing/2014/main" id="{64AB73AD-C2C3-43B3-BD40-F40EF1017F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8121" y="827839"/>
              <a:ext cx="169320" cy="61216"/>
            </a:xfrm>
            <a:custGeom>
              <a:avLst/>
              <a:gdLst>
                <a:gd name="T0" fmla="*/ 89 w 130"/>
                <a:gd name="T1" fmla="*/ 4 h 47"/>
                <a:gd name="T2" fmla="*/ 130 w 130"/>
                <a:gd name="T3" fmla="*/ 15 h 47"/>
                <a:gd name="T4" fmla="*/ 102 w 130"/>
                <a:gd name="T5" fmla="*/ 21 h 47"/>
                <a:gd name="T6" fmla="*/ 98 w 130"/>
                <a:gd name="T7" fmla="*/ 31 h 47"/>
                <a:gd name="T8" fmla="*/ 88 w 130"/>
                <a:gd name="T9" fmla="*/ 34 h 47"/>
                <a:gd name="T10" fmla="*/ 85 w 130"/>
                <a:gd name="T11" fmla="*/ 46 h 47"/>
                <a:gd name="T12" fmla="*/ 70 w 130"/>
                <a:gd name="T13" fmla="*/ 47 h 47"/>
                <a:gd name="T14" fmla="*/ 43 w 130"/>
                <a:gd name="T15" fmla="*/ 38 h 47"/>
                <a:gd name="T16" fmla="*/ 53 w 130"/>
                <a:gd name="T17" fmla="*/ 32 h 47"/>
                <a:gd name="T18" fmla="*/ 35 w 130"/>
                <a:gd name="T19" fmla="*/ 28 h 47"/>
                <a:gd name="T20" fmla="*/ 10 w 130"/>
                <a:gd name="T21" fmla="*/ 16 h 47"/>
                <a:gd name="T22" fmla="*/ 0 w 130"/>
                <a:gd name="T23" fmla="*/ 5 h 47"/>
                <a:gd name="T24" fmla="*/ 30 w 130"/>
                <a:gd name="T25" fmla="*/ 0 h 47"/>
                <a:gd name="T26" fmla="*/ 37 w 130"/>
                <a:gd name="T27" fmla="*/ 5 h 47"/>
                <a:gd name="T28" fmla="*/ 54 w 130"/>
                <a:gd name="T29" fmla="*/ 5 h 47"/>
                <a:gd name="T30" fmla="*/ 57 w 130"/>
                <a:gd name="T31" fmla="*/ 0 h 47"/>
                <a:gd name="T32" fmla="*/ 74 w 130"/>
                <a:gd name="T33" fmla="*/ 0 h 47"/>
                <a:gd name="T34" fmla="*/ 89 w 130"/>
                <a:gd name="T35" fmla="*/ 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47">
                  <a:moveTo>
                    <a:pt x="89" y="4"/>
                  </a:moveTo>
                  <a:lnTo>
                    <a:pt x="130" y="15"/>
                  </a:lnTo>
                  <a:lnTo>
                    <a:pt x="102" y="21"/>
                  </a:lnTo>
                  <a:lnTo>
                    <a:pt x="98" y="31"/>
                  </a:lnTo>
                  <a:lnTo>
                    <a:pt x="88" y="34"/>
                  </a:lnTo>
                  <a:lnTo>
                    <a:pt x="85" y="46"/>
                  </a:lnTo>
                  <a:lnTo>
                    <a:pt x="70" y="47"/>
                  </a:lnTo>
                  <a:lnTo>
                    <a:pt x="43" y="38"/>
                  </a:lnTo>
                  <a:lnTo>
                    <a:pt x="53" y="32"/>
                  </a:lnTo>
                  <a:lnTo>
                    <a:pt x="35" y="28"/>
                  </a:lnTo>
                  <a:lnTo>
                    <a:pt x="10" y="16"/>
                  </a:lnTo>
                  <a:lnTo>
                    <a:pt x="0" y="5"/>
                  </a:lnTo>
                  <a:lnTo>
                    <a:pt x="30" y="0"/>
                  </a:lnTo>
                  <a:lnTo>
                    <a:pt x="37" y="5"/>
                  </a:lnTo>
                  <a:lnTo>
                    <a:pt x="54" y="5"/>
                  </a:lnTo>
                  <a:lnTo>
                    <a:pt x="57" y="0"/>
                  </a:lnTo>
                  <a:lnTo>
                    <a:pt x="74" y="0"/>
                  </a:lnTo>
                  <a:lnTo>
                    <a:pt x="89" y="4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82" name="Freeform 139">
              <a:extLst>
                <a:ext uri="{FF2B5EF4-FFF2-40B4-BE49-F238E27FC236}">
                  <a16:creationId xmlns:a16="http://schemas.microsoft.com/office/drawing/2014/main" id="{30FC4C5B-3398-4882-8C6D-B6687D38FF1E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8411" y="817419"/>
              <a:ext cx="151085" cy="22142"/>
            </a:xfrm>
            <a:custGeom>
              <a:avLst/>
              <a:gdLst>
                <a:gd name="T0" fmla="*/ 92 w 116"/>
                <a:gd name="T1" fmla="*/ 3 h 17"/>
                <a:gd name="T2" fmla="*/ 116 w 116"/>
                <a:gd name="T3" fmla="*/ 8 h 17"/>
                <a:gd name="T4" fmla="*/ 101 w 116"/>
                <a:gd name="T5" fmla="*/ 15 h 17"/>
                <a:gd name="T6" fmla="*/ 68 w 116"/>
                <a:gd name="T7" fmla="*/ 17 h 17"/>
                <a:gd name="T8" fmla="*/ 34 w 116"/>
                <a:gd name="T9" fmla="*/ 14 h 17"/>
                <a:gd name="T10" fmla="*/ 31 w 116"/>
                <a:gd name="T11" fmla="*/ 11 h 17"/>
                <a:gd name="T12" fmla="*/ 14 w 116"/>
                <a:gd name="T13" fmla="*/ 11 h 17"/>
                <a:gd name="T14" fmla="*/ 0 w 116"/>
                <a:gd name="T15" fmla="*/ 4 h 17"/>
                <a:gd name="T16" fmla="*/ 35 w 116"/>
                <a:gd name="T17" fmla="*/ 1 h 17"/>
                <a:gd name="T18" fmla="*/ 52 w 116"/>
                <a:gd name="T19" fmla="*/ 4 h 17"/>
                <a:gd name="T20" fmla="*/ 62 w 116"/>
                <a:gd name="T21" fmla="*/ 0 h 17"/>
                <a:gd name="T22" fmla="*/ 92 w 116"/>
                <a:gd name="T23" fmla="*/ 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6" h="17">
                  <a:moveTo>
                    <a:pt x="92" y="3"/>
                  </a:moveTo>
                  <a:lnTo>
                    <a:pt x="116" y="8"/>
                  </a:lnTo>
                  <a:lnTo>
                    <a:pt x="101" y="15"/>
                  </a:lnTo>
                  <a:lnTo>
                    <a:pt x="68" y="17"/>
                  </a:lnTo>
                  <a:lnTo>
                    <a:pt x="34" y="14"/>
                  </a:lnTo>
                  <a:lnTo>
                    <a:pt x="31" y="11"/>
                  </a:lnTo>
                  <a:lnTo>
                    <a:pt x="14" y="11"/>
                  </a:lnTo>
                  <a:lnTo>
                    <a:pt x="0" y="4"/>
                  </a:lnTo>
                  <a:lnTo>
                    <a:pt x="35" y="1"/>
                  </a:lnTo>
                  <a:lnTo>
                    <a:pt x="52" y="4"/>
                  </a:lnTo>
                  <a:lnTo>
                    <a:pt x="62" y="0"/>
                  </a:lnTo>
                  <a:lnTo>
                    <a:pt x="92" y="3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83" name="Freeform 140">
              <a:extLst>
                <a:ext uri="{FF2B5EF4-FFF2-40B4-BE49-F238E27FC236}">
                  <a16:creationId xmlns:a16="http://schemas.microsoft.com/office/drawing/2014/main" id="{03E6EDB4-D3E8-45A4-8D8D-80A33E7DE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4807" y="2053453"/>
              <a:ext cx="197974" cy="108105"/>
            </a:xfrm>
            <a:custGeom>
              <a:avLst/>
              <a:gdLst>
                <a:gd name="T0" fmla="*/ 146 w 152"/>
                <a:gd name="T1" fmla="*/ 52 h 83"/>
                <a:gd name="T2" fmla="*/ 146 w 152"/>
                <a:gd name="T3" fmla="*/ 61 h 83"/>
                <a:gd name="T4" fmla="*/ 152 w 152"/>
                <a:gd name="T5" fmla="*/ 75 h 83"/>
                <a:gd name="T6" fmla="*/ 151 w 152"/>
                <a:gd name="T7" fmla="*/ 83 h 83"/>
                <a:gd name="T8" fmla="*/ 136 w 152"/>
                <a:gd name="T9" fmla="*/ 83 h 83"/>
                <a:gd name="T10" fmla="*/ 114 w 152"/>
                <a:gd name="T11" fmla="*/ 78 h 83"/>
                <a:gd name="T12" fmla="*/ 100 w 152"/>
                <a:gd name="T13" fmla="*/ 76 h 83"/>
                <a:gd name="T14" fmla="*/ 88 w 152"/>
                <a:gd name="T15" fmla="*/ 66 h 83"/>
                <a:gd name="T16" fmla="*/ 63 w 152"/>
                <a:gd name="T17" fmla="*/ 63 h 83"/>
                <a:gd name="T18" fmla="*/ 37 w 152"/>
                <a:gd name="T19" fmla="*/ 51 h 83"/>
                <a:gd name="T20" fmla="*/ 18 w 152"/>
                <a:gd name="T21" fmla="*/ 41 h 83"/>
                <a:gd name="T22" fmla="*/ 0 w 152"/>
                <a:gd name="T23" fmla="*/ 33 h 83"/>
                <a:gd name="T24" fmla="*/ 3 w 152"/>
                <a:gd name="T25" fmla="*/ 14 h 83"/>
                <a:gd name="T26" fmla="*/ 12 w 152"/>
                <a:gd name="T27" fmla="*/ 4 h 83"/>
                <a:gd name="T28" fmla="*/ 18 w 152"/>
                <a:gd name="T29" fmla="*/ 0 h 83"/>
                <a:gd name="T30" fmla="*/ 34 w 152"/>
                <a:gd name="T31" fmla="*/ 6 h 83"/>
                <a:gd name="T32" fmla="*/ 54 w 152"/>
                <a:gd name="T33" fmla="*/ 19 h 83"/>
                <a:gd name="T34" fmla="*/ 65 w 152"/>
                <a:gd name="T35" fmla="*/ 22 h 83"/>
                <a:gd name="T36" fmla="*/ 73 w 152"/>
                <a:gd name="T37" fmla="*/ 32 h 83"/>
                <a:gd name="T38" fmla="*/ 88 w 152"/>
                <a:gd name="T39" fmla="*/ 36 h 83"/>
                <a:gd name="T40" fmla="*/ 104 w 152"/>
                <a:gd name="T41" fmla="*/ 45 h 83"/>
                <a:gd name="T42" fmla="*/ 125 w 152"/>
                <a:gd name="T43" fmla="*/ 50 h 83"/>
                <a:gd name="T44" fmla="*/ 146 w 152"/>
                <a:gd name="T45" fmla="*/ 52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2" h="83">
                  <a:moveTo>
                    <a:pt x="146" y="52"/>
                  </a:moveTo>
                  <a:lnTo>
                    <a:pt x="146" y="61"/>
                  </a:lnTo>
                  <a:lnTo>
                    <a:pt x="152" y="75"/>
                  </a:lnTo>
                  <a:lnTo>
                    <a:pt x="151" y="83"/>
                  </a:lnTo>
                  <a:lnTo>
                    <a:pt x="136" y="83"/>
                  </a:lnTo>
                  <a:lnTo>
                    <a:pt x="114" y="78"/>
                  </a:lnTo>
                  <a:lnTo>
                    <a:pt x="100" y="76"/>
                  </a:lnTo>
                  <a:lnTo>
                    <a:pt x="88" y="66"/>
                  </a:lnTo>
                  <a:lnTo>
                    <a:pt x="63" y="63"/>
                  </a:lnTo>
                  <a:lnTo>
                    <a:pt x="37" y="51"/>
                  </a:lnTo>
                  <a:lnTo>
                    <a:pt x="18" y="41"/>
                  </a:lnTo>
                  <a:lnTo>
                    <a:pt x="0" y="33"/>
                  </a:lnTo>
                  <a:lnTo>
                    <a:pt x="3" y="14"/>
                  </a:lnTo>
                  <a:lnTo>
                    <a:pt x="12" y="4"/>
                  </a:lnTo>
                  <a:lnTo>
                    <a:pt x="18" y="0"/>
                  </a:lnTo>
                  <a:lnTo>
                    <a:pt x="34" y="6"/>
                  </a:lnTo>
                  <a:lnTo>
                    <a:pt x="54" y="19"/>
                  </a:lnTo>
                  <a:lnTo>
                    <a:pt x="65" y="22"/>
                  </a:lnTo>
                  <a:lnTo>
                    <a:pt x="73" y="32"/>
                  </a:lnTo>
                  <a:lnTo>
                    <a:pt x="88" y="36"/>
                  </a:lnTo>
                  <a:lnTo>
                    <a:pt x="104" y="45"/>
                  </a:lnTo>
                  <a:lnTo>
                    <a:pt x="125" y="50"/>
                  </a:lnTo>
                  <a:lnTo>
                    <a:pt x="146" y="5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84" name="Freeform 141">
              <a:extLst>
                <a:ext uri="{FF2B5EF4-FFF2-40B4-BE49-F238E27FC236}">
                  <a16:creationId xmlns:a16="http://schemas.microsoft.com/office/drawing/2014/main" id="{F866A825-62C2-4F73-893F-0D5C4F86DF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93634" y="3807867"/>
              <a:ext cx="424602" cy="326918"/>
            </a:xfrm>
            <a:custGeom>
              <a:avLst/>
              <a:gdLst>
                <a:gd name="T0" fmla="*/ 1141 w 1337"/>
                <a:gd name="T1" fmla="*/ 233 h 1028"/>
                <a:gd name="T2" fmla="*/ 1195 w 1337"/>
                <a:gd name="T3" fmla="*/ 199 h 1028"/>
                <a:gd name="T4" fmla="*/ 1204 w 1337"/>
                <a:gd name="T5" fmla="*/ 290 h 1028"/>
                <a:gd name="T6" fmla="*/ 1308 w 1337"/>
                <a:gd name="T7" fmla="*/ 265 h 1028"/>
                <a:gd name="T8" fmla="*/ 1271 w 1337"/>
                <a:gd name="T9" fmla="*/ 350 h 1028"/>
                <a:gd name="T10" fmla="*/ 1164 w 1337"/>
                <a:gd name="T11" fmla="*/ 397 h 1028"/>
                <a:gd name="T12" fmla="*/ 1109 w 1337"/>
                <a:gd name="T13" fmla="*/ 459 h 1028"/>
                <a:gd name="T14" fmla="*/ 1030 w 1337"/>
                <a:gd name="T15" fmla="*/ 521 h 1028"/>
                <a:gd name="T16" fmla="*/ 876 w 1337"/>
                <a:gd name="T17" fmla="*/ 612 h 1028"/>
                <a:gd name="T18" fmla="*/ 861 w 1337"/>
                <a:gd name="T19" fmla="*/ 578 h 1028"/>
                <a:gd name="T20" fmla="*/ 960 w 1337"/>
                <a:gd name="T21" fmla="*/ 462 h 1028"/>
                <a:gd name="T22" fmla="*/ 931 w 1337"/>
                <a:gd name="T23" fmla="*/ 397 h 1028"/>
                <a:gd name="T24" fmla="*/ 1055 w 1337"/>
                <a:gd name="T25" fmla="*/ 303 h 1028"/>
                <a:gd name="T26" fmla="*/ 1093 w 1337"/>
                <a:gd name="T27" fmla="*/ 191 h 1028"/>
                <a:gd name="T28" fmla="*/ 1092 w 1337"/>
                <a:gd name="T29" fmla="*/ 141 h 1028"/>
                <a:gd name="T30" fmla="*/ 1084 w 1337"/>
                <a:gd name="T31" fmla="*/ 6 h 1028"/>
                <a:gd name="T32" fmla="*/ 1126 w 1337"/>
                <a:gd name="T33" fmla="*/ 47 h 1028"/>
                <a:gd name="T34" fmla="*/ 1144 w 1337"/>
                <a:gd name="T35" fmla="*/ 144 h 1028"/>
                <a:gd name="T36" fmla="*/ 761 w 1337"/>
                <a:gd name="T37" fmla="*/ 582 h 1028"/>
                <a:gd name="T38" fmla="*/ 829 w 1337"/>
                <a:gd name="T39" fmla="*/ 583 h 1028"/>
                <a:gd name="T40" fmla="*/ 749 w 1337"/>
                <a:gd name="T41" fmla="*/ 658 h 1028"/>
                <a:gd name="T42" fmla="*/ 597 w 1337"/>
                <a:gd name="T43" fmla="*/ 754 h 1028"/>
                <a:gd name="T44" fmla="*/ 537 w 1337"/>
                <a:gd name="T45" fmla="*/ 795 h 1028"/>
                <a:gd name="T46" fmla="*/ 393 w 1337"/>
                <a:gd name="T47" fmla="*/ 882 h 1028"/>
                <a:gd name="T48" fmla="*/ 202 w 1337"/>
                <a:gd name="T49" fmla="*/ 1004 h 1028"/>
                <a:gd name="T50" fmla="*/ 88 w 1337"/>
                <a:gd name="T51" fmla="*/ 1026 h 1028"/>
                <a:gd name="T52" fmla="*/ 0 w 1337"/>
                <a:gd name="T53" fmla="*/ 993 h 1028"/>
                <a:gd name="T54" fmla="*/ 99 w 1337"/>
                <a:gd name="T55" fmla="*/ 900 h 1028"/>
                <a:gd name="T56" fmla="*/ 304 w 1337"/>
                <a:gd name="T57" fmla="*/ 801 h 1028"/>
                <a:gd name="T58" fmla="*/ 469 w 1337"/>
                <a:gd name="T59" fmla="*/ 725 h 1028"/>
                <a:gd name="T60" fmla="*/ 619 w 1337"/>
                <a:gd name="T61" fmla="*/ 619 h 1028"/>
                <a:gd name="T62" fmla="*/ 704 w 1337"/>
                <a:gd name="T63" fmla="*/ 550 h 1028"/>
                <a:gd name="T64" fmla="*/ 770 w 1337"/>
                <a:gd name="T65" fmla="*/ 547 h 1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37" h="1028">
                  <a:moveTo>
                    <a:pt x="1144" y="144"/>
                  </a:moveTo>
                  <a:lnTo>
                    <a:pt x="1141" y="233"/>
                  </a:lnTo>
                  <a:lnTo>
                    <a:pt x="1178" y="176"/>
                  </a:lnTo>
                  <a:lnTo>
                    <a:pt x="1195" y="199"/>
                  </a:lnTo>
                  <a:lnTo>
                    <a:pt x="1166" y="263"/>
                  </a:lnTo>
                  <a:lnTo>
                    <a:pt x="1204" y="290"/>
                  </a:lnTo>
                  <a:lnTo>
                    <a:pt x="1247" y="297"/>
                  </a:lnTo>
                  <a:lnTo>
                    <a:pt x="1308" y="265"/>
                  </a:lnTo>
                  <a:lnTo>
                    <a:pt x="1337" y="275"/>
                  </a:lnTo>
                  <a:lnTo>
                    <a:pt x="1271" y="350"/>
                  </a:lnTo>
                  <a:lnTo>
                    <a:pt x="1216" y="399"/>
                  </a:lnTo>
                  <a:lnTo>
                    <a:pt x="1164" y="397"/>
                  </a:lnTo>
                  <a:lnTo>
                    <a:pt x="1128" y="423"/>
                  </a:lnTo>
                  <a:lnTo>
                    <a:pt x="1109" y="459"/>
                  </a:lnTo>
                  <a:lnTo>
                    <a:pt x="1088" y="475"/>
                  </a:lnTo>
                  <a:lnTo>
                    <a:pt x="1030" y="521"/>
                  </a:lnTo>
                  <a:lnTo>
                    <a:pt x="954" y="578"/>
                  </a:lnTo>
                  <a:lnTo>
                    <a:pt x="876" y="612"/>
                  </a:lnTo>
                  <a:lnTo>
                    <a:pt x="881" y="590"/>
                  </a:lnTo>
                  <a:lnTo>
                    <a:pt x="861" y="578"/>
                  </a:lnTo>
                  <a:lnTo>
                    <a:pt x="950" y="508"/>
                  </a:lnTo>
                  <a:lnTo>
                    <a:pt x="960" y="462"/>
                  </a:lnTo>
                  <a:lnTo>
                    <a:pt x="908" y="428"/>
                  </a:lnTo>
                  <a:lnTo>
                    <a:pt x="931" y="397"/>
                  </a:lnTo>
                  <a:lnTo>
                    <a:pt x="1001" y="368"/>
                  </a:lnTo>
                  <a:lnTo>
                    <a:pt x="1055" y="303"/>
                  </a:lnTo>
                  <a:lnTo>
                    <a:pt x="1087" y="248"/>
                  </a:lnTo>
                  <a:lnTo>
                    <a:pt x="1093" y="191"/>
                  </a:lnTo>
                  <a:lnTo>
                    <a:pt x="1104" y="176"/>
                  </a:lnTo>
                  <a:lnTo>
                    <a:pt x="1092" y="141"/>
                  </a:lnTo>
                  <a:lnTo>
                    <a:pt x="1080" y="66"/>
                  </a:lnTo>
                  <a:lnTo>
                    <a:pt x="1084" y="6"/>
                  </a:lnTo>
                  <a:lnTo>
                    <a:pt x="1114" y="0"/>
                  </a:lnTo>
                  <a:lnTo>
                    <a:pt x="1126" y="47"/>
                  </a:lnTo>
                  <a:lnTo>
                    <a:pt x="1169" y="69"/>
                  </a:lnTo>
                  <a:lnTo>
                    <a:pt x="1144" y="144"/>
                  </a:lnTo>
                  <a:moveTo>
                    <a:pt x="770" y="547"/>
                  </a:moveTo>
                  <a:lnTo>
                    <a:pt x="761" y="582"/>
                  </a:lnTo>
                  <a:lnTo>
                    <a:pt x="834" y="548"/>
                  </a:lnTo>
                  <a:lnTo>
                    <a:pt x="829" y="583"/>
                  </a:lnTo>
                  <a:lnTo>
                    <a:pt x="803" y="619"/>
                  </a:lnTo>
                  <a:lnTo>
                    <a:pt x="749" y="658"/>
                  </a:lnTo>
                  <a:lnTo>
                    <a:pt x="657" y="720"/>
                  </a:lnTo>
                  <a:lnTo>
                    <a:pt x="597" y="754"/>
                  </a:lnTo>
                  <a:lnTo>
                    <a:pt x="590" y="794"/>
                  </a:lnTo>
                  <a:lnTo>
                    <a:pt x="537" y="795"/>
                  </a:lnTo>
                  <a:lnTo>
                    <a:pt x="454" y="827"/>
                  </a:lnTo>
                  <a:lnTo>
                    <a:pt x="393" y="882"/>
                  </a:lnTo>
                  <a:lnTo>
                    <a:pt x="285" y="966"/>
                  </a:lnTo>
                  <a:lnTo>
                    <a:pt x="202" y="1004"/>
                  </a:lnTo>
                  <a:lnTo>
                    <a:pt x="148" y="1028"/>
                  </a:lnTo>
                  <a:lnTo>
                    <a:pt x="88" y="1026"/>
                  </a:lnTo>
                  <a:lnTo>
                    <a:pt x="68" y="998"/>
                  </a:lnTo>
                  <a:lnTo>
                    <a:pt x="0" y="993"/>
                  </a:lnTo>
                  <a:lnTo>
                    <a:pt x="13" y="962"/>
                  </a:lnTo>
                  <a:lnTo>
                    <a:pt x="99" y="900"/>
                  </a:lnTo>
                  <a:lnTo>
                    <a:pt x="248" y="817"/>
                  </a:lnTo>
                  <a:lnTo>
                    <a:pt x="304" y="801"/>
                  </a:lnTo>
                  <a:lnTo>
                    <a:pt x="378" y="769"/>
                  </a:lnTo>
                  <a:lnTo>
                    <a:pt x="469" y="725"/>
                  </a:lnTo>
                  <a:lnTo>
                    <a:pt x="543" y="681"/>
                  </a:lnTo>
                  <a:lnTo>
                    <a:pt x="619" y="619"/>
                  </a:lnTo>
                  <a:lnTo>
                    <a:pt x="661" y="597"/>
                  </a:lnTo>
                  <a:lnTo>
                    <a:pt x="704" y="550"/>
                  </a:lnTo>
                  <a:lnTo>
                    <a:pt x="780" y="511"/>
                  </a:lnTo>
                  <a:lnTo>
                    <a:pt x="770" y="547"/>
                  </a:lnTo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85" name="Freeform 142">
              <a:extLst>
                <a:ext uri="{FF2B5EF4-FFF2-40B4-BE49-F238E27FC236}">
                  <a16:creationId xmlns:a16="http://schemas.microsoft.com/office/drawing/2014/main" id="{ACFF878D-F911-4497-8F75-7C58634B4A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6138" y="2201934"/>
              <a:ext cx="174530" cy="224023"/>
            </a:xfrm>
            <a:custGeom>
              <a:avLst/>
              <a:gdLst>
                <a:gd name="T0" fmla="*/ 120 w 134"/>
                <a:gd name="T1" fmla="*/ 79 h 172"/>
                <a:gd name="T2" fmla="*/ 114 w 134"/>
                <a:gd name="T3" fmla="*/ 93 h 172"/>
                <a:gd name="T4" fmla="*/ 106 w 134"/>
                <a:gd name="T5" fmla="*/ 92 h 172"/>
                <a:gd name="T6" fmla="*/ 103 w 134"/>
                <a:gd name="T7" fmla="*/ 97 h 172"/>
                <a:gd name="T8" fmla="*/ 101 w 134"/>
                <a:gd name="T9" fmla="*/ 107 h 172"/>
                <a:gd name="T10" fmla="*/ 104 w 134"/>
                <a:gd name="T11" fmla="*/ 121 h 172"/>
                <a:gd name="T12" fmla="*/ 103 w 134"/>
                <a:gd name="T13" fmla="*/ 124 h 172"/>
                <a:gd name="T14" fmla="*/ 95 w 134"/>
                <a:gd name="T15" fmla="*/ 124 h 172"/>
                <a:gd name="T16" fmla="*/ 84 w 134"/>
                <a:gd name="T17" fmla="*/ 132 h 172"/>
                <a:gd name="T18" fmla="*/ 83 w 134"/>
                <a:gd name="T19" fmla="*/ 142 h 172"/>
                <a:gd name="T20" fmla="*/ 79 w 134"/>
                <a:gd name="T21" fmla="*/ 146 h 172"/>
                <a:gd name="T22" fmla="*/ 68 w 134"/>
                <a:gd name="T23" fmla="*/ 146 h 172"/>
                <a:gd name="T24" fmla="*/ 61 w 134"/>
                <a:gd name="T25" fmla="*/ 151 h 172"/>
                <a:gd name="T26" fmla="*/ 62 w 134"/>
                <a:gd name="T27" fmla="*/ 159 h 172"/>
                <a:gd name="T28" fmla="*/ 54 w 134"/>
                <a:gd name="T29" fmla="*/ 165 h 172"/>
                <a:gd name="T30" fmla="*/ 43 w 134"/>
                <a:gd name="T31" fmla="*/ 163 h 172"/>
                <a:gd name="T32" fmla="*/ 32 w 134"/>
                <a:gd name="T33" fmla="*/ 170 h 172"/>
                <a:gd name="T34" fmla="*/ 23 w 134"/>
                <a:gd name="T35" fmla="*/ 172 h 172"/>
                <a:gd name="T36" fmla="*/ 16 w 134"/>
                <a:gd name="T37" fmla="*/ 157 h 172"/>
                <a:gd name="T38" fmla="*/ 0 w 134"/>
                <a:gd name="T39" fmla="*/ 123 h 172"/>
                <a:gd name="T40" fmla="*/ 52 w 134"/>
                <a:gd name="T41" fmla="*/ 102 h 172"/>
                <a:gd name="T42" fmla="*/ 60 w 134"/>
                <a:gd name="T43" fmla="*/ 60 h 172"/>
                <a:gd name="T44" fmla="*/ 51 w 134"/>
                <a:gd name="T45" fmla="*/ 46 h 172"/>
                <a:gd name="T46" fmla="*/ 50 w 134"/>
                <a:gd name="T47" fmla="*/ 37 h 172"/>
                <a:gd name="T48" fmla="*/ 54 w 134"/>
                <a:gd name="T49" fmla="*/ 29 h 172"/>
                <a:gd name="T50" fmla="*/ 54 w 134"/>
                <a:gd name="T51" fmla="*/ 20 h 172"/>
                <a:gd name="T52" fmla="*/ 61 w 134"/>
                <a:gd name="T53" fmla="*/ 16 h 172"/>
                <a:gd name="T54" fmla="*/ 58 w 134"/>
                <a:gd name="T55" fmla="*/ 13 h 172"/>
                <a:gd name="T56" fmla="*/ 57 w 134"/>
                <a:gd name="T57" fmla="*/ 0 h 172"/>
                <a:gd name="T58" fmla="*/ 67 w 134"/>
                <a:gd name="T59" fmla="*/ 0 h 172"/>
                <a:gd name="T60" fmla="*/ 76 w 134"/>
                <a:gd name="T61" fmla="*/ 14 h 172"/>
                <a:gd name="T62" fmla="*/ 87 w 134"/>
                <a:gd name="T63" fmla="*/ 21 h 172"/>
                <a:gd name="T64" fmla="*/ 101 w 134"/>
                <a:gd name="T65" fmla="*/ 24 h 172"/>
                <a:gd name="T66" fmla="*/ 112 w 134"/>
                <a:gd name="T67" fmla="*/ 28 h 172"/>
                <a:gd name="T68" fmla="*/ 121 w 134"/>
                <a:gd name="T69" fmla="*/ 40 h 172"/>
                <a:gd name="T70" fmla="*/ 127 w 134"/>
                <a:gd name="T71" fmla="*/ 47 h 172"/>
                <a:gd name="T72" fmla="*/ 134 w 134"/>
                <a:gd name="T73" fmla="*/ 49 h 172"/>
                <a:gd name="T74" fmla="*/ 134 w 134"/>
                <a:gd name="T75" fmla="*/ 54 h 172"/>
                <a:gd name="T76" fmla="*/ 129 w 134"/>
                <a:gd name="T77" fmla="*/ 66 h 172"/>
                <a:gd name="T78" fmla="*/ 127 w 134"/>
                <a:gd name="T79" fmla="*/ 72 h 172"/>
                <a:gd name="T80" fmla="*/ 120 w 134"/>
                <a:gd name="T81" fmla="*/ 79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4" h="172">
                  <a:moveTo>
                    <a:pt x="120" y="79"/>
                  </a:moveTo>
                  <a:lnTo>
                    <a:pt x="114" y="93"/>
                  </a:lnTo>
                  <a:lnTo>
                    <a:pt x="106" y="92"/>
                  </a:lnTo>
                  <a:lnTo>
                    <a:pt x="103" y="97"/>
                  </a:lnTo>
                  <a:lnTo>
                    <a:pt x="101" y="107"/>
                  </a:lnTo>
                  <a:lnTo>
                    <a:pt x="104" y="121"/>
                  </a:lnTo>
                  <a:lnTo>
                    <a:pt x="103" y="124"/>
                  </a:lnTo>
                  <a:lnTo>
                    <a:pt x="95" y="124"/>
                  </a:lnTo>
                  <a:lnTo>
                    <a:pt x="84" y="132"/>
                  </a:lnTo>
                  <a:lnTo>
                    <a:pt x="83" y="142"/>
                  </a:lnTo>
                  <a:lnTo>
                    <a:pt x="79" y="146"/>
                  </a:lnTo>
                  <a:lnTo>
                    <a:pt x="68" y="146"/>
                  </a:lnTo>
                  <a:lnTo>
                    <a:pt x="61" y="151"/>
                  </a:lnTo>
                  <a:lnTo>
                    <a:pt x="62" y="159"/>
                  </a:lnTo>
                  <a:lnTo>
                    <a:pt x="54" y="165"/>
                  </a:lnTo>
                  <a:lnTo>
                    <a:pt x="43" y="163"/>
                  </a:lnTo>
                  <a:lnTo>
                    <a:pt x="32" y="170"/>
                  </a:lnTo>
                  <a:lnTo>
                    <a:pt x="23" y="172"/>
                  </a:lnTo>
                  <a:lnTo>
                    <a:pt x="16" y="157"/>
                  </a:lnTo>
                  <a:lnTo>
                    <a:pt x="0" y="123"/>
                  </a:lnTo>
                  <a:lnTo>
                    <a:pt x="52" y="102"/>
                  </a:lnTo>
                  <a:lnTo>
                    <a:pt x="60" y="60"/>
                  </a:lnTo>
                  <a:lnTo>
                    <a:pt x="51" y="46"/>
                  </a:lnTo>
                  <a:lnTo>
                    <a:pt x="50" y="37"/>
                  </a:lnTo>
                  <a:lnTo>
                    <a:pt x="54" y="29"/>
                  </a:lnTo>
                  <a:lnTo>
                    <a:pt x="54" y="20"/>
                  </a:lnTo>
                  <a:lnTo>
                    <a:pt x="61" y="16"/>
                  </a:lnTo>
                  <a:lnTo>
                    <a:pt x="58" y="13"/>
                  </a:lnTo>
                  <a:lnTo>
                    <a:pt x="57" y="0"/>
                  </a:lnTo>
                  <a:lnTo>
                    <a:pt x="67" y="0"/>
                  </a:lnTo>
                  <a:lnTo>
                    <a:pt x="76" y="14"/>
                  </a:lnTo>
                  <a:lnTo>
                    <a:pt x="87" y="21"/>
                  </a:lnTo>
                  <a:lnTo>
                    <a:pt x="101" y="24"/>
                  </a:lnTo>
                  <a:lnTo>
                    <a:pt x="112" y="28"/>
                  </a:lnTo>
                  <a:lnTo>
                    <a:pt x="121" y="40"/>
                  </a:lnTo>
                  <a:lnTo>
                    <a:pt x="127" y="47"/>
                  </a:lnTo>
                  <a:lnTo>
                    <a:pt x="134" y="49"/>
                  </a:lnTo>
                  <a:lnTo>
                    <a:pt x="134" y="54"/>
                  </a:lnTo>
                  <a:lnTo>
                    <a:pt x="129" y="66"/>
                  </a:lnTo>
                  <a:lnTo>
                    <a:pt x="127" y="72"/>
                  </a:lnTo>
                  <a:lnTo>
                    <a:pt x="120" y="79"/>
                  </a:lnTo>
                  <a:close/>
                </a:path>
              </a:pathLst>
            </a:custGeom>
            <a:solidFill>
              <a:srgbClr val="0A58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86" name="Freeform 143">
              <a:extLst>
                <a:ext uri="{FF2B5EF4-FFF2-40B4-BE49-F238E27FC236}">
                  <a16:creationId xmlns:a16="http://schemas.microsoft.com/office/drawing/2014/main" id="{753333EC-A15B-403B-BBD3-6365A8D144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8063" y="1872412"/>
              <a:ext cx="352967" cy="362084"/>
            </a:xfrm>
            <a:custGeom>
              <a:avLst/>
              <a:gdLst>
                <a:gd name="T0" fmla="*/ 232 w 271"/>
                <a:gd name="T1" fmla="*/ 9 h 278"/>
                <a:gd name="T2" fmla="*/ 271 w 271"/>
                <a:gd name="T3" fmla="*/ 33 h 278"/>
                <a:gd name="T4" fmla="*/ 241 w 271"/>
                <a:gd name="T5" fmla="*/ 54 h 278"/>
                <a:gd name="T6" fmla="*/ 207 w 271"/>
                <a:gd name="T7" fmla="*/ 58 h 278"/>
                <a:gd name="T8" fmla="*/ 226 w 271"/>
                <a:gd name="T9" fmla="*/ 90 h 278"/>
                <a:gd name="T10" fmla="*/ 230 w 271"/>
                <a:gd name="T11" fmla="*/ 112 h 278"/>
                <a:gd name="T12" fmla="*/ 221 w 271"/>
                <a:gd name="T13" fmla="*/ 148 h 278"/>
                <a:gd name="T14" fmla="*/ 199 w 271"/>
                <a:gd name="T15" fmla="*/ 191 h 278"/>
                <a:gd name="T16" fmla="*/ 162 w 271"/>
                <a:gd name="T17" fmla="*/ 211 h 278"/>
                <a:gd name="T18" fmla="*/ 180 w 271"/>
                <a:gd name="T19" fmla="*/ 236 h 278"/>
                <a:gd name="T20" fmla="*/ 198 w 271"/>
                <a:gd name="T21" fmla="*/ 265 h 278"/>
                <a:gd name="T22" fmla="*/ 149 w 271"/>
                <a:gd name="T23" fmla="*/ 278 h 278"/>
                <a:gd name="T24" fmla="*/ 127 w 271"/>
                <a:gd name="T25" fmla="*/ 258 h 278"/>
                <a:gd name="T26" fmla="*/ 79 w 271"/>
                <a:gd name="T27" fmla="*/ 246 h 278"/>
                <a:gd name="T28" fmla="*/ 25 w 271"/>
                <a:gd name="T29" fmla="*/ 249 h 278"/>
                <a:gd name="T30" fmla="*/ 53 w 271"/>
                <a:gd name="T31" fmla="*/ 214 h 278"/>
                <a:gd name="T32" fmla="*/ 41 w 271"/>
                <a:gd name="T33" fmla="*/ 202 h 278"/>
                <a:gd name="T34" fmla="*/ 19 w 271"/>
                <a:gd name="T35" fmla="*/ 174 h 278"/>
                <a:gd name="T36" fmla="*/ 0 w 271"/>
                <a:gd name="T37" fmla="*/ 151 h 278"/>
                <a:gd name="T38" fmla="*/ 48 w 271"/>
                <a:gd name="T39" fmla="*/ 158 h 278"/>
                <a:gd name="T40" fmla="*/ 62 w 271"/>
                <a:gd name="T41" fmla="*/ 156 h 278"/>
                <a:gd name="T42" fmla="*/ 96 w 271"/>
                <a:gd name="T43" fmla="*/ 150 h 278"/>
                <a:gd name="T44" fmla="*/ 101 w 271"/>
                <a:gd name="T45" fmla="*/ 120 h 278"/>
                <a:gd name="T46" fmla="*/ 115 w 271"/>
                <a:gd name="T47" fmla="*/ 114 h 278"/>
                <a:gd name="T48" fmla="*/ 135 w 271"/>
                <a:gd name="T49" fmla="*/ 114 h 278"/>
                <a:gd name="T50" fmla="*/ 137 w 271"/>
                <a:gd name="T51" fmla="*/ 95 h 278"/>
                <a:gd name="T52" fmla="*/ 152 w 271"/>
                <a:gd name="T53" fmla="*/ 78 h 278"/>
                <a:gd name="T54" fmla="*/ 158 w 271"/>
                <a:gd name="T55" fmla="*/ 65 h 278"/>
                <a:gd name="T56" fmla="*/ 159 w 271"/>
                <a:gd name="T57" fmla="*/ 49 h 278"/>
                <a:gd name="T58" fmla="*/ 161 w 271"/>
                <a:gd name="T59" fmla="*/ 30 h 278"/>
                <a:gd name="T60" fmla="*/ 163 w 271"/>
                <a:gd name="T61" fmla="*/ 12 h 278"/>
                <a:gd name="T62" fmla="*/ 199 w 271"/>
                <a:gd name="T63" fmla="*/ 6 h 278"/>
                <a:gd name="T64" fmla="*/ 216 w 271"/>
                <a:gd name="T65" fmla="*/ 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71" h="278">
                  <a:moveTo>
                    <a:pt x="216" y="0"/>
                  </a:moveTo>
                  <a:lnTo>
                    <a:pt x="232" y="9"/>
                  </a:lnTo>
                  <a:lnTo>
                    <a:pt x="241" y="25"/>
                  </a:lnTo>
                  <a:lnTo>
                    <a:pt x="271" y="33"/>
                  </a:lnTo>
                  <a:lnTo>
                    <a:pt x="259" y="51"/>
                  </a:lnTo>
                  <a:lnTo>
                    <a:pt x="241" y="54"/>
                  </a:lnTo>
                  <a:lnTo>
                    <a:pt x="213" y="49"/>
                  </a:lnTo>
                  <a:lnTo>
                    <a:pt x="207" y="58"/>
                  </a:lnTo>
                  <a:lnTo>
                    <a:pt x="217" y="76"/>
                  </a:lnTo>
                  <a:lnTo>
                    <a:pt x="226" y="90"/>
                  </a:lnTo>
                  <a:lnTo>
                    <a:pt x="243" y="100"/>
                  </a:lnTo>
                  <a:lnTo>
                    <a:pt x="230" y="112"/>
                  </a:lnTo>
                  <a:lnTo>
                    <a:pt x="234" y="127"/>
                  </a:lnTo>
                  <a:lnTo>
                    <a:pt x="221" y="148"/>
                  </a:lnTo>
                  <a:lnTo>
                    <a:pt x="214" y="169"/>
                  </a:lnTo>
                  <a:lnTo>
                    <a:pt x="199" y="191"/>
                  </a:lnTo>
                  <a:lnTo>
                    <a:pt x="178" y="189"/>
                  </a:lnTo>
                  <a:lnTo>
                    <a:pt x="162" y="211"/>
                  </a:lnTo>
                  <a:lnTo>
                    <a:pt x="176" y="220"/>
                  </a:lnTo>
                  <a:lnTo>
                    <a:pt x="180" y="236"/>
                  </a:lnTo>
                  <a:lnTo>
                    <a:pt x="192" y="246"/>
                  </a:lnTo>
                  <a:lnTo>
                    <a:pt x="198" y="265"/>
                  </a:lnTo>
                  <a:lnTo>
                    <a:pt x="159" y="264"/>
                  </a:lnTo>
                  <a:lnTo>
                    <a:pt x="149" y="278"/>
                  </a:lnTo>
                  <a:lnTo>
                    <a:pt x="135" y="273"/>
                  </a:lnTo>
                  <a:lnTo>
                    <a:pt x="127" y="258"/>
                  </a:lnTo>
                  <a:lnTo>
                    <a:pt x="111" y="242"/>
                  </a:lnTo>
                  <a:lnTo>
                    <a:pt x="79" y="246"/>
                  </a:lnTo>
                  <a:lnTo>
                    <a:pt x="50" y="246"/>
                  </a:lnTo>
                  <a:lnTo>
                    <a:pt x="25" y="249"/>
                  </a:lnTo>
                  <a:lnTo>
                    <a:pt x="29" y="225"/>
                  </a:lnTo>
                  <a:lnTo>
                    <a:pt x="53" y="214"/>
                  </a:lnTo>
                  <a:lnTo>
                    <a:pt x="50" y="205"/>
                  </a:lnTo>
                  <a:lnTo>
                    <a:pt x="41" y="202"/>
                  </a:lnTo>
                  <a:lnTo>
                    <a:pt x="38" y="183"/>
                  </a:lnTo>
                  <a:lnTo>
                    <a:pt x="19" y="174"/>
                  </a:lnTo>
                  <a:lnTo>
                    <a:pt x="10" y="162"/>
                  </a:lnTo>
                  <a:lnTo>
                    <a:pt x="0" y="151"/>
                  </a:lnTo>
                  <a:lnTo>
                    <a:pt x="31" y="161"/>
                  </a:lnTo>
                  <a:lnTo>
                    <a:pt x="48" y="158"/>
                  </a:lnTo>
                  <a:lnTo>
                    <a:pt x="59" y="161"/>
                  </a:lnTo>
                  <a:lnTo>
                    <a:pt x="62" y="156"/>
                  </a:lnTo>
                  <a:lnTo>
                    <a:pt x="75" y="158"/>
                  </a:lnTo>
                  <a:lnTo>
                    <a:pt x="96" y="150"/>
                  </a:lnTo>
                  <a:lnTo>
                    <a:pt x="93" y="132"/>
                  </a:lnTo>
                  <a:lnTo>
                    <a:pt x="101" y="120"/>
                  </a:lnTo>
                  <a:lnTo>
                    <a:pt x="114" y="120"/>
                  </a:lnTo>
                  <a:lnTo>
                    <a:pt x="115" y="114"/>
                  </a:lnTo>
                  <a:lnTo>
                    <a:pt x="128" y="112"/>
                  </a:lnTo>
                  <a:lnTo>
                    <a:pt x="135" y="114"/>
                  </a:lnTo>
                  <a:lnTo>
                    <a:pt x="140" y="108"/>
                  </a:lnTo>
                  <a:lnTo>
                    <a:pt x="137" y="95"/>
                  </a:lnTo>
                  <a:lnTo>
                    <a:pt x="142" y="83"/>
                  </a:lnTo>
                  <a:lnTo>
                    <a:pt x="152" y="78"/>
                  </a:lnTo>
                  <a:lnTo>
                    <a:pt x="142" y="64"/>
                  </a:lnTo>
                  <a:lnTo>
                    <a:pt x="158" y="65"/>
                  </a:lnTo>
                  <a:lnTo>
                    <a:pt x="162" y="57"/>
                  </a:lnTo>
                  <a:lnTo>
                    <a:pt x="159" y="49"/>
                  </a:lnTo>
                  <a:lnTo>
                    <a:pt x="165" y="41"/>
                  </a:lnTo>
                  <a:lnTo>
                    <a:pt x="161" y="30"/>
                  </a:lnTo>
                  <a:lnTo>
                    <a:pt x="155" y="22"/>
                  </a:lnTo>
                  <a:lnTo>
                    <a:pt x="163" y="12"/>
                  </a:lnTo>
                  <a:lnTo>
                    <a:pt x="180" y="8"/>
                  </a:lnTo>
                  <a:lnTo>
                    <a:pt x="199" y="6"/>
                  </a:lnTo>
                  <a:lnTo>
                    <a:pt x="207" y="2"/>
                  </a:lnTo>
                  <a:lnTo>
                    <a:pt x="216" y="0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87" name="Freeform 144">
              <a:extLst>
                <a:ext uri="{FF2B5EF4-FFF2-40B4-BE49-F238E27FC236}">
                  <a16:creationId xmlns:a16="http://schemas.microsoft.com/office/drawing/2014/main" id="{61A42B6E-6C9C-412F-B10F-FCFFCAE1672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0786" y="2616117"/>
              <a:ext cx="136759" cy="63821"/>
            </a:xfrm>
            <a:custGeom>
              <a:avLst/>
              <a:gdLst>
                <a:gd name="T0" fmla="*/ 92 w 105"/>
                <a:gd name="T1" fmla="*/ 49 h 49"/>
                <a:gd name="T2" fmla="*/ 87 w 105"/>
                <a:gd name="T3" fmla="*/ 43 h 49"/>
                <a:gd name="T4" fmla="*/ 83 w 105"/>
                <a:gd name="T5" fmla="*/ 32 h 49"/>
                <a:gd name="T6" fmla="*/ 88 w 105"/>
                <a:gd name="T7" fmla="*/ 27 h 49"/>
                <a:gd name="T8" fmla="*/ 83 w 105"/>
                <a:gd name="T9" fmla="*/ 25 h 49"/>
                <a:gd name="T10" fmla="*/ 80 w 105"/>
                <a:gd name="T11" fmla="*/ 18 h 49"/>
                <a:gd name="T12" fmla="*/ 72 w 105"/>
                <a:gd name="T13" fmla="*/ 12 h 49"/>
                <a:gd name="T14" fmla="*/ 63 w 105"/>
                <a:gd name="T15" fmla="*/ 14 h 49"/>
                <a:gd name="T16" fmla="*/ 59 w 105"/>
                <a:gd name="T17" fmla="*/ 21 h 49"/>
                <a:gd name="T18" fmla="*/ 52 w 105"/>
                <a:gd name="T19" fmla="*/ 26 h 49"/>
                <a:gd name="T20" fmla="*/ 48 w 105"/>
                <a:gd name="T21" fmla="*/ 27 h 49"/>
                <a:gd name="T22" fmla="*/ 46 w 105"/>
                <a:gd name="T23" fmla="*/ 31 h 49"/>
                <a:gd name="T24" fmla="*/ 54 w 105"/>
                <a:gd name="T25" fmla="*/ 43 h 49"/>
                <a:gd name="T26" fmla="*/ 49 w 105"/>
                <a:gd name="T27" fmla="*/ 45 h 49"/>
                <a:gd name="T28" fmla="*/ 46 w 105"/>
                <a:gd name="T29" fmla="*/ 48 h 49"/>
                <a:gd name="T30" fmla="*/ 37 w 105"/>
                <a:gd name="T31" fmla="*/ 49 h 49"/>
                <a:gd name="T32" fmla="*/ 35 w 105"/>
                <a:gd name="T33" fmla="*/ 37 h 49"/>
                <a:gd name="T34" fmla="*/ 32 w 105"/>
                <a:gd name="T35" fmla="*/ 40 h 49"/>
                <a:gd name="T36" fmla="*/ 26 w 105"/>
                <a:gd name="T37" fmla="*/ 39 h 49"/>
                <a:gd name="T38" fmla="*/ 23 w 105"/>
                <a:gd name="T39" fmla="*/ 31 h 49"/>
                <a:gd name="T40" fmla="*/ 16 w 105"/>
                <a:gd name="T41" fmla="*/ 29 h 49"/>
                <a:gd name="T42" fmla="*/ 11 w 105"/>
                <a:gd name="T43" fmla="*/ 27 h 49"/>
                <a:gd name="T44" fmla="*/ 3 w 105"/>
                <a:gd name="T45" fmla="*/ 27 h 49"/>
                <a:gd name="T46" fmla="*/ 2 w 105"/>
                <a:gd name="T47" fmla="*/ 32 h 49"/>
                <a:gd name="T48" fmla="*/ 0 w 105"/>
                <a:gd name="T49" fmla="*/ 29 h 49"/>
                <a:gd name="T50" fmla="*/ 1 w 105"/>
                <a:gd name="T51" fmla="*/ 24 h 49"/>
                <a:gd name="T52" fmla="*/ 3 w 105"/>
                <a:gd name="T53" fmla="*/ 20 h 49"/>
                <a:gd name="T54" fmla="*/ 3 w 105"/>
                <a:gd name="T55" fmla="*/ 16 h 49"/>
                <a:gd name="T56" fmla="*/ 6 w 105"/>
                <a:gd name="T57" fmla="*/ 14 h 49"/>
                <a:gd name="T58" fmla="*/ 2 w 105"/>
                <a:gd name="T59" fmla="*/ 11 h 49"/>
                <a:gd name="T60" fmla="*/ 2 w 105"/>
                <a:gd name="T61" fmla="*/ 2 h 49"/>
                <a:gd name="T62" fmla="*/ 9 w 105"/>
                <a:gd name="T63" fmla="*/ 1 h 49"/>
                <a:gd name="T64" fmla="*/ 16 w 105"/>
                <a:gd name="T65" fmla="*/ 8 h 49"/>
                <a:gd name="T66" fmla="*/ 15 w 105"/>
                <a:gd name="T67" fmla="*/ 12 h 49"/>
                <a:gd name="T68" fmla="*/ 22 w 105"/>
                <a:gd name="T69" fmla="*/ 13 h 49"/>
                <a:gd name="T70" fmla="*/ 24 w 105"/>
                <a:gd name="T71" fmla="*/ 12 h 49"/>
                <a:gd name="T72" fmla="*/ 29 w 105"/>
                <a:gd name="T73" fmla="*/ 17 h 49"/>
                <a:gd name="T74" fmla="*/ 38 w 105"/>
                <a:gd name="T75" fmla="*/ 15 h 49"/>
                <a:gd name="T76" fmla="*/ 46 w 105"/>
                <a:gd name="T77" fmla="*/ 10 h 49"/>
                <a:gd name="T78" fmla="*/ 57 w 105"/>
                <a:gd name="T79" fmla="*/ 6 h 49"/>
                <a:gd name="T80" fmla="*/ 64 w 105"/>
                <a:gd name="T81" fmla="*/ 0 h 49"/>
                <a:gd name="T82" fmla="*/ 74 w 105"/>
                <a:gd name="T83" fmla="*/ 1 h 49"/>
                <a:gd name="T84" fmla="*/ 73 w 105"/>
                <a:gd name="T85" fmla="*/ 3 h 49"/>
                <a:gd name="T86" fmla="*/ 83 w 105"/>
                <a:gd name="T87" fmla="*/ 4 h 49"/>
                <a:gd name="T88" fmla="*/ 91 w 105"/>
                <a:gd name="T89" fmla="*/ 7 h 49"/>
                <a:gd name="T90" fmla="*/ 97 w 105"/>
                <a:gd name="T91" fmla="*/ 14 h 49"/>
                <a:gd name="T92" fmla="*/ 103 w 105"/>
                <a:gd name="T93" fmla="*/ 19 h 49"/>
                <a:gd name="T94" fmla="*/ 101 w 105"/>
                <a:gd name="T95" fmla="*/ 22 h 49"/>
                <a:gd name="T96" fmla="*/ 105 w 105"/>
                <a:gd name="T97" fmla="*/ 35 h 49"/>
                <a:gd name="T98" fmla="*/ 101 w 105"/>
                <a:gd name="T99" fmla="*/ 41 h 49"/>
                <a:gd name="T100" fmla="*/ 95 w 105"/>
                <a:gd name="T101" fmla="*/ 39 h 49"/>
                <a:gd name="T102" fmla="*/ 92 w 105"/>
                <a:gd name="T10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5" h="49">
                  <a:moveTo>
                    <a:pt x="92" y="49"/>
                  </a:moveTo>
                  <a:lnTo>
                    <a:pt x="87" y="43"/>
                  </a:lnTo>
                  <a:lnTo>
                    <a:pt x="83" y="32"/>
                  </a:lnTo>
                  <a:lnTo>
                    <a:pt x="88" y="27"/>
                  </a:lnTo>
                  <a:lnTo>
                    <a:pt x="83" y="25"/>
                  </a:lnTo>
                  <a:lnTo>
                    <a:pt x="80" y="18"/>
                  </a:lnTo>
                  <a:lnTo>
                    <a:pt x="72" y="12"/>
                  </a:lnTo>
                  <a:lnTo>
                    <a:pt x="63" y="14"/>
                  </a:lnTo>
                  <a:lnTo>
                    <a:pt x="59" y="21"/>
                  </a:lnTo>
                  <a:lnTo>
                    <a:pt x="52" y="26"/>
                  </a:lnTo>
                  <a:lnTo>
                    <a:pt x="48" y="27"/>
                  </a:lnTo>
                  <a:lnTo>
                    <a:pt x="46" y="31"/>
                  </a:lnTo>
                  <a:lnTo>
                    <a:pt x="54" y="43"/>
                  </a:lnTo>
                  <a:lnTo>
                    <a:pt x="49" y="45"/>
                  </a:lnTo>
                  <a:lnTo>
                    <a:pt x="46" y="48"/>
                  </a:lnTo>
                  <a:lnTo>
                    <a:pt x="37" y="49"/>
                  </a:lnTo>
                  <a:lnTo>
                    <a:pt x="35" y="37"/>
                  </a:lnTo>
                  <a:lnTo>
                    <a:pt x="32" y="40"/>
                  </a:lnTo>
                  <a:lnTo>
                    <a:pt x="26" y="39"/>
                  </a:lnTo>
                  <a:lnTo>
                    <a:pt x="23" y="31"/>
                  </a:lnTo>
                  <a:lnTo>
                    <a:pt x="16" y="29"/>
                  </a:lnTo>
                  <a:lnTo>
                    <a:pt x="11" y="27"/>
                  </a:lnTo>
                  <a:lnTo>
                    <a:pt x="3" y="27"/>
                  </a:lnTo>
                  <a:lnTo>
                    <a:pt x="2" y="32"/>
                  </a:lnTo>
                  <a:lnTo>
                    <a:pt x="0" y="29"/>
                  </a:lnTo>
                  <a:lnTo>
                    <a:pt x="1" y="24"/>
                  </a:lnTo>
                  <a:lnTo>
                    <a:pt x="3" y="20"/>
                  </a:lnTo>
                  <a:lnTo>
                    <a:pt x="3" y="16"/>
                  </a:lnTo>
                  <a:lnTo>
                    <a:pt x="6" y="14"/>
                  </a:lnTo>
                  <a:lnTo>
                    <a:pt x="2" y="11"/>
                  </a:lnTo>
                  <a:lnTo>
                    <a:pt x="2" y="2"/>
                  </a:lnTo>
                  <a:lnTo>
                    <a:pt x="9" y="1"/>
                  </a:lnTo>
                  <a:lnTo>
                    <a:pt x="16" y="8"/>
                  </a:lnTo>
                  <a:lnTo>
                    <a:pt x="15" y="12"/>
                  </a:lnTo>
                  <a:lnTo>
                    <a:pt x="22" y="13"/>
                  </a:lnTo>
                  <a:lnTo>
                    <a:pt x="24" y="12"/>
                  </a:lnTo>
                  <a:lnTo>
                    <a:pt x="29" y="17"/>
                  </a:lnTo>
                  <a:lnTo>
                    <a:pt x="38" y="15"/>
                  </a:lnTo>
                  <a:lnTo>
                    <a:pt x="46" y="10"/>
                  </a:lnTo>
                  <a:lnTo>
                    <a:pt x="57" y="6"/>
                  </a:lnTo>
                  <a:lnTo>
                    <a:pt x="64" y="0"/>
                  </a:lnTo>
                  <a:lnTo>
                    <a:pt x="74" y="1"/>
                  </a:lnTo>
                  <a:lnTo>
                    <a:pt x="73" y="3"/>
                  </a:lnTo>
                  <a:lnTo>
                    <a:pt x="83" y="4"/>
                  </a:lnTo>
                  <a:lnTo>
                    <a:pt x="91" y="7"/>
                  </a:lnTo>
                  <a:lnTo>
                    <a:pt x="97" y="14"/>
                  </a:lnTo>
                  <a:lnTo>
                    <a:pt x="103" y="19"/>
                  </a:lnTo>
                  <a:lnTo>
                    <a:pt x="101" y="22"/>
                  </a:lnTo>
                  <a:lnTo>
                    <a:pt x="105" y="35"/>
                  </a:lnTo>
                  <a:lnTo>
                    <a:pt x="101" y="41"/>
                  </a:lnTo>
                  <a:lnTo>
                    <a:pt x="95" y="39"/>
                  </a:lnTo>
                  <a:lnTo>
                    <a:pt x="92" y="4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88" name="Freeform 145">
              <a:extLst>
                <a:ext uri="{FF2B5EF4-FFF2-40B4-BE49-F238E27FC236}">
                  <a16:creationId xmlns:a16="http://schemas.microsoft.com/office/drawing/2014/main" id="{7CF521BC-76EF-4E23-9C49-E3BF4EAC56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4650" y="2877911"/>
              <a:ext cx="315195" cy="494935"/>
            </a:xfrm>
            <a:custGeom>
              <a:avLst/>
              <a:gdLst>
                <a:gd name="T0" fmla="*/ 229 w 242"/>
                <a:gd name="T1" fmla="*/ 374 h 380"/>
                <a:gd name="T2" fmla="*/ 201 w 242"/>
                <a:gd name="T3" fmla="*/ 368 h 380"/>
                <a:gd name="T4" fmla="*/ 160 w 242"/>
                <a:gd name="T5" fmla="*/ 338 h 380"/>
                <a:gd name="T6" fmla="*/ 111 w 242"/>
                <a:gd name="T7" fmla="*/ 303 h 380"/>
                <a:gd name="T8" fmla="*/ 104 w 242"/>
                <a:gd name="T9" fmla="*/ 280 h 380"/>
                <a:gd name="T10" fmla="*/ 66 w 242"/>
                <a:gd name="T11" fmla="*/ 214 h 380"/>
                <a:gd name="T12" fmla="*/ 38 w 242"/>
                <a:gd name="T13" fmla="*/ 163 h 380"/>
                <a:gd name="T14" fmla="*/ 17 w 242"/>
                <a:gd name="T15" fmla="*/ 134 h 380"/>
                <a:gd name="T16" fmla="*/ 9 w 242"/>
                <a:gd name="T17" fmla="*/ 117 h 380"/>
                <a:gd name="T18" fmla="*/ 5 w 242"/>
                <a:gd name="T19" fmla="*/ 82 h 380"/>
                <a:gd name="T20" fmla="*/ 22 w 242"/>
                <a:gd name="T21" fmla="*/ 78 h 380"/>
                <a:gd name="T22" fmla="*/ 17 w 242"/>
                <a:gd name="T23" fmla="*/ 90 h 380"/>
                <a:gd name="T24" fmla="*/ 33 w 242"/>
                <a:gd name="T25" fmla="*/ 91 h 380"/>
                <a:gd name="T26" fmla="*/ 51 w 242"/>
                <a:gd name="T27" fmla="*/ 93 h 380"/>
                <a:gd name="T28" fmla="*/ 65 w 242"/>
                <a:gd name="T29" fmla="*/ 61 h 380"/>
                <a:gd name="T30" fmla="*/ 106 w 242"/>
                <a:gd name="T31" fmla="*/ 31 h 380"/>
                <a:gd name="T32" fmla="*/ 109 w 242"/>
                <a:gd name="T33" fmla="*/ 1 h 380"/>
                <a:gd name="T34" fmla="*/ 127 w 242"/>
                <a:gd name="T35" fmla="*/ 10 h 380"/>
                <a:gd name="T36" fmla="*/ 141 w 242"/>
                <a:gd name="T37" fmla="*/ 25 h 380"/>
                <a:gd name="T38" fmla="*/ 166 w 242"/>
                <a:gd name="T39" fmla="*/ 49 h 380"/>
                <a:gd name="T40" fmla="*/ 182 w 242"/>
                <a:gd name="T41" fmla="*/ 47 h 380"/>
                <a:gd name="T42" fmla="*/ 208 w 242"/>
                <a:gd name="T43" fmla="*/ 55 h 380"/>
                <a:gd name="T44" fmla="*/ 202 w 242"/>
                <a:gd name="T45" fmla="*/ 77 h 380"/>
                <a:gd name="T46" fmla="*/ 194 w 242"/>
                <a:gd name="T47" fmla="*/ 87 h 380"/>
                <a:gd name="T48" fmla="*/ 177 w 242"/>
                <a:gd name="T49" fmla="*/ 94 h 380"/>
                <a:gd name="T50" fmla="*/ 156 w 242"/>
                <a:gd name="T51" fmla="*/ 118 h 380"/>
                <a:gd name="T52" fmla="*/ 153 w 242"/>
                <a:gd name="T53" fmla="*/ 136 h 380"/>
                <a:gd name="T54" fmla="*/ 143 w 242"/>
                <a:gd name="T55" fmla="*/ 151 h 380"/>
                <a:gd name="T56" fmla="*/ 147 w 242"/>
                <a:gd name="T57" fmla="*/ 173 h 380"/>
                <a:gd name="T58" fmla="*/ 154 w 242"/>
                <a:gd name="T59" fmla="*/ 195 h 380"/>
                <a:gd name="T60" fmla="*/ 174 w 242"/>
                <a:gd name="T61" fmla="*/ 207 h 380"/>
                <a:gd name="T62" fmla="*/ 204 w 242"/>
                <a:gd name="T63" fmla="*/ 196 h 380"/>
                <a:gd name="T64" fmla="*/ 213 w 242"/>
                <a:gd name="T65" fmla="*/ 230 h 380"/>
                <a:gd name="T66" fmla="*/ 241 w 242"/>
                <a:gd name="T67" fmla="*/ 259 h 380"/>
                <a:gd name="T68" fmla="*/ 238 w 242"/>
                <a:gd name="T69" fmla="*/ 281 h 380"/>
                <a:gd name="T70" fmla="*/ 233 w 242"/>
                <a:gd name="T71" fmla="*/ 309 h 380"/>
                <a:gd name="T72" fmla="*/ 233 w 242"/>
                <a:gd name="T73" fmla="*/ 324 h 380"/>
                <a:gd name="T74" fmla="*/ 233 w 242"/>
                <a:gd name="T75" fmla="*/ 364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42" h="380">
                  <a:moveTo>
                    <a:pt x="233" y="364"/>
                  </a:moveTo>
                  <a:lnTo>
                    <a:pt x="229" y="374"/>
                  </a:lnTo>
                  <a:lnTo>
                    <a:pt x="220" y="380"/>
                  </a:lnTo>
                  <a:lnTo>
                    <a:pt x="201" y="368"/>
                  </a:lnTo>
                  <a:lnTo>
                    <a:pt x="199" y="359"/>
                  </a:lnTo>
                  <a:lnTo>
                    <a:pt x="160" y="338"/>
                  </a:lnTo>
                  <a:lnTo>
                    <a:pt x="126" y="315"/>
                  </a:lnTo>
                  <a:lnTo>
                    <a:pt x="111" y="303"/>
                  </a:lnTo>
                  <a:lnTo>
                    <a:pt x="102" y="286"/>
                  </a:lnTo>
                  <a:lnTo>
                    <a:pt x="104" y="280"/>
                  </a:lnTo>
                  <a:lnTo>
                    <a:pt x="87" y="252"/>
                  </a:lnTo>
                  <a:lnTo>
                    <a:pt x="66" y="214"/>
                  </a:lnTo>
                  <a:lnTo>
                    <a:pt x="46" y="173"/>
                  </a:lnTo>
                  <a:lnTo>
                    <a:pt x="38" y="163"/>
                  </a:lnTo>
                  <a:lnTo>
                    <a:pt x="32" y="148"/>
                  </a:lnTo>
                  <a:lnTo>
                    <a:pt x="17" y="134"/>
                  </a:lnTo>
                  <a:lnTo>
                    <a:pt x="4" y="126"/>
                  </a:lnTo>
                  <a:lnTo>
                    <a:pt x="9" y="117"/>
                  </a:lnTo>
                  <a:lnTo>
                    <a:pt x="0" y="97"/>
                  </a:lnTo>
                  <a:lnTo>
                    <a:pt x="5" y="82"/>
                  </a:lnTo>
                  <a:lnTo>
                    <a:pt x="20" y="69"/>
                  </a:lnTo>
                  <a:lnTo>
                    <a:pt x="22" y="78"/>
                  </a:lnTo>
                  <a:lnTo>
                    <a:pt x="17" y="83"/>
                  </a:lnTo>
                  <a:lnTo>
                    <a:pt x="17" y="90"/>
                  </a:lnTo>
                  <a:lnTo>
                    <a:pt x="25" y="89"/>
                  </a:lnTo>
                  <a:lnTo>
                    <a:pt x="33" y="91"/>
                  </a:lnTo>
                  <a:lnTo>
                    <a:pt x="41" y="101"/>
                  </a:lnTo>
                  <a:lnTo>
                    <a:pt x="51" y="93"/>
                  </a:lnTo>
                  <a:lnTo>
                    <a:pt x="54" y="79"/>
                  </a:lnTo>
                  <a:lnTo>
                    <a:pt x="65" y="61"/>
                  </a:lnTo>
                  <a:lnTo>
                    <a:pt x="87" y="53"/>
                  </a:lnTo>
                  <a:lnTo>
                    <a:pt x="106" y="31"/>
                  </a:lnTo>
                  <a:lnTo>
                    <a:pt x="112" y="17"/>
                  </a:lnTo>
                  <a:lnTo>
                    <a:pt x="109" y="1"/>
                  </a:lnTo>
                  <a:lnTo>
                    <a:pt x="114" y="0"/>
                  </a:lnTo>
                  <a:lnTo>
                    <a:pt x="127" y="10"/>
                  </a:lnTo>
                  <a:lnTo>
                    <a:pt x="132" y="19"/>
                  </a:lnTo>
                  <a:lnTo>
                    <a:pt x="141" y="25"/>
                  </a:lnTo>
                  <a:lnTo>
                    <a:pt x="152" y="46"/>
                  </a:lnTo>
                  <a:lnTo>
                    <a:pt x="166" y="49"/>
                  </a:lnTo>
                  <a:lnTo>
                    <a:pt x="176" y="43"/>
                  </a:lnTo>
                  <a:lnTo>
                    <a:pt x="182" y="47"/>
                  </a:lnTo>
                  <a:lnTo>
                    <a:pt x="193" y="45"/>
                  </a:lnTo>
                  <a:lnTo>
                    <a:pt x="208" y="55"/>
                  </a:lnTo>
                  <a:lnTo>
                    <a:pt x="196" y="76"/>
                  </a:lnTo>
                  <a:lnTo>
                    <a:pt x="202" y="77"/>
                  </a:lnTo>
                  <a:lnTo>
                    <a:pt x="211" y="88"/>
                  </a:lnTo>
                  <a:lnTo>
                    <a:pt x="194" y="87"/>
                  </a:lnTo>
                  <a:lnTo>
                    <a:pt x="192" y="90"/>
                  </a:lnTo>
                  <a:lnTo>
                    <a:pt x="177" y="94"/>
                  </a:lnTo>
                  <a:lnTo>
                    <a:pt x="157" y="108"/>
                  </a:lnTo>
                  <a:lnTo>
                    <a:pt x="156" y="118"/>
                  </a:lnTo>
                  <a:lnTo>
                    <a:pt x="151" y="125"/>
                  </a:lnTo>
                  <a:lnTo>
                    <a:pt x="153" y="136"/>
                  </a:lnTo>
                  <a:lnTo>
                    <a:pt x="142" y="142"/>
                  </a:lnTo>
                  <a:lnTo>
                    <a:pt x="143" y="151"/>
                  </a:lnTo>
                  <a:lnTo>
                    <a:pt x="138" y="155"/>
                  </a:lnTo>
                  <a:lnTo>
                    <a:pt x="147" y="173"/>
                  </a:lnTo>
                  <a:lnTo>
                    <a:pt x="157" y="186"/>
                  </a:lnTo>
                  <a:lnTo>
                    <a:pt x="154" y="195"/>
                  </a:lnTo>
                  <a:lnTo>
                    <a:pt x="166" y="196"/>
                  </a:lnTo>
                  <a:lnTo>
                    <a:pt x="174" y="207"/>
                  </a:lnTo>
                  <a:lnTo>
                    <a:pt x="190" y="208"/>
                  </a:lnTo>
                  <a:lnTo>
                    <a:pt x="204" y="196"/>
                  </a:lnTo>
                  <a:lnTo>
                    <a:pt x="205" y="227"/>
                  </a:lnTo>
                  <a:lnTo>
                    <a:pt x="213" y="230"/>
                  </a:lnTo>
                  <a:lnTo>
                    <a:pt x="223" y="226"/>
                  </a:lnTo>
                  <a:lnTo>
                    <a:pt x="241" y="259"/>
                  </a:lnTo>
                  <a:lnTo>
                    <a:pt x="238" y="266"/>
                  </a:lnTo>
                  <a:lnTo>
                    <a:pt x="238" y="281"/>
                  </a:lnTo>
                  <a:lnTo>
                    <a:pt x="239" y="299"/>
                  </a:lnTo>
                  <a:lnTo>
                    <a:pt x="233" y="309"/>
                  </a:lnTo>
                  <a:lnTo>
                    <a:pt x="236" y="317"/>
                  </a:lnTo>
                  <a:lnTo>
                    <a:pt x="233" y="324"/>
                  </a:lnTo>
                  <a:lnTo>
                    <a:pt x="242" y="341"/>
                  </a:lnTo>
                  <a:lnTo>
                    <a:pt x="233" y="36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89" name="Freeform 146">
              <a:extLst>
                <a:ext uri="{FF2B5EF4-FFF2-40B4-BE49-F238E27FC236}">
                  <a16:creationId xmlns:a16="http://schemas.microsoft.com/office/drawing/2014/main" id="{9E10D88B-843A-4F87-9C54-AC5CFD5783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36905" y="2375161"/>
              <a:ext cx="225326" cy="349059"/>
            </a:xfrm>
            <a:custGeom>
              <a:avLst/>
              <a:gdLst>
                <a:gd name="T0" fmla="*/ 252 w 710"/>
                <a:gd name="T1" fmla="*/ 24 h 1100"/>
                <a:gd name="T2" fmla="*/ 282 w 710"/>
                <a:gd name="T3" fmla="*/ 24 h 1100"/>
                <a:gd name="T4" fmla="*/ 311 w 710"/>
                <a:gd name="T5" fmla="*/ 120 h 1100"/>
                <a:gd name="T6" fmla="*/ 264 w 710"/>
                <a:gd name="T7" fmla="*/ 219 h 1100"/>
                <a:gd name="T8" fmla="*/ 288 w 710"/>
                <a:gd name="T9" fmla="*/ 355 h 1100"/>
                <a:gd name="T10" fmla="*/ 361 w 710"/>
                <a:gd name="T11" fmla="*/ 355 h 1100"/>
                <a:gd name="T12" fmla="*/ 459 w 710"/>
                <a:gd name="T13" fmla="*/ 448 h 1100"/>
                <a:gd name="T14" fmla="*/ 483 w 710"/>
                <a:gd name="T15" fmla="*/ 508 h 1100"/>
                <a:gd name="T16" fmla="*/ 387 w 710"/>
                <a:gd name="T17" fmla="*/ 421 h 1100"/>
                <a:gd name="T18" fmla="*/ 317 w 710"/>
                <a:gd name="T19" fmla="*/ 402 h 1100"/>
                <a:gd name="T20" fmla="*/ 212 w 710"/>
                <a:gd name="T21" fmla="*/ 395 h 1100"/>
                <a:gd name="T22" fmla="*/ 231 w 710"/>
                <a:gd name="T23" fmla="*/ 339 h 1100"/>
                <a:gd name="T24" fmla="*/ 201 w 710"/>
                <a:gd name="T25" fmla="*/ 350 h 1100"/>
                <a:gd name="T26" fmla="*/ 141 w 710"/>
                <a:gd name="T27" fmla="*/ 264 h 1100"/>
                <a:gd name="T28" fmla="*/ 160 w 710"/>
                <a:gd name="T29" fmla="*/ 210 h 1100"/>
                <a:gd name="T30" fmla="*/ 157 w 710"/>
                <a:gd name="T31" fmla="*/ 0 h 1100"/>
                <a:gd name="T32" fmla="*/ 287 w 710"/>
                <a:gd name="T33" fmla="*/ 463 h 1100"/>
                <a:gd name="T34" fmla="*/ 239 w 710"/>
                <a:gd name="T35" fmla="*/ 494 h 1100"/>
                <a:gd name="T36" fmla="*/ 257 w 710"/>
                <a:gd name="T37" fmla="*/ 432 h 1100"/>
                <a:gd name="T38" fmla="*/ 594 w 710"/>
                <a:gd name="T39" fmla="*/ 540 h 1100"/>
                <a:gd name="T40" fmla="*/ 565 w 710"/>
                <a:gd name="T41" fmla="*/ 612 h 1100"/>
                <a:gd name="T42" fmla="*/ 593 w 710"/>
                <a:gd name="T43" fmla="*/ 693 h 1100"/>
                <a:gd name="T44" fmla="*/ 550 w 710"/>
                <a:gd name="T45" fmla="*/ 653 h 1100"/>
                <a:gd name="T46" fmla="*/ 510 w 710"/>
                <a:gd name="T47" fmla="*/ 597 h 1100"/>
                <a:gd name="T48" fmla="*/ 550 w 710"/>
                <a:gd name="T49" fmla="*/ 571 h 1100"/>
                <a:gd name="T50" fmla="*/ 569 w 710"/>
                <a:gd name="T51" fmla="*/ 508 h 1100"/>
                <a:gd name="T52" fmla="*/ 325 w 710"/>
                <a:gd name="T53" fmla="*/ 563 h 1100"/>
                <a:gd name="T54" fmla="*/ 421 w 710"/>
                <a:gd name="T55" fmla="*/ 589 h 1100"/>
                <a:gd name="T56" fmla="*/ 392 w 710"/>
                <a:gd name="T57" fmla="*/ 661 h 1100"/>
                <a:gd name="T58" fmla="*/ 341 w 710"/>
                <a:gd name="T59" fmla="*/ 647 h 1100"/>
                <a:gd name="T60" fmla="*/ 325 w 710"/>
                <a:gd name="T61" fmla="*/ 563 h 1100"/>
                <a:gd name="T62" fmla="*/ 0 w 710"/>
                <a:gd name="T63" fmla="*/ 863 h 1100"/>
                <a:gd name="T64" fmla="*/ 82 w 710"/>
                <a:gd name="T65" fmla="*/ 751 h 1100"/>
                <a:gd name="T66" fmla="*/ 153 w 710"/>
                <a:gd name="T67" fmla="*/ 607 h 1100"/>
                <a:gd name="T68" fmla="*/ 128 w 710"/>
                <a:gd name="T69" fmla="*/ 724 h 1100"/>
                <a:gd name="T70" fmla="*/ 497 w 710"/>
                <a:gd name="T71" fmla="*/ 700 h 1100"/>
                <a:gd name="T72" fmla="*/ 454 w 710"/>
                <a:gd name="T73" fmla="*/ 782 h 1100"/>
                <a:gd name="T74" fmla="*/ 381 w 710"/>
                <a:gd name="T75" fmla="*/ 748 h 1100"/>
                <a:gd name="T76" fmla="*/ 411 w 710"/>
                <a:gd name="T77" fmla="*/ 702 h 1100"/>
                <a:gd name="T78" fmla="*/ 455 w 710"/>
                <a:gd name="T79" fmla="*/ 644 h 1100"/>
                <a:gd name="T80" fmla="*/ 496 w 710"/>
                <a:gd name="T81" fmla="*/ 619 h 1100"/>
                <a:gd name="T82" fmla="*/ 690 w 710"/>
                <a:gd name="T83" fmla="*/ 859 h 1100"/>
                <a:gd name="T84" fmla="*/ 710 w 710"/>
                <a:gd name="T85" fmla="*/ 963 h 1100"/>
                <a:gd name="T86" fmla="*/ 657 w 710"/>
                <a:gd name="T87" fmla="*/ 954 h 1100"/>
                <a:gd name="T88" fmla="*/ 652 w 710"/>
                <a:gd name="T89" fmla="*/ 1060 h 1100"/>
                <a:gd name="T90" fmla="*/ 542 w 710"/>
                <a:gd name="T91" fmla="*/ 1051 h 1100"/>
                <a:gd name="T92" fmla="*/ 537 w 710"/>
                <a:gd name="T93" fmla="*/ 949 h 1100"/>
                <a:gd name="T94" fmla="*/ 466 w 710"/>
                <a:gd name="T95" fmla="*/ 944 h 1100"/>
                <a:gd name="T96" fmla="*/ 378 w 710"/>
                <a:gd name="T97" fmla="*/ 988 h 1100"/>
                <a:gd name="T98" fmla="*/ 388 w 710"/>
                <a:gd name="T99" fmla="*/ 891 h 1100"/>
                <a:gd name="T100" fmla="*/ 472 w 710"/>
                <a:gd name="T101" fmla="*/ 835 h 1100"/>
                <a:gd name="T102" fmla="*/ 557 w 710"/>
                <a:gd name="T103" fmla="*/ 850 h 1100"/>
                <a:gd name="T104" fmla="*/ 619 w 710"/>
                <a:gd name="T105" fmla="*/ 810 h 1100"/>
                <a:gd name="T106" fmla="*/ 673 w 710"/>
                <a:gd name="T107" fmla="*/ 785 h 1100"/>
                <a:gd name="T108" fmla="*/ 690 w 710"/>
                <a:gd name="T109" fmla="*/ 859 h 1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10" h="1100">
                  <a:moveTo>
                    <a:pt x="202" y="0"/>
                  </a:moveTo>
                  <a:lnTo>
                    <a:pt x="252" y="24"/>
                  </a:lnTo>
                  <a:lnTo>
                    <a:pt x="271" y="2"/>
                  </a:lnTo>
                  <a:lnTo>
                    <a:pt x="282" y="24"/>
                  </a:lnTo>
                  <a:lnTo>
                    <a:pt x="276" y="59"/>
                  </a:lnTo>
                  <a:lnTo>
                    <a:pt x="311" y="120"/>
                  </a:lnTo>
                  <a:lnTo>
                    <a:pt x="303" y="191"/>
                  </a:lnTo>
                  <a:lnTo>
                    <a:pt x="264" y="219"/>
                  </a:lnTo>
                  <a:lnTo>
                    <a:pt x="262" y="288"/>
                  </a:lnTo>
                  <a:lnTo>
                    <a:pt x="288" y="355"/>
                  </a:lnTo>
                  <a:lnTo>
                    <a:pt x="329" y="365"/>
                  </a:lnTo>
                  <a:lnTo>
                    <a:pt x="361" y="355"/>
                  </a:lnTo>
                  <a:lnTo>
                    <a:pt x="460" y="402"/>
                  </a:lnTo>
                  <a:lnTo>
                    <a:pt x="459" y="448"/>
                  </a:lnTo>
                  <a:lnTo>
                    <a:pt x="486" y="469"/>
                  </a:lnTo>
                  <a:lnTo>
                    <a:pt x="483" y="508"/>
                  </a:lnTo>
                  <a:lnTo>
                    <a:pt x="420" y="466"/>
                  </a:lnTo>
                  <a:lnTo>
                    <a:pt x="387" y="421"/>
                  </a:lnTo>
                  <a:lnTo>
                    <a:pt x="371" y="453"/>
                  </a:lnTo>
                  <a:lnTo>
                    <a:pt x="317" y="402"/>
                  </a:lnTo>
                  <a:lnTo>
                    <a:pt x="251" y="414"/>
                  </a:lnTo>
                  <a:lnTo>
                    <a:pt x="212" y="395"/>
                  </a:lnTo>
                  <a:lnTo>
                    <a:pt x="211" y="360"/>
                  </a:lnTo>
                  <a:lnTo>
                    <a:pt x="231" y="339"/>
                  </a:lnTo>
                  <a:lnTo>
                    <a:pt x="206" y="319"/>
                  </a:lnTo>
                  <a:lnTo>
                    <a:pt x="201" y="350"/>
                  </a:lnTo>
                  <a:lnTo>
                    <a:pt x="157" y="301"/>
                  </a:lnTo>
                  <a:lnTo>
                    <a:pt x="141" y="264"/>
                  </a:lnTo>
                  <a:lnTo>
                    <a:pt x="126" y="182"/>
                  </a:lnTo>
                  <a:lnTo>
                    <a:pt x="160" y="210"/>
                  </a:lnTo>
                  <a:lnTo>
                    <a:pt x="146" y="77"/>
                  </a:lnTo>
                  <a:lnTo>
                    <a:pt x="157" y="0"/>
                  </a:lnTo>
                  <a:lnTo>
                    <a:pt x="202" y="0"/>
                  </a:lnTo>
                  <a:moveTo>
                    <a:pt x="287" y="463"/>
                  </a:moveTo>
                  <a:lnTo>
                    <a:pt x="276" y="536"/>
                  </a:lnTo>
                  <a:lnTo>
                    <a:pt x="239" y="494"/>
                  </a:lnTo>
                  <a:lnTo>
                    <a:pt x="193" y="429"/>
                  </a:lnTo>
                  <a:lnTo>
                    <a:pt x="257" y="432"/>
                  </a:lnTo>
                  <a:lnTo>
                    <a:pt x="287" y="463"/>
                  </a:lnTo>
                  <a:moveTo>
                    <a:pt x="594" y="540"/>
                  </a:moveTo>
                  <a:lnTo>
                    <a:pt x="625" y="635"/>
                  </a:lnTo>
                  <a:lnTo>
                    <a:pt x="565" y="612"/>
                  </a:lnTo>
                  <a:lnTo>
                    <a:pt x="570" y="641"/>
                  </a:lnTo>
                  <a:lnTo>
                    <a:pt x="593" y="693"/>
                  </a:lnTo>
                  <a:lnTo>
                    <a:pt x="559" y="712"/>
                  </a:lnTo>
                  <a:lnTo>
                    <a:pt x="550" y="653"/>
                  </a:lnTo>
                  <a:lnTo>
                    <a:pt x="527" y="648"/>
                  </a:lnTo>
                  <a:lnTo>
                    <a:pt x="510" y="597"/>
                  </a:lnTo>
                  <a:lnTo>
                    <a:pt x="555" y="603"/>
                  </a:lnTo>
                  <a:lnTo>
                    <a:pt x="550" y="571"/>
                  </a:lnTo>
                  <a:lnTo>
                    <a:pt x="497" y="506"/>
                  </a:lnTo>
                  <a:lnTo>
                    <a:pt x="569" y="508"/>
                  </a:lnTo>
                  <a:lnTo>
                    <a:pt x="594" y="540"/>
                  </a:lnTo>
                  <a:moveTo>
                    <a:pt x="325" y="563"/>
                  </a:moveTo>
                  <a:lnTo>
                    <a:pt x="373" y="589"/>
                  </a:lnTo>
                  <a:lnTo>
                    <a:pt x="421" y="589"/>
                  </a:lnTo>
                  <a:lnTo>
                    <a:pt x="423" y="625"/>
                  </a:lnTo>
                  <a:lnTo>
                    <a:pt x="392" y="661"/>
                  </a:lnTo>
                  <a:lnTo>
                    <a:pt x="347" y="686"/>
                  </a:lnTo>
                  <a:lnTo>
                    <a:pt x="341" y="647"/>
                  </a:lnTo>
                  <a:lnTo>
                    <a:pt x="341" y="603"/>
                  </a:lnTo>
                  <a:lnTo>
                    <a:pt x="325" y="563"/>
                  </a:lnTo>
                  <a:moveTo>
                    <a:pt x="94" y="782"/>
                  </a:moveTo>
                  <a:lnTo>
                    <a:pt x="0" y="863"/>
                  </a:lnTo>
                  <a:lnTo>
                    <a:pt x="32" y="803"/>
                  </a:lnTo>
                  <a:lnTo>
                    <a:pt x="82" y="751"/>
                  </a:lnTo>
                  <a:lnTo>
                    <a:pt x="122" y="692"/>
                  </a:lnTo>
                  <a:lnTo>
                    <a:pt x="153" y="607"/>
                  </a:lnTo>
                  <a:lnTo>
                    <a:pt x="173" y="677"/>
                  </a:lnTo>
                  <a:lnTo>
                    <a:pt x="128" y="724"/>
                  </a:lnTo>
                  <a:lnTo>
                    <a:pt x="94" y="782"/>
                  </a:lnTo>
                  <a:moveTo>
                    <a:pt x="497" y="700"/>
                  </a:moveTo>
                  <a:lnTo>
                    <a:pt x="473" y="728"/>
                  </a:lnTo>
                  <a:lnTo>
                    <a:pt x="454" y="782"/>
                  </a:lnTo>
                  <a:lnTo>
                    <a:pt x="433" y="807"/>
                  </a:lnTo>
                  <a:lnTo>
                    <a:pt x="381" y="748"/>
                  </a:lnTo>
                  <a:lnTo>
                    <a:pt x="395" y="726"/>
                  </a:lnTo>
                  <a:lnTo>
                    <a:pt x="411" y="702"/>
                  </a:lnTo>
                  <a:lnTo>
                    <a:pt x="414" y="649"/>
                  </a:lnTo>
                  <a:lnTo>
                    <a:pt x="455" y="644"/>
                  </a:lnTo>
                  <a:lnTo>
                    <a:pt x="449" y="701"/>
                  </a:lnTo>
                  <a:lnTo>
                    <a:pt x="496" y="619"/>
                  </a:lnTo>
                  <a:lnTo>
                    <a:pt x="497" y="700"/>
                  </a:lnTo>
                  <a:moveTo>
                    <a:pt x="690" y="859"/>
                  </a:moveTo>
                  <a:lnTo>
                    <a:pt x="702" y="916"/>
                  </a:lnTo>
                  <a:lnTo>
                    <a:pt x="710" y="963"/>
                  </a:lnTo>
                  <a:lnTo>
                    <a:pt x="690" y="1041"/>
                  </a:lnTo>
                  <a:lnTo>
                    <a:pt x="657" y="954"/>
                  </a:lnTo>
                  <a:lnTo>
                    <a:pt x="624" y="998"/>
                  </a:lnTo>
                  <a:lnTo>
                    <a:pt x="652" y="1060"/>
                  </a:lnTo>
                  <a:lnTo>
                    <a:pt x="633" y="1100"/>
                  </a:lnTo>
                  <a:lnTo>
                    <a:pt x="542" y="1051"/>
                  </a:lnTo>
                  <a:lnTo>
                    <a:pt x="517" y="989"/>
                  </a:lnTo>
                  <a:lnTo>
                    <a:pt x="537" y="949"/>
                  </a:lnTo>
                  <a:lnTo>
                    <a:pt x="487" y="908"/>
                  </a:lnTo>
                  <a:lnTo>
                    <a:pt x="466" y="944"/>
                  </a:lnTo>
                  <a:lnTo>
                    <a:pt x="430" y="940"/>
                  </a:lnTo>
                  <a:lnTo>
                    <a:pt x="378" y="988"/>
                  </a:lnTo>
                  <a:lnTo>
                    <a:pt x="364" y="963"/>
                  </a:lnTo>
                  <a:lnTo>
                    <a:pt x="388" y="891"/>
                  </a:lnTo>
                  <a:lnTo>
                    <a:pt x="433" y="867"/>
                  </a:lnTo>
                  <a:lnTo>
                    <a:pt x="472" y="835"/>
                  </a:lnTo>
                  <a:lnTo>
                    <a:pt x="501" y="874"/>
                  </a:lnTo>
                  <a:lnTo>
                    <a:pt x="557" y="850"/>
                  </a:lnTo>
                  <a:lnTo>
                    <a:pt x="566" y="812"/>
                  </a:lnTo>
                  <a:lnTo>
                    <a:pt x="619" y="810"/>
                  </a:lnTo>
                  <a:lnTo>
                    <a:pt x="608" y="744"/>
                  </a:lnTo>
                  <a:lnTo>
                    <a:pt x="673" y="785"/>
                  </a:lnTo>
                  <a:lnTo>
                    <a:pt x="683" y="828"/>
                  </a:lnTo>
                  <a:lnTo>
                    <a:pt x="690" y="85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90" name="Freeform 147">
              <a:extLst>
                <a:ext uri="{FF2B5EF4-FFF2-40B4-BE49-F238E27FC236}">
                  <a16:creationId xmlns:a16="http://schemas.microsoft.com/office/drawing/2014/main" id="{121319EA-0339-4DBC-B56F-F0EA00C85AB8}"/>
                </a:ext>
              </a:extLst>
            </p:cNvPr>
            <p:cNvSpPr>
              <a:spLocks/>
            </p:cNvSpPr>
            <p:nvPr/>
          </p:nvSpPr>
          <p:spPr bwMode="auto">
            <a:xfrm>
              <a:off x="7934300" y="3012065"/>
              <a:ext cx="33864" cy="50796"/>
            </a:xfrm>
            <a:custGeom>
              <a:avLst/>
              <a:gdLst>
                <a:gd name="T0" fmla="*/ 23 w 26"/>
                <a:gd name="T1" fmla="*/ 37 h 39"/>
                <a:gd name="T2" fmla="*/ 18 w 26"/>
                <a:gd name="T3" fmla="*/ 39 h 39"/>
                <a:gd name="T4" fmla="*/ 10 w 26"/>
                <a:gd name="T5" fmla="*/ 31 h 39"/>
                <a:gd name="T6" fmla="*/ 3 w 26"/>
                <a:gd name="T7" fmla="*/ 18 h 39"/>
                <a:gd name="T8" fmla="*/ 0 w 26"/>
                <a:gd name="T9" fmla="*/ 2 h 39"/>
                <a:gd name="T10" fmla="*/ 3 w 26"/>
                <a:gd name="T11" fmla="*/ 0 h 39"/>
                <a:gd name="T12" fmla="*/ 5 w 26"/>
                <a:gd name="T13" fmla="*/ 6 h 39"/>
                <a:gd name="T14" fmla="*/ 10 w 26"/>
                <a:gd name="T15" fmla="*/ 11 h 39"/>
                <a:gd name="T16" fmla="*/ 18 w 26"/>
                <a:gd name="T17" fmla="*/ 24 h 39"/>
                <a:gd name="T18" fmla="*/ 26 w 26"/>
                <a:gd name="T19" fmla="*/ 31 h 39"/>
                <a:gd name="T20" fmla="*/ 23 w 26"/>
                <a:gd name="T21" fmla="*/ 37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39">
                  <a:moveTo>
                    <a:pt x="23" y="37"/>
                  </a:moveTo>
                  <a:lnTo>
                    <a:pt x="18" y="39"/>
                  </a:lnTo>
                  <a:lnTo>
                    <a:pt x="10" y="31"/>
                  </a:lnTo>
                  <a:lnTo>
                    <a:pt x="3" y="18"/>
                  </a:lnTo>
                  <a:lnTo>
                    <a:pt x="0" y="2"/>
                  </a:lnTo>
                  <a:lnTo>
                    <a:pt x="3" y="0"/>
                  </a:lnTo>
                  <a:lnTo>
                    <a:pt x="5" y="6"/>
                  </a:lnTo>
                  <a:lnTo>
                    <a:pt x="10" y="11"/>
                  </a:lnTo>
                  <a:lnTo>
                    <a:pt x="18" y="24"/>
                  </a:lnTo>
                  <a:lnTo>
                    <a:pt x="26" y="31"/>
                  </a:lnTo>
                  <a:lnTo>
                    <a:pt x="23" y="3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91" name="Freeform 148">
              <a:extLst>
                <a:ext uri="{FF2B5EF4-FFF2-40B4-BE49-F238E27FC236}">
                  <a16:creationId xmlns:a16="http://schemas.microsoft.com/office/drawing/2014/main" id="{7DCABCDA-108B-49FC-AEBA-56383BCFE234}"/>
                </a:ext>
              </a:extLst>
            </p:cNvPr>
            <p:cNvSpPr>
              <a:spLocks/>
            </p:cNvSpPr>
            <p:nvPr/>
          </p:nvSpPr>
          <p:spPr bwMode="auto">
            <a:xfrm>
              <a:off x="7785819" y="2988620"/>
              <a:ext cx="97685" cy="58611"/>
            </a:xfrm>
            <a:custGeom>
              <a:avLst/>
              <a:gdLst>
                <a:gd name="T0" fmla="*/ 68 w 75"/>
                <a:gd name="T1" fmla="*/ 27 h 45"/>
                <a:gd name="T2" fmla="*/ 58 w 75"/>
                <a:gd name="T3" fmla="*/ 29 h 45"/>
                <a:gd name="T4" fmla="*/ 54 w 75"/>
                <a:gd name="T5" fmla="*/ 35 h 45"/>
                <a:gd name="T6" fmla="*/ 44 w 75"/>
                <a:gd name="T7" fmla="*/ 40 h 45"/>
                <a:gd name="T8" fmla="*/ 34 w 75"/>
                <a:gd name="T9" fmla="*/ 45 h 45"/>
                <a:gd name="T10" fmla="*/ 25 w 75"/>
                <a:gd name="T11" fmla="*/ 45 h 45"/>
                <a:gd name="T12" fmla="*/ 10 w 75"/>
                <a:gd name="T13" fmla="*/ 39 h 45"/>
                <a:gd name="T14" fmla="*/ 0 w 75"/>
                <a:gd name="T15" fmla="*/ 33 h 45"/>
                <a:gd name="T16" fmla="*/ 2 w 75"/>
                <a:gd name="T17" fmla="*/ 26 h 45"/>
                <a:gd name="T18" fmla="*/ 18 w 75"/>
                <a:gd name="T19" fmla="*/ 29 h 45"/>
                <a:gd name="T20" fmla="*/ 28 w 75"/>
                <a:gd name="T21" fmla="*/ 28 h 45"/>
                <a:gd name="T22" fmla="*/ 31 w 75"/>
                <a:gd name="T23" fmla="*/ 18 h 45"/>
                <a:gd name="T24" fmla="*/ 34 w 75"/>
                <a:gd name="T25" fmla="*/ 17 h 45"/>
                <a:gd name="T26" fmla="*/ 35 w 75"/>
                <a:gd name="T27" fmla="*/ 28 h 45"/>
                <a:gd name="T28" fmla="*/ 46 w 75"/>
                <a:gd name="T29" fmla="*/ 27 h 45"/>
                <a:gd name="T30" fmla="*/ 51 w 75"/>
                <a:gd name="T31" fmla="*/ 20 h 45"/>
                <a:gd name="T32" fmla="*/ 62 w 75"/>
                <a:gd name="T33" fmla="*/ 12 h 45"/>
                <a:gd name="T34" fmla="*/ 61 w 75"/>
                <a:gd name="T35" fmla="*/ 0 h 45"/>
                <a:gd name="T36" fmla="*/ 72 w 75"/>
                <a:gd name="T37" fmla="*/ 0 h 45"/>
                <a:gd name="T38" fmla="*/ 75 w 75"/>
                <a:gd name="T39" fmla="*/ 3 h 45"/>
                <a:gd name="T40" fmla="*/ 74 w 75"/>
                <a:gd name="T41" fmla="*/ 15 h 45"/>
                <a:gd name="T42" fmla="*/ 68 w 75"/>
                <a:gd name="T43" fmla="*/ 2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45">
                  <a:moveTo>
                    <a:pt x="68" y="27"/>
                  </a:moveTo>
                  <a:lnTo>
                    <a:pt x="58" y="29"/>
                  </a:lnTo>
                  <a:lnTo>
                    <a:pt x="54" y="35"/>
                  </a:lnTo>
                  <a:lnTo>
                    <a:pt x="44" y="40"/>
                  </a:lnTo>
                  <a:lnTo>
                    <a:pt x="34" y="45"/>
                  </a:lnTo>
                  <a:lnTo>
                    <a:pt x="25" y="45"/>
                  </a:lnTo>
                  <a:lnTo>
                    <a:pt x="10" y="39"/>
                  </a:lnTo>
                  <a:lnTo>
                    <a:pt x="0" y="33"/>
                  </a:lnTo>
                  <a:lnTo>
                    <a:pt x="2" y="26"/>
                  </a:lnTo>
                  <a:lnTo>
                    <a:pt x="18" y="29"/>
                  </a:lnTo>
                  <a:lnTo>
                    <a:pt x="28" y="28"/>
                  </a:lnTo>
                  <a:lnTo>
                    <a:pt x="31" y="18"/>
                  </a:lnTo>
                  <a:lnTo>
                    <a:pt x="34" y="17"/>
                  </a:lnTo>
                  <a:lnTo>
                    <a:pt x="35" y="28"/>
                  </a:lnTo>
                  <a:lnTo>
                    <a:pt x="46" y="27"/>
                  </a:lnTo>
                  <a:lnTo>
                    <a:pt x="51" y="20"/>
                  </a:lnTo>
                  <a:lnTo>
                    <a:pt x="62" y="12"/>
                  </a:lnTo>
                  <a:lnTo>
                    <a:pt x="61" y="0"/>
                  </a:lnTo>
                  <a:lnTo>
                    <a:pt x="72" y="0"/>
                  </a:lnTo>
                  <a:lnTo>
                    <a:pt x="75" y="3"/>
                  </a:lnTo>
                  <a:lnTo>
                    <a:pt x="74" y="15"/>
                  </a:lnTo>
                  <a:lnTo>
                    <a:pt x="68" y="2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92" name="Freeform 149">
              <a:extLst>
                <a:ext uri="{FF2B5EF4-FFF2-40B4-BE49-F238E27FC236}">
                  <a16:creationId xmlns:a16="http://schemas.microsoft.com/office/drawing/2014/main" id="{A6EBA675-2163-44C8-9F67-6F02C7EDC0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4777" y="2945639"/>
              <a:ext cx="229233" cy="218813"/>
            </a:xfrm>
            <a:custGeom>
              <a:avLst/>
              <a:gdLst>
                <a:gd name="T0" fmla="*/ 116 w 176"/>
                <a:gd name="T1" fmla="*/ 100 h 168"/>
                <a:gd name="T2" fmla="*/ 131 w 176"/>
                <a:gd name="T3" fmla="*/ 114 h 168"/>
                <a:gd name="T4" fmla="*/ 141 w 176"/>
                <a:gd name="T5" fmla="*/ 136 h 168"/>
                <a:gd name="T6" fmla="*/ 151 w 176"/>
                <a:gd name="T7" fmla="*/ 135 h 168"/>
                <a:gd name="T8" fmla="*/ 149 w 176"/>
                <a:gd name="T9" fmla="*/ 144 h 168"/>
                <a:gd name="T10" fmla="*/ 163 w 176"/>
                <a:gd name="T11" fmla="*/ 148 h 168"/>
                <a:gd name="T12" fmla="*/ 157 w 176"/>
                <a:gd name="T13" fmla="*/ 151 h 168"/>
                <a:gd name="T14" fmla="*/ 176 w 176"/>
                <a:gd name="T15" fmla="*/ 160 h 168"/>
                <a:gd name="T16" fmla="*/ 173 w 176"/>
                <a:gd name="T17" fmla="*/ 166 h 168"/>
                <a:gd name="T18" fmla="*/ 161 w 176"/>
                <a:gd name="T19" fmla="*/ 168 h 168"/>
                <a:gd name="T20" fmla="*/ 157 w 176"/>
                <a:gd name="T21" fmla="*/ 162 h 168"/>
                <a:gd name="T22" fmla="*/ 141 w 176"/>
                <a:gd name="T23" fmla="*/ 160 h 168"/>
                <a:gd name="T24" fmla="*/ 123 w 176"/>
                <a:gd name="T25" fmla="*/ 157 h 168"/>
                <a:gd name="T26" fmla="*/ 111 w 176"/>
                <a:gd name="T27" fmla="*/ 144 h 168"/>
                <a:gd name="T28" fmla="*/ 101 w 176"/>
                <a:gd name="T29" fmla="*/ 132 h 168"/>
                <a:gd name="T30" fmla="*/ 93 w 176"/>
                <a:gd name="T31" fmla="*/ 114 h 168"/>
                <a:gd name="T32" fmla="*/ 70 w 176"/>
                <a:gd name="T33" fmla="*/ 105 h 168"/>
                <a:gd name="T34" fmla="*/ 54 w 176"/>
                <a:gd name="T35" fmla="*/ 111 h 168"/>
                <a:gd name="T36" fmla="*/ 43 w 176"/>
                <a:gd name="T37" fmla="*/ 118 h 168"/>
                <a:gd name="T38" fmla="*/ 43 w 176"/>
                <a:gd name="T39" fmla="*/ 133 h 168"/>
                <a:gd name="T40" fmla="*/ 28 w 176"/>
                <a:gd name="T41" fmla="*/ 140 h 168"/>
                <a:gd name="T42" fmla="*/ 19 w 176"/>
                <a:gd name="T43" fmla="*/ 137 h 168"/>
                <a:gd name="T44" fmla="*/ 0 w 176"/>
                <a:gd name="T45" fmla="*/ 136 h 168"/>
                <a:gd name="T46" fmla="*/ 5 w 176"/>
                <a:gd name="T47" fmla="*/ 68 h 168"/>
                <a:gd name="T48" fmla="*/ 7 w 176"/>
                <a:gd name="T49" fmla="*/ 0 h 168"/>
                <a:gd name="T50" fmla="*/ 39 w 176"/>
                <a:gd name="T51" fmla="*/ 15 h 168"/>
                <a:gd name="T52" fmla="*/ 72 w 176"/>
                <a:gd name="T53" fmla="*/ 27 h 168"/>
                <a:gd name="T54" fmla="*/ 84 w 176"/>
                <a:gd name="T55" fmla="*/ 37 h 168"/>
                <a:gd name="T56" fmla="*/ 94 w 176"/>
                <a:gd name="T57" fmla="*/ 48 h 168"/>
                <a:gd name="T58" fmla="*/ 96 w 176"/>
                <a:gd name="T59" fmla="*/ 60 h 168"/>
                <a:gd name="T60" fmla="*/ 126 w 176"/>
                <a:gd name="T61" fmla="*/ 73 h 168"/>
                <a:gd name="T62" fmla="*/ 130 w 176"/>
                <a:gd name="T63" fmla="*/ 84 h 168"/>
                <a:gd name="T64" fmla="*/ 113 w 176"/>
                <a:gd name="T65" fmla="*/ 86 h 168"/>
                <a:gd name="T66" fmla="*/ 116 w 176"/>
                <a:gd name="T67" fmla="*/ 10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76" h="168">
                  <a:moveTo>
                    <a:pt x="116" y="100"/>
                  </a:moveTo>
                  <a:lnTo>
                    <a:pt x="131" y="114"/>
                  </a:lnTo>
                  <a:lnTo>
                    <a:pt x="141" y="136"/>
                  </a:lnTo>
                  <a:lnTo>
                    <a:pt x="151" y="135"/>
                  </a:lnTo>
                  <a:lnTo>
                    <a:pt x="149" y="144"/>
                  </a:lnTo>
                  <a:lnTo>
                    <a:pt x="163" y="148"/>
                  </a:lnTo>
                  <a:lnTo>
                    <a:pt x="157" y="151"/>
                  </a:lnTo>
                  <a:lnTo>
                    <a:pt x="176" y="160"/>
                  </a:lnTo>
                  <a:lnTo>
                    <a:pt x="173" y="166"/>
                  </a:lnTo>
                  <a:lnTo>
                    <a:pt x="161" y="168"/>
                  </a:lnTo>
                  <a:lnTo>
                    <a:pt x="157" y="162"/>
                  </a:lnTo>
                  <a:lnTo>
                    <a:pt x="141" y="160"/>
                  </a:lnTo>
                  <a:lnTo>
                    <a:pt x="123" y="157"/>
                  </a:lnTo>
                  <a:lnTo>
                    <a:pt x="111" y="144"/>
                  </a:lnTo>
                  <a:lnTo>
                    <a:pt x="101" y="132"/>
                  </a:lnTo>
                  <a:lnTo>
                    <a:pt x="93" y="114"/>
                  </a:lnTo>
                  <a:lnTo>
                    <a:pt x="70" y="105"/>
                  </a:lnTo>
                  <a:lnTo>
                    <a:pt x="54" y="111"/>
                  </a:lnTo>
                  <a:lnTo>
                    <a:pt x="43" y="118"/>
                  </a:lnTo>
                  <a:lnTo>
                    <a:pt x="43" y="133"/>
                  </a:lnTo>
                  <a:lnTo>
                    <a:pt x="28" y="140"/>
                  </a:lnTo>
                  <a:lnTo>
                    <a:pt x="19" y="137"/>
                  </a:lnTo>
                  <a:lnTo>
                    <a:pt x="0" y="136"/>
                  </a:lnTo>
                  <a:lnTo>
                    <a:pt x="5" y="68"/>
                  </a:lnTo>
                  <a:lnTo>
                    <a:pt x="7" y="0"/>
                  </a:lnTo>
                  <a:lnTo>
                    <a:pt x="39" y="15"/>
                  </a:lnTo>
                  <a:lnTo>
                    <a:pt x="72" y="27"/>
                  </a:lnTo>
                  <a:lnTo>
                    <a:pt x="84" y="37"/>
                  </a:lnTo>
                  <a:lnTo>
                    <a:pt x="94" y="48"/>
                  </a:lnTo>
                  <a:lnTo>
                    <a:pt x="96" y="60"/>
                  </a:lnTo>
                  <a:lnTo>
                    <a:pt x="126" y="73"/>
                  </a:lnTo>
                  <a:lnTo>
                    <a:pt x="130" y="84"/>
                  </a:lnTo>
                  <a:lnTo>
                    <a:pt x="113" y="86"/>
                  </a:lnTo>
                  <a:lnTo>
                    <a:pt x="116" y="10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93" name="Freeform 150">
              <a:extLst>
                <a:ext uri="{FF2B5EF4-FFF2-40B4-BE49-F238E27FC236}">
                  <a16:creationId xmlns:a16="http://schemas.microsoft.com/office/drawing/2014/main" id="{15F5674E-85EF-4D72-8C3E-6DCBE9DB2556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5733" y="2943034"/>
              <a:ext cx="57308" cy="61216"/>
            </a:xfrm>
            <a:custGeom>
              <a:avLst/>
              <a:gdLst>
                <a:gd name="T0" fmla="*/ 44 w 44"/>
                <a:gd name="T1" fmla="*/ 42 h 47"/>
                <a:gd name="T2" fmla="*/ 38 w 44"/>
                <a:gd name="T3" fmla="*/ 47 h 47"/>
                <a:gd name="T4" fmla="*/ 35 w 44"/>
                <a:gd name="T5" fmla="*/ 35 h 47"/>
                <a:gd name="T6" fmla="*/ 31 w 44"/>
                <a:gd name="T7" fmla="*/ 27 h 47"/>
                <a:gd name="T8" fmla="*/ 23 w 44"/>
                <a:gd name="T9" fmla="*/ 20 h 47"/>
                <a:gd name="T10" fmla="*/ 13 w 44"/>
                <a:gd name="T11" fmla="*/ 11 h 47"/>
                <a:gd name="T12" fmla="*/ 0 w 44"/>
                <a:gd name="T13" fmla="*/ 5 h 47"/>
                <a:gd name="T14" fmla="*/ 5 w 44"/>
                <a:gd name="T15" fmla="*/ 0 h 47"/>
                <a:gd name="T16" fmla="*/ 15 w 44"/>
                <a:gd name="T17" fmla="*/ 6 h 47"/>
                <a:gd name="T18" fmla="*/ 21 w 44"/>
                <a:gd name="T19" fmla="*/ 11 h 47"/>
                <a:gd name="T20" fmla="*/ 28 w 44"/>
                <a:gd name="T21" fmla="*/ 16 h 47"/>
                <a:gd name="T22" fmla="*/ 35 w 44"/>
                <a:gd name="T23" fmla="*/ 24 h 47"/>
                <a:gd name="T24" fmla="*/ 42 w 44"/>
                <a:gd name="T25" fmla="*/ 31 h 47"/>
                <a:gd name="T26" fmla="*/ 44 w 44"/>
                <a:gd name="T27" fmla="*/ 4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47">
                  <a:moveTo>
                    <a:pt x="44" y="42"/>
                  </a:moveTo>
                  <a:lnTo>
                    <a:pt x="38" y="47"/>
                  </a:lnTo>
                  <a:lnTo>
                    <a:pt x="35" y="35"/>
                  </a:lnTo>
                  <a:lnTo>
                    <a:pt x="31" y="27"/>
                  </a:lnTo>
                  <a:lnTo>
                    <a:pt x="23" y="20"/>
                  </a:lnTo>
                  <a:lnTo>
                    <a:pt x="13" y="11"/>
                  </a:lnTo>
                  <a:lnTo>
                    <a:pt x="0" y="5"/>
                  </a:lnTo>
                  <a:lnTo>
                    <a:pt x="5" y="0"/>
                  </a:lnTo>
                  <a:lnTo>
                    <a:pt x="15" y="6"/>
                  </a:lnTo>
                  <a:lnTo>
                    <a:pt x="21" y="11"/>
                  </a:lnTo>
                  <a:lnTo>
                    <a:pt x="28" y="16"/>
                  </a:lnTo>
                  <a:lnTo>
                    <a:pt x="35" y="24"/>
                  </a:lnTo>
                  <a:lnTo>
                    <a:pt x="42" y="31"/>
                  </a:lnTo>
                  <a:lnTo>
                    <a:pt x="44" y="4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94" name="Freeform 151">
              <a:extLst>
                <a:ext uri="{FF2B5EF4-FFF2-40B4-BE49-F238E27FC236}">
                  <a16:creationId xmlns:a16="http://schemas.microsoft.com/office/drawing/2014/main" id="{C95C9B5F-217C-4D1D-B068-16EE8CDE59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7065" y="1402224"/>
              <a:ext cx="210998" cy="152388"/>
            </a:xfrm>
            <a:custGeom>
              <a:avLst/>
              <a:gdLst>
                <a:gd name="T0" fmla="*/ 18 w 162"/>
                <a:gd name="T1" fmla="*/ 75 h 117"/>
                <a:gd name="T2" fmla="*/ 11 w 162"/>
                <a:gd name="T3" fmla="*/ 62 h 117"/>
                <a:gd name="T4" fmla="*/ 11 w 162"/>
                <a:gd name="T5" fmla="*/ 55 h 117"/>
                <a:gd name="T6" fmla="*/ 6 w 162"/>
                <a:gd name="T7" fmla="*/ 44 h 117"/>
                <a:gd name="T8" fmla="*/ 0 w 162"/>
                <a:gd name="T9" fmla="*/ 37 h 117"/>
                <a:gd name="T10" fmla="*/ 4 w 162"/>
                <a:gd name="T11" fmla="*/ 32 h 117"/>
                <a:gd name="T12" fmla="*/ 0 w 162"/>
                <a:gd name="T13" fmla="*/ 22 h 117"/>
                <a:gd name="T14" fmla="*/ 10 w 162"/>
                <a:gd name="T15" fmla="*/ 16 h 117"/>
                <a:gd name="T16" fmla="*/ 33 w 162"/>
                <a:gd name="T17" fmla="*/ 7 h 117"/>
                <a:gd name="T18" fmla="*/ 52 w 162"/>
                <a:gd name="T19" fmla="*/ 0 h 117"/>
                <a:gd name="T20" fmla="*/ 67 w 162"/>
                <a:gd name="T21" fmla="*/ 3 h 117"/>
                <a:gd name="T22" fmla="*/ 69 w 162"/>
                <a:gd name="T23" fmla="*/ 8 h 117"/>
                <a:gd name="T24" fmla="*/ 84 w 162"/>
                <a:gd name="T25" fmla="*/ 8 h 117"/>
                <a:gd name="T26" fmla="*/ 103 w 162"/>
                <a:gd name="T27" fmla="*/ 10 h 117"/>
                <a:gd name="T28" fmla="*/ 132 w 162"/>
                <a:gd name="T29" fmla="*/ 10 h 117"/>
                <a:gd name="T30" fmla="*/ 140 w 162"/>
                <a:gd name="T31" fmla="*/ 12 h 117"/>
                <a:gd name="T32" fmla="*/ 145 w 162"/>
                <a:gd name="T33" fmla="*/ 18 h 117"/>
                <a:gd name="T34" fmla="*/ 147 w 162"/>
                <a:gd name="T35" fmla="*/ 27 h 117"/>
                <a:gd name="T36" fmla="*/ 152 w 162"/>
                <a:gd name="T37" fmla="*/ 35 h 117"/>
                <a:gd name="T38" fmla="*/ 153 w 162"/>
                <a:gd name="T39" fmla="*/ 43 h 117"/>
                <a:gd name="T40" fmla="*/ 144 w 162"/>
                <a:gd name="T41" fmla="*/ 47 h 117"/>
                <a:gd name="T42" fmla="*/ 150 w 162"/>
                <a:gd name="T43" fmla="*/ 56 h 117"/>
                <a:gd name="T44" fmla="*/ 152 w 162"/>
                <a:gd name="T45" fmla="*/ 65 h 117"/>
                <a:gd name="T46" fmla="*/ 162 w 162"/>
                <a:gd name="T47" fmla="*/ 83 h 117"/>
                <a:gd name="T48" fmla="*/ 161 w 162"/>
                <a:gd name="T49" fmla="*/ 89 h 117"/>
                <a:gd name="T50" fmla="*/ 154 w 162"/>
                <a:gd name="T51" fmla="*/ 91 h 117"/>
                <a:gd name="T52" fmla="*/ 141 w 162"/>
                <a:gd name="T53" fmla="*/ 108 h 117"/>
                <a:gd name="T54" fmla="*/ 146 w 162"/>
                <a:gd name="T55" fmla="*/ 117 h 117"/>
                <a:gd name="T56" fmla="*/ 143 w 162"/>
                <a:gd name="T57" fmla="*/ 116 h 117"/>
                <a:gd name="T58" fmla="*/ 127 w 162"/>
                <a:gd name="T59" fmla="*/ 108 h 117"/>
                <a:gd name="T60" fmla="*/ 115 w 162"/>
                <a:gd name="T61" fmla="*/ 110 h 117"/>
                <a:gd name="T62" fmla="*/ 107 w 162"/>
                <a:gd name="T63" fmla="*/ 109 h 117"/>
                <a:gd name="T64" fmla="*/ 98 w 162"/>
                <a:gd name="T65" fmla="*/ 113 h 117"/>
                <a:gd name="T66" fmla="*/ 90 w 162"/>
                <a:gd name="T67" fmla="*/ 106 h 117"/>
                <a:gd name="T68" fmla="*/ 83 w 162"/>
                <a:gd name="T69" fmla="*/ 109 h 117"/>
                <a:gd name="T70" fmla="*/ 82 w 162"/>
                <a:gd name="T71" fmla="*/ 107 h 117"/>
                <a:gd name="T72" fmla="*/ 74 w 162"/>
                <a:gd name="T73" fmla="*/ 97 h 117"/>
                <a:gd name="T74" fmla="*/ 62 w 162"/>
                <a:gd name="T75" fmla="*/ 96 h 117"/>
                <a:gd name="T76" fmla="*/ 60 w 162"/>
                <a:gd name="T77" fmla="*/ 90 h 117"/>
                <a:gd name="T78" fmla="*/ 49 w 162"/>
                <a:gd name="T79" fmla="*/ 88 h 117"/>
                <a:gd name="T80" fmla="*/ 47 w 162"/>
                <a:gd name="T81" fmla="*/ 93 h 117"/>
                <a:gd name="T82" fmla="*/ 38 w 162"/>
                <a:gd name="T83" fmla="*/ 89 h 117"/>
                <a:gd name="T84" fmla="*/ 38 w 162"/>
                <a:gd name="T85" fmla="*/ 83 h 117"/>
                <a:gd name="T86" fmla="*/ 26 w 162"/>
                <a:gd name="T87" fmla="*/ 81 h 117"/>
                <a:gd name="T88" fmla="*/ 18 w 162"/>
                <a:gd name="T89" fmla="*/ 75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62" h="117">
                  <a:moveTo>
                    <a:pt x="18" y="75"/>
                  </a:moveTo>
                  <a:lnTo>
                    <a:pt x="11" y="62"/>
                  </a:lnTo>
                  <a:lnTo>
                    <a:pt x="11" y="55"/>
                  </a:lnTo>
                  <a:lnTo>
                    <a:pt x="6" y="44"/>
                  </a:lnTo>
                  <a:lnTo>
                    <a:pt x="0" y="37"/>
                  </a:lnTo>
                  <a:lnTo>
                    <a:pt x="4" y="32"/>
                  </a:lnTo>
                  <a:lnTo>
                    <a:pt x="0" y="22"/>
                  </a:lnTo>
                  <a:lnTo>
                    <a:pt x="10" y="16"/>
                  </a:lnTo>
                  <a:lnTo>
                    <a:pt x="33" y="7"/>
                  </a:lnTo>
                  <a:lnTo>
                    <a:pt x="52" y="0"/>
                  </a:lnTo>
                  <a:lnTo>
                    <a:pt x="67" y="3"/>
                  </a:lnTo>
                  <a:lnTo>
                    <a:pt x="69" y="8"/>
                  </a:lnTo>
                  <a:lnTo>
                    <a:pt x="84" y="8"/>
                  </a:lnTo>
                  <a:lnTo>
                    <a:pt x="103" y="10"/>
                  </a:lnTo>
                  <a:lnTo>
                    <a:pt x="132" y="10"/>
                  </a:lnTo>
                  <a:lnTo>
                    <a:pt x="140" y="12"/>
                  </a:lnTo>
                  <a:lnTo>
                    <a:pt x="145" y="18"/>
                  </a:lnTo>
                  <a:lnTo>
                    <a:pt x="147" y="27"/>
                  </a:lnTo>
                  <a:lnTo>
                    <a:pt x="152" y="35"/>
                  </a:lnTo>
                  <a:lnTo>
                    <a:pt x="153" y="43"/>
                  </a:lnTo>
                  <a:lnTo>
                    <a:pt x="144" y="47"/>
                  </a:lnTo>
                  <a:lnTo>
                    <a:pt x="150" y="56"/>
                  </a:lnTo>
                  <a:lnTo>
                    <a:pt x="152" y="65"/>
                  </a:lnTo>
                  <a:lnTo>
                    <a:pt x="162" y="83"/>
                  </a:lnTo>
                  <a:lnTo>
                    <a:pt x="161" y="89"/>
                  </a:lnTo>
                  <a:lnTo>
                    <a:pt x="154" y="91"/>
                  </a:lnTo>
                  <a:lnTo>
                    <a:pt x="141" y="108"/>
                  </a:lnTo>
                  <a:lnTo>
                    <a:pt x="146" y="117"/>
                  </a:lnTo>
                  <a:lnTo>
                    <a:pt x="143" y="116"/>
                  </a:lnTo>
                  <a:lnTo>
                    <a:pt x="127" y="108"/>
                  </a:lnTo>
                  <a:lnTo>
                    <a:pt x="115" y="110"/>
                  </a:lnTo>
                  <a:lnTo>
                    <a:pt x="107" y="109"/>
                  </a:lnTo>
                  <a:lnTo>
                    <a:pt x="98" y="113"/>
                  </a:lnTo>
                  <a:lnTo>
                    <a:pt x="90" y="106"/>
                  </a:lnTo>
                  <a:lnTo>
                    <a:pt x="83" y="109"/>
                  </a:lnTo>
                  <a:lnTo>
                    <a:pt x="82" y="107"/>
                  </a:lnTo>
                  <a:lnTo>
                    <a:pt x="74" y="97"/>
                  </a:lnTo>
                  <a:lnTo>
                    <a:pt x="62" y="96"/>
                  </a:lnTo>
                  <a:lnTo>
                    <a:pt x="60" y="90"/>
                  </a:lnTo>
                  <a:lnTo>
                    <a:pt x="49" y="88"/>
                  </a:lnTo>
                  <a:lnTo>
                    <a:pt x="47" y="93"/>
                  </a:lnTo>
                  <a:lnTo>
                    <a:pt x="38" y="89"/>
                  </a:lnTo>
                  <a:lnTo>
                    <a:pt x="38" y="83"/>
                  </a:lnTo>
                  <a:lnTo>
                    <a:pt x="26" y="81"/>
                  </a:lnTo>
                  <a:lnTo>
                    <a:pt x="18" y="75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95" name="Freeform 152">
              <a:extLst>
                <a:ext uri="{FF2B5EF4-FFF2-40B4-BE49-F238E27FC236}">
                  <a16:creationId xmlns:a16="http://schemas.microsoft.com/office/drawing/2014/main" id="{9654EED4-2767-47FB-8AA7-FE03E9B6A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5430" y="2375161"/>
              <a:ext cx="39074" cy="14327"/>
            </a:xfrm>
            <a:custGeom>
              <a:avLst/>
              <a:gdLst>
                <a:gd name="T0" fmla="*/ 18 w 30"/>
                <a:gd name="T1" fmla="*/ 0 h 11"/>
                <a:gd name="T2" fmla="*/ 27 w 30"/>
                <a:gd name="T3" fmla="*/ 1 h 11"/>
                <a:gd name="T4" fmla="*/ 30 w 30"/>
                <a:gd name="T5" fmla="*/ 6 h 11"/>
                <a:gd name="T6" fmla="*/ 24 w 30"/>
                <a:gd name="T7" fmla="*/ 11 h 11"/>
                <a:gd name="T8" fmla="*/ 11 w 30"/>
                <a:gd name="T9" fmla="*/ 11 h 11"/>
                <a:gd name="T10" fmla="*/ 0 w 30"/>
                <a:gd name="T11" fmla="*/ 11 h 11"/>
                <a:gd name="T12" fmla="*/ 0 w 30"/>
                <a:gd name="T13" fmla="*/ 3 h 11"/>
                <a:gd name="T14" fmla="*/ 3 w 30"/>
                <a:gd name="T15" fmla="*/ 0 h 11"/>
                <a:gd name="T16" fmla="*/ 18 w 30"/>
                <a:gd name="T1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11">
                  <a:moveTo>
                    <a:pt x="18" y="0"/>
                  </a:moveTo>
                  <a:lnTo>
                    <a:pt x="27" y="1"/>
                  </a:lnTo>
                  <a:lnTo>
                    <a:pt x="30" y="6"/>
                  </a:lnTo>
                  <a:lnTo>
                    <a:pt x="24" y="11"/>
                  </a:lnTo>
                  <a:lnTo>
                    <a:pt x="11" y="11"/>
                  </a:lnTo>
                  <a:lnTo>
                    <a:pt x="0" y="11"/>
                  </a:lnTo>
                  <a:lnTo>
                    <a:pt x="0" y="3"/>
                  </a:lnTo>
                  <a:lnTo>
                    <a:pt x="3" y="0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96" name="Freeform 153">
              <a:extLst>
                <a:ext uri="{FF2B5EF4-FFF2-40B4-BE49-F238E27FC236}">
                  <a16:creationId xmlns:a16="http://schemas.microsoft.com/office/drawing/2014/main" id="{B0522C61-C162-4968-9F2C-0CE3087E2D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0899" y="1714814"/>
              <a:ext cx="110709" cy="143271"/>
            </a:xfrm>
            <a:custGeom>
              <a:avLst/>
              <a:gdLst>
                <a:gd name="T0" fmla="*/ 81 w 85"/>
                <a:gd name="T1" fmla="*/ 12 h 110"/>
                <a:gd name="T2" fmla="*/ 85 w 85"/>
                <a:gd name="T3" fmla="*/ 16 h 110"/>
                <a:gd name="T4" fmla="*/ 78 w 85"/>
                <a:gd name="T5" fmla="*/ 14 h 110"/>
                <a:gd name="T6" fmla="*/ 75 w 85"/>
                <a:gd name="T7" fmla="*/ 21 h 110"/>
                <a:gd name="T8" fmla="*/ 74 w 85"/>
                <a:gd name="T9" fmla="*/ 28 h 110"/>
                <a:gd name="T10" fmla="*/ 82 w 85"/>
                <a:gd name="T11" fmla="*/ 43 h 110"/>
                <a:gd name="T12" fmla="*/ 76 w 85"/>
                <a:gd name="T13" fmla="*/ 48 h 110"/>
                <a:gd name="T14" fmla="*/ 75 w 85"/>
                <a:gd name="T15" fmla="*/ 52 h 110"/>
                <a:gd name="T16" fmla="*/ 72 w 85"/>
                <a:gd name="T17" fmla="*/ 58 h 110"/>
                <a:gd name="T18" fmla="*/ 62 w 85"/>
                <a:gd name="T19" fmla="*/ 61 h 110"/>
                <a:gd name="T20" fmla="*/ 58 w 85"/>
                <a:gd name="T21" fmla="*/ 66 h 110"/>
                <a:gd name="T22" fmla="*/ 61 w 85"/>
                <a:gd name="T23" fmla="*/ 75 h 110"/>
                <a:gd name="T24" fmla="*/ 61 w 85"/>
                <a:gd name="T25" fmla="*/ 78 h 110"/>
                <a:gd name="T26" fmla="*/ 69 w 85"/>
                <a:gd name="T27" fmla="*/ 81 h 110"/>
                <a:gd name="T28" fmla="*/ 83 w 85"/>
                <a:gd name="T29" fmla="*/ 90 h 110"/>
                <a:gd name="T30" fmla="*/ 83 w 85"/>
                <a:gd name="T31" fmla="*/ 95 h 110"/>
                <a:gd name="T32" fmla="*/ 76 w 85"/>
                <a:gd name="T33" fmla="*/ 96 h 110"/>
                <a:gd name="T34" fmla="*/ 65 w 85"/>
                <a:gd name="T35" fmla="*/ 97 h 110"/>
                <a:gd name="T36" fmla="*/ 62 w 85"/>
                <a:gd name="T37" fmla="*/ 107 h 110"/>
                <a:gd name="T38" fmla="*/ 55 w 85"/>
                <a:gd name="T39" fmla="*/ 106 h 110"/>
                <a:gd name="T40" fmla="*/ 54 w 85"/>
                <a:gd name="T41" fmla="*/ 108 h 110"/>
                <a:gd name="T42" fmla="*/ 44 w 85"/>
                <a:gd name="T43" fmla="*/ 104 h 110"/>
                <a:gd name="T44" fmla="*/ 44 w 85"/>
                <a:gd name="T45" fmla="*/ 108 h 110"/>
                <a:gd name="T46" fmla="*/ 40 w 85"/>
                <a:gd name="T47" fmla="*/ 110 h 110"/>
                <a:gd name="T48" fmla="*/ 37 w 85"/>
                <a:gd name="T49" fmla="*/ 106 h 110"/>
                <a:gd name="T50" fmla="*/ 32 w 85"/>
                <a:gd name="T51" fmla="*/ 104 h 110"/>
                <a:gd name="T52" fmla="*/ 26 w 85"/>
                <a:gd name="T53" fmla="*/ 100 h 110"/>
                <a:gd name="T54" fmla="*/ 26 w 85"/>
                <a:gd name="T55" fmla="*/ 91 h 110"/>
                <a:gd name="T56" fmla="*/ 29 w 85"/>
                <a:gd name="T57" fmla="*/ 89 h 110"/>
                <a:gd name="T58" fmla="*/ 26 w 85"/>
                <a:gd name="T59" fmla="*/ 85 h 110"/>
                <a:gd name="T60" fmla="*/ 25 w 85"/>
                <a:gd name="T61" fmla="*/ 74 h 110"/>
                <a:gd name="T62" fmla="*/ 22 w 85"/>
                <a:gd name="T63" fmla="*/ 71 h 110"/>
                <a:gd name="T64" fmla="*/ 11 w 85"/>
                <a:gd name="T65" fmla="*/ 68 h 110"/>
                <a:gd name="T66" fmla="*/ 0 w 85"/>
                <a:gd name="T67" fmla="*/ 63 h 110"/>
                <a:gd name="T68" fmla="*/ 8 w 85"/>
                <a:gd name="T69" fmla="*/ 50 h 110"/>
                <a:gd name="T70" fmla="*/ 20 w 85"/>
                <a:gd name="T71" fmla="*/ 39 h 110"/>
                <a:gd name="T72" fmla="*/ 24 w 85"/>
                <a:gd name="T73" fmla="*/ 24 h 110"/>
                <a:gd name="T74" fmla="*/ 36 w 85"/>
                <a:gd name="T75" fmla="*/ 31 h 110"/>
                <a:gd name="T76" fmla="*/ 51 w 85"/>
                <a:gd name="T77" fmla="*/ 31 h 110"/>
                <a:gd name="T78" fmla="*/ 42 w 85"/>
                <a:gd name="T79" fmla="*/ 20 h 110"/>
                <a:gd name="T80" fmla="*/ 63 w 85"/>
                <a:gd name="T81" fmla="*/ 11 h 110"/>
                <a:gd name="T82" fmla="*/ 63 w 85"/>
                <a:gd name="T83" fmla="*/ 0 h 110"/>
                <a:gd name="T84" fmla="*/ 81 w 85"/>
                <a:gd name="T85" fmla="*/ 12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5" h="110">
                  <a:moveTo>
                    <a:pt x="81" y="12"/>
                  </a:moveTo>
                  <a:lnTo>
                    <a:pt x="85" y="16"/>
                  </a:lnTo>
                  <a:lnTo>
                    <a:pt x="78" y="14"/>
                  </a:lnTo>
                  <a:lnTo>
                    <a:pt x="75" y="21"/>
                  </a:lnTo>
                  <a:lnTo>
                    <a:pt x="74" y="28"/>
                  </a:lnTo>
                  <a:lnTo>
                    <a:pt x="82" y="43"/>
                  </a:lnTo>
                  <a:lnTo>
                    <a:pt x="76" y="48"/>
                  </a:lnTo>
                  <a:lnTo>
                    <a:pt x="75" y="52"/>
                  </a:lnTo>
                  <a:lnTo>
                    <a:pt x="72" y="58"/>
                  </a:lnTo>
                  <a:lnTo>
                    <a:pt x="62" y="61"/>
                  </a:lnTo>
                  <a:lnTo>
                    <a:pt x="58" y="66"/>
                  </a:lnTo>
                  <a:lnTo>
                    <a:pt x="61" y="75"/>
                  </a:lnTo>
                  <a:lnTo>
                    <a:pt x="61" y="78"/>
                  </a:lnTo>
                  <a:lnTo>
                    <a:pt x="69" y="81"/>
                  </a:lnTo>
                  <a:lnTo>
                    <a:pt x="83" y="90"/>
                  </a:lnTo>
                  <a:lnTo>
                    <a:pt x="83" y="95"/>
                  </a:lnTo>
                  <a:lnTo>
                    <a:pt x="76" y="96"/>
                  </a:lnTo>
                  <a:lnTo>
                    <a:pt x="65" y="97"/>
                  </a:lnTo>
                  <a:lnTo>
                    <a:pt x="62" y="107"/>
                  </a:lnTo>
                  <a:lnTo>
                    <a:pt x="55" y="106"/>
                  </a:lnTo>
                  <a:lnTo>
                    <a:pt x="54" y="108"/>
                  </a:lnTo>
                  <a:lnTo>
                    <a:pt x="44" y="104"/>
                  </a:lnTo>
                  <a:lnTo>
                    <a:pt x="44" y="108"/>
                  </a:lnTo>
                  <a:lnTo>
                    <a:pt x="40" y="110"/>
                  </a:lnTo>
                  <a:lnTo>
                    <a:pt x="37" y="106"/>
                  </a:lnTo>
                  <a:lnTo>
                    <a:pt x="32" y="104"/>
                  </a:lnTo>
                  <a:lnTo>
                    <a:pt x="26" y="100"/>
                  </a:lnTo>
                  <a:lnTo>
                    <a:pt x="26" y="91"/>
                  </a:lnTo>
                  <a:lnTo>
                    <a:pt x="29" y="89"/>
                  </a:lnTo>
                  <a:lnTo>
                    <a:pt x="26" y="85"/>
                  </a:lnTo>
                  <a:lnTo>
                    <a:pt x="25" y="74"/>
                  </a:lnTo>
                  <a:lnTo>
                    <a:pt x="22" y="71"/>
                  </a:lnTo>
                  <a:lnTo>
                    <a:pt x="11" y="68"/>
                  </a:lnTo>
                  <a:lnTo>
                    <a:pt x="0" y="63"/>
                  </a:lnTo>
                  <a:lnTo>
                    <a:pt x="8" y="50"/>
                  </a:lnTo>
                  <a:lnTo>
                    <a:pt x="20" y="39"/>
                  </a:lnTo>
                  <a:lnTo>
                    <a:pt x="24" y="24"/>
                  </a:lnTo>
                  <a:lnTo>
                    <a:pt x="36" y="31"/>
                  </a:lnTo>
                  <a:lnTo>
                    <a:pt x="51" y="31"/>
                  </a:lnTo>
                  <a:lnTo>
                    <a:pt x="42" y="20"/>
                  </a:lnTo>
                  <a:lnTo>
                    <a:pt x="63" y="11"/>
                  </a:lnTo>
                  <a:lnTo>
                    <a:pt x="63" y="0"/>
                  </a:lnTo>
                  <a:lnTo>
                    <a:pt x="81" y="1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97" name="Freeform 154">
              <a:extLst>
                <a:ext uri="{FF2B5EF4-FFF2-40B4-BE49-F238E27FC236}">
                  <a16:creationId xmlns:a16="http://schemas.microsoft.com/office/drawing/2014/main" id="{1AA36370-66D7-4BE1-9AF5-66D2864CDD8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9526" y="1733048"/>
              <a:ext cx="71636" cy="147178"/>
            </a:xfrm>
            <a:custGeom>
              <a:avLst/>
              <a:gdLst>
                <a:gd name="T0" fmla="*/ 11 w 55"/>
                <a:gd name="T1" fmla="*/ 9 h 113"/>
                <a:gd name="T2" fmla="*/ 17 w 55"/>
                <a:gd name="T3" fmla="*/ 3 h 113"/>
                <a:gd name="T4" fmla="*/ 24 w 55"/>
                <a:gd name="T5" fmla="*/ 0 h 113"/>
                <a:gd name="T6" fmla="*/ 28 w 55"/>
                <a:gd name="T7" fmla="*/ 10 h 113"/>
                <a:gd name="T8" fmla="*/ 38 w 55"/>
                <a:gd name="T9" fmla="*/ 10 h 113"/>
                <a:gd name="T10" fmla="*/ 41 w 55"/>
                <a:gd name="T11" fmla="*/ 8 h 113"/>
                <a:gd name="T12" fmla="*/ 50 w 55"/>
                <a:gd name="T13" fmla="*/ 9 h 113"/>
                <a:gd name="T14" fmla="*/ 55 w 55"/>
                <a:gd name="T15" fmla="*/ 19 h 113"/>
                <a:gd name="T16" fmla="*/ 47 w 55"/>
                <a:gd name="T17" fmla="*/ 25 h 113"/>
                <a:gd name="T18" fmla="*/ 46 w 55"/>
                <a:gd name="T19" fmla="*/ 41 h 113"/>
                <a:gd name="T20" fmla="*/ 43 w 55"/>
                <a:gd name="T21" fmla="*/ 44 h 113"/>
                <a:gd name="T22" fmla="*/ 43 w 55"/>
                <a:gd name="T23" fmla="*/ 53 h 113"/>
                <a:gd name="T24" fmla="*/ 35 w 55"/>
                <a:gd name="T25" fmla="*/ 55 h 113"/>
                <a:gd name="T26" fmla="*/ 42 w 55"/>
                <a:gd name="T27" fmla="*/ 67 h 113"/>
                <a:gd name="T28" fmla="*/ 37 w 55"/>
                <a:gd name="T29" fmla="*/ 81 h 113"/>
                <a:gd name="T30" fmla="*/ 42 w 55"/>
                <a:gd name="T31" fmla="*/ 87 h 113"/>
                <a:gd name="T32" fmla="*/ 40 w 55"/>
                <a:gd name="T33" fmla="*/ 93 h 113"/>
                <a:gd name="T34" fmla="*/ 33 w 55"/>
                <a:gd name="T35" fmla="*/ 100 h 113"/>
                <a:gd name="T36" fmla="*/ 35 w 55"/>
                <a:gd name="T37" fmla="*/ 107 h 113"/>
                <a:gd name="T38" fmla="*/ 28 w 55"/>
                <a:gd name="T39" fmla="*/ 113 h 113"/>
                <a:gd name="T40" fmla="*/ 19 w 55"/>
                <a:gd name="T41" fmla="*/ 110 h 113"/>
                <a:gd name="T42" fmla="*/ 9 w 55"/>
                <a:gd name="T43" fmla="*/ 112 h 113"/>
                <a:gd name="T44" fmla="*/ 13 w 55"/>
                <a:gd name="T45" fmla="*/ 96 h 113"/>
                <a:gd name="T46" fmla="*/ 11 w 55"/>
                <a:gd name="T47" fmla="*/ 83 h 113"/>
                <a:gd name="T48" fmla="*/ 4 w 55"/>
                <a:gd name="T49" fmla="*/ 81 h 113"/>
                <a:gd name="T50" fmla="*/ 0 w 55"/>
                <a:gd name="T51" fmla="*/ 73 h 113"/>
                <a:gd name="T52" fmla="*/ 2 w 55"/>
                <a:gd name="T53" fmla="*/ 60 h 113"/>
                <a:gd name="T54" fmla="*/ 9 w 55"/>
                <a:gd name="T55" fmla="*/ 52 h 113"/>
                <a:gd name="T56" fmla="*/ 10 w 55"/>
                <a:gd name="T57" fmla="*/ 44 h 113"/>
                <a:gd name="T58" fmla="*/ 14 w 55"/>
                <a:gd name="T59" fmla="*/ 32 h 113"/>
                <a:gd name="T60" fmla="*/ 14 w 55"/>
                <a:gd name="T61" fmla="*/ 23 h 113"/>
                <a:gd name="T62" fmla="*/ 11 w 55"/>
                <a:gd name="T63" fmla="*/ 16 h 113"/>
                <a:gd name="T64" fmla="*/ 11 w 55"/>
                <a:gd name="T65" fmla="*/ 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5" h="113">
                  <a:moveTo>
                    <a:pt x="11" y="9"/>
                  </a:moveTo>
                  <a:lnTo>
                    <a:pt x="17" y="3"/>
                  </a:lnTo>
                  <a:lnTo>
                    <a:pt x="24" y="0"/>
                  </a:lnTo>
                  <a:lnTo>
                    <a:pt x="28" y="10"/>
                  </a:lnTo>
                  <a:lnTo>
                    <a:pt x="38" y="10"/>
                  </a:lnTo>
                  <a:lnTo>
                    <a:pt x="41" y="8"/>
                  </a:lnTo>
                  <a:lnTo>
                    <a:pt x="50" y="9"/>
                  </a:lnTo>
                  <a:lnTo>
                    <a:pt x="55" y="19"/>
                  </a:lnTo>
                  <a:lnTo>
                    <a:pt x="47" y="25"/>
                  </a:lnTo>
                  <a:lnTo>
                    <a:pt x="46" y="41"/>
                  </a:lnTo>
                  <a:lnTo>
                    <a:pt x="43" y="44"/>
                  </a:lnTo>
                  <a:lnTo>
                    <a:pt x="43" y="53"/>
                  </a:lnTo>
                  <a:lnTo>
                    <a:pt x="35" y="55"/>
                  </a:lnTo>
                  <a:lnTo>
                    <a:pt x="42" y="67"/>
                  </a:lnTo>
                  <a:lnTo>
                    <a:pt x="37" y="81"/>
                  </a:lnTo>
                  <a:lnTo>
                    <a:pt x="42" y="87"/>
                  </a:lnTo>
                  <a:lnTo>
                    <a:pt x="40" y="93"/>
                  </a:lnTo>
                  <a:lnTo>
                    <a:pt x="33" y="100"/>
                  </a:lnTo>
                  <a:lnTo>
                    <a:pt x="35" y="107"/>
                  </a:lnTo>
                  <a:lnTo>
                    <a:pt x="28" y="113"/>
                  </a:lnTo>
                  <a:lnTo>
                    <a:pt x="19" y="110"/>
                  </a:lnTo>
                  <a:lnTo>
                    <a:pt x="9" y="112"/>
                  </a:lnTo>
                  <a:lnTo>
                    <a:pt x="13" y="96"/>
                  </a:lnTo>
                  <a:lnTo>
                    <a:pt x="11" y="83"/>
                  </a:lnTo>
                  <a:lnTo>
                    <a:pt x="4" y="81"/>
                  </a:lnTo>
                  <a:lnTo>
                    <a:pt x="0" y="73"/>
                  </a:lnTo>
                  <a:lnTo>
                    <a:pt x="2" y="60"/>
                  </a:lnTo>
                  <a:lnTo>
                    <a:pt x="9" y="52"/>
                  </a:lnTo>
                  <a:lnTo>
                    <a:pt x="10" y="44"/>
                  </a:lnTo>
                  <a:lnTo>
                    <a:pt x="14" y="32"/>
                  </a:lnTo>
                  <a:lnTo>
                    <a:pt x="14" y="23"/>
                  </a:lnTo>
                  <a:lnTo>
                    <a:pt x="11" y="16"/>
                  </a:lnTo>
                  <a:lnTo>
                    <a:pt x="11" y="9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98" name="Freeform 155">
              <a:extLst>
                <a:ext uri="{FF2B5EF4-FFF2-40B4-BE49-F238E27FC236}">
                  <a16:creationId xmlns:a16="http://schemas.microsoft.com/office/drawing/2014/main" id="{31F58DC9-23AF-425A-A292-694084AB4D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3955" y="3398895"/>
              <a:ext cx="203184" cy="222721"/>
            </a:xfrm>
            <a:custGeom>
              <a:avLst/>
              <a:gdLst>
                <a:gd name="T0" fmla="*/ 0 w 156"/>
                <a:gd name="T1" fmla="*/ 61 h 171"/>
                <a:gd name="T2" fmla="*/ 4 w 156"/>
                <a:gd name="T3" fmla="*/ 36 h 171"/>
                <a:gd name="T4" fmla="*/ 3 w 156"/>
                <a:gd name="T5" fmla="*/ 25 h 171"/>
                <a:gd name="T6" fmla="*/ 10 w 156"/>
                <a:gd name="T7" fmla="*/ 6 h 171"/>
                <a:gd name="T8" fmla="*/ 41 w 156"/>
                <a:gd name="T9" fmla="*/ 0 h 171"/>
                <a:gd name="T10" fmla="*/ 58 w 156"/>
                <a:gd name="T11" fmla="*/ 1 h 171"/>
                <a:gd name="T12" fmla="*/ 76 w 156"/>
                <a:gd name="T13" fmla="*/ 11 h 171"/>
                <a:gd name="T14" fmla="*/ 77 w 156"/>
                <a:gd name="T15" fmla="*/ 18 h 171"/>
                <a:gd name="T16" fmla="*/ 83 w 156"/>
                <a:gd name="T17" fmla="*/ 29 h 171"/>
                <a:gd name="T18" fmla="*/ 85 w 156"/>
                <a:gd name="T19" fmla="*/ 57 h 171"/>
                <a:gd name="T20" fmla="*/ 104 w 156"/>
                <a:gd name="T21" fmla="*/ 61 h 171"/>
                <a:gd name="T22" fmla="*/ 111 w 156"/>
                <a:gd name="T23" fmla="*/ 57 h 171"/>
                <a:gd name="T24" fmla="*/ 124 w 156"/>
                <a:gd name="T25" fmla="*/ 63 h 171"/>
                <a:gd name="T26" fmla="*/ 128 w 156"/>
                <a:gd name="T27" fmla="*/ 69 h 171"/>
                <a:gd name="T28" fmla="*/ 132 w 156"/>
                <a:gd name="T29" fmla="*/ 88 h 171"/>
                <a:gd name="T30" fmla="*/ 135 w 156"/>
                <a:gd name="T31" fmla="*/ 96 h 171"/>
                <a:gd name="T32" fmla="*/ 141 w 156"/>
                <a:gd name="T33" fmla="*/ 97 h 171"/>
                <a:gd name="T34" fmla="*/ 148 w 156"/>
                <a:gd name="T35" fmla="*/ 94 h 171"/>
                <a:gd name="T36" fmla="*/ 155 w 156"/>
                <a:gd name="T37" fmla="*/ 97 h 171"/>
                <a:gd name="T38" fmla="*/ 156 w 156"/>
                <a:gd name="T39" fmla="*/ 109 h 171"/>
                <a:gd name="T40" fmla="*/ 155 w 156"/>
                <a:gd name="T41" fmla="*/ 121 h 171"/>
                <a:gd name="T42" fmla="*/ 153 w 156"/>
                <a:gd name="T43" fmla="*/ 133 h 171"/>
                <a:gd name="T44" fmla="*/ 152 w 156"/>
                <a:gd name="T45" fmla="*/ 151 h 171"/>
                <a:gd name="T46" fmla="*/ 138 w 156"/>
                <a:gd name="T47" fmla="*/ 167 h 171"/>
                <a:gd name="T48" fmla="*/ 124 w 156"/>
                <a:gd name="T49" fmla="*/ 171 h 171"/>
                <a:gd name="T50" fmla="*/ 104 w 156"/>
                <a:gd name="T51" fmla="*/ 167 h 171"/>
                <a:gd name="T52" fmla="*/ 85 w 156"/>
                <a:gd name="T53" fmla="*/ 162 h 171"/>
                <a:gd name="T54" fmla="*/ 99 w 156"/>
                <a:gd name="T55" fmla="*/ 130 h 171"/>
                <a:gd name="T56" fmla="*/ 95 w 156"/>
                <a:gd name="T57" fmla="*/ 121 h 171"/>
                <a:gd name="T58" fmla="*/ 76 w 156"/>
                <a:gd name="T59" fmla="*/ 113 h 171"/>
                <a:gd name="T60" fmla="*/ 52 w 156"/>
                <a:gd name="T61" fmla="*/ 98 h 171"/>
                <a:gd name="T62" fmla="*/ 37 w 156"/>
                <a:gd name="T63" fmla="*/ 95 h 171"/>
                <a:gd name="T64" fmla="*/ 0 w 156"/>
                <a:gd name="T65" fmla="*/ 6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6" h="171">
                  <a:moveTo>
                    <a:pt x="0" y="61"/>
                  </a:moveTo>
                  <a:lnTo>
                    <a:pt x="4" y="36"/>
                  </a:lnTo>
                  <a:lnTo>
                    <a:pt x="3" y="25"/>
                  </a:lnTo>
                  <a:lnTo>
                    <a:pt x="10" y="6"/>
                  </a:lnTo>
                  <a:lnTo>
                    <a:pt x="41" y="0"/>
                  </a:lnTo>
                  <a:lnTo>
                    <a:pt x="58" y="1"/>
                  </a:lnTo>
                  <a:lnTo>
                    <a:pt x="76" y="11"/>
                  </a:lnTo>
                  <a:lnTo>
                    <a:pt x="77" y="18"/>
                  </a:lnTo>
                  <a:lnTo>
                    <a:pt x="83" y="29"/>
                  </a:lnTo>
                  <a:lnTo>
                    <a:pt x="85" y="57"/>
                  </a:lnTo>
                  <a:lnTo>
                    <a:pt x="104" y="61"/>
                  </a:lnTo>
                  <a:lnTo>
                    <a:pt x="111" y="57"/>
                  </a:lnTo>
                  <a:lnTo>
                    <a:pt x="124" y="63"/>
                  </a:lnTo>
                  <a:lnTo>
                    <a:pt x="128" y="69"/>
                  </a:lnTo>
                  <a:lnTo>
                    <a:pt x="132" y="88"/>
                  </a:lnTo>
                  <a:lnTo>
                    <a:pt x="135" y="96"/>
                  </a:lnTo>
                  <a:lnTo>
                    <a:pt x="141" y="97"/>
                  </a:lnTo>
                  <a:lnTo>
                    <a:pt x="148" y="94"/>
                  </a:lnTo>
                  <a:lnTo>
                    <a:pt x="155" y="97"/>
                  </a:lnTo>
                  <a:lnTo>
                    <a:pt x="156" y="109"/>
                  </a:lnTo>
                  <a:lnTo>
                    <a:pt x="155" y="121"/>
                  </a:lnTo>
                  <a:lnTo>
                    <a:pt x="153" y="133"/>
                  </a:lnTo>
                  <a:lnTo>
                    <a:pt x="152" y="151"/>
                  </a:lnTo>
                  <a:lnTo>
                    <a:pt x="138" y="167"/>
                  </a:lnTo>
                  <a:lnTo>
                    <a:pt x="124" y="171"/>
                  </a:lnTo>
                  <a:lnTo>
                    <a:pt x="104" y="167"/>
                  </a:lnTo>
                  <a:lnTo>
                    <a:pt x="85" y="162"/>
                  </a:lnTo>
                  <a:lnTo>
                    <a:pt x="99" y="130"/>
                  </a:lnTo>
                  <a:lnTo>
                    <a:pt x="95" y="121"/>
                  </a:lnTo>
                  <a:lnTo>
                    <a:pt x="76" y="113"/>
                  </a:lnTo>
                  <a:lnTo>
                    <a:pt x="52" y="98"/>
                  </a:lnTo>
                  <a:lnTo>
                    <a:pt x="37" y="95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399" name="Freeform 156">
              <a:extLst>
                <a:ext uri="{FF2B5EF4-FFF2-40B4-BE49-F238E27FC236}">
                  <a16:creationId xmlns:a16="http://schemas.microsoft.com/office/drawing/2014/main" id="{DE0B3EE6-7269-4A70-B4FD-E125833815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7630" y="1996145"/>
              <a:ext cx="14327" cy="31259"/>
            </a:xfrm>
            <a:custGeom>
              <a:avLst/>
              <a:gdLst>
                <a:gd name="T0" fmla="*/ 9 w 11"/>
                <a:gd name="T1" fmla="*/ 3 h 24"/>
                <a:gd name="T2" fmla="*/ 11 w 11"/>
                <a:gd name="T3" fmla="*/ 15 h 24"/>
                <a:gd name="T4" fmla="*/ 9 w 11"/>
                <a:gd name="T5" fmla="*/ 21 h 24"/>
                <a:gd name="T6" fmla="*/ 1 w 11"/>
                <a:gd name="T7" fmla="*/ 24 h 24"/>
                <a:gd name="T8" fmla="*/ 1 w 11"/>
                <a:gd name="T9" fmla="*/ 19 h 24"/>
                <a:gd name="T10" fmla="*/ 5 w 11"/>
                <a:gd name="T11" fmla="*/ 16 h 24"/>
                <a:gd name="T12" fmla="*/ 0 w 11"/>
                <a:gd name="T13" fmla="*/ 14 h 24"/>
                <a:gd name="T14" fmla="*/ 3 w 11"/>
                <a:gd name="T15" fmla="*/ 0 h 24"/>
                <a:gd name="T16" fmla="*/ 9 w 11"/>
                <a:gd name="T17" fmla="*/ 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24">
                  <a:moveTo>
                    <a:pt x="9" y="3"/>
                  </a:moveTo>
                  <a:lnTo>
                    <a:pt x="11" y="15"/>
                  </a:lnTo>
                  <a:lnTo>
                    <a:pt x="9" y="21"/>
                  </a:lnTo>
                  <a:lnTo>
                    <a:pt x="1" y="24"/>
                  </a:lnTo>
                  <a:lnTo>
                    <a:pt x="1" y="19"/>
                  </a:lnTo>
                  <a:lnTo>
                    <a:pt x="5" y="16"/>
                  </a:lnTo>
                  <a:lnTo>
                    <a:pt x="0" y="14"/>
                  </a:lnTo>
                  <a:lnTo>
                    <a:pt x="3" y="0"/>
                  </a:lnTo>
                  <a:lnTo>
                    <a:pt x="9" y="3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00" name="Freeform 157">
              <a:extLst>
                <a:ext uri="{FF2B5EF4-FFF2-40B4-BE49-F238E27FC236}">
                  <a16:creationId xmlns:a16="http://schemas.microsoft.com/office/drawing/2014/main" id="{65EF80D6-F01B-4433-A975-7114E402C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9250" y="2169373"/>
              <a:ext cx="22142" cy="41679"/>
            </a:xfrm>
            <a:custGeom>
              <a:avLst/>
              <a:gdLst>
                <a:gd name="T0" fmla="*/ 3 w 17"/>
                <a:gd name="T1" fmla="*/ 28 h 32"/>
                <a:gd name="T2" fmla="*/ 0 w 17"/>
                <a:gd name="T3" fmla="*/ 13 h 32"/>
                <a:gd name="T4" fmla="*/ 4 w 17"/>
                <a:gd name="T5" fmla="*/ 2 h 32"/>
                <a:gd name="T6" fmla="*/ 9 w 17"/>
                <a:gd name="T7" fmla="*/ 0 h 32"/>
                <a:gd name="T8" fmla="*/ 15 w 17"/>
                <a:gd name="T9" fmla="*/ 7 h 32"/>
                <a:gd name="T10" fmla="*/ 17 w 17"/>
                <a:gd name="T11" fmla="*/ 18 h 32"/>
                <a:gd name="T12" fmla="*/ 14 w 17"/>
                <a:gd name="T13" fmla="*/ 31 h 32"/>
                <a:gd name="T14" fmla="*/ 9 w 17"/>
                <a:gd name="T15" fmla="*/ 32 h 32"/>
                <a:gd name="T16" fmla="*/ 3 w 17"/>
                <a:gd name="T17" fmla="*/ 2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32">
                  <a:moveTo>
                    <a:pt x="3" y="28"/>
                  </a:moveTo>
                  <a:lnTo>
                    <a:pt x="0" y="13"/>
                  </a:lnTo>
                  <a:lnTo>
                    <a:pt x="4" y="2"/>
                  </a:lnTo>
                  <a:lnTo>
                    <a:pt x="9" y="0"/>
                  </a:lnTo>
                  <a:lnTo>
                    <a:pt x="15" y="7"/>
                  </a:lnTo>
                  <a:lnTo>
                    <a:pt x="17" y="18"/>
                  </a:lnTo>
                  <a:lnTo>
                    <a:pt x="14" y="31"/>
                  </a:lnTo>
                  <a:lnTo>
                    <a:pt x="9" y="32"/>
                  </a:lnTo>
                  <a:lnTo>
                    <a:pt x="3" y="28"/>
                  </a:lnTo>
                  <a:close/>
                </a:path>
              </a:pathLst>
            </a:custGeom>
            <a:solidFill>
              <a:srgbClr val="0A58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01" name="Freeform 158">
              <a:extLst>
                <a:ext uri="{FF2B5EF4-FFF2-40B4-BE49-F238E27FC236}">
                  <a16:creationId xmlns:a16="http://schemas.microsoft.com/office/drawing/2014/main" id="{0951C147-F8E7-4801-B7D9-ED7CA42964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1638" y="1575451"/>
              <a:ext cx="205789" cy="121129"/>
            </a:xfrm>
            <a:custGeom>
              <a:avLst/>
              <a:gdLst>
                <a:gd name="T0" fmla="*/ 37 w 158"/>
                <a:gd name="T1" fmla="*/ 7 h 93"/>
                <a:gd name="T2" fmla="*/ 44 w 158"/>
                <a:gd name="T3" fmla="*/ 3 h 93"/>
                <a:gd name="T4" fmla="*/ 54 w 158"/>
                <a:gd name="T5" fmla="*/ 5 h 93"/>
                <a:gd name="T6" fmla="*/ 64 w 158"/>
                <a:gd name="T7" fmla="*/ 5 h 93"/>
                <a:gd name="T8" fmla="*/ 72 w 158"/>
                <a:gd name="T9" fmla="*/ 10 h 93"/>
                <a:gd name="T10" fmla="*/ 78 w 158"/>
                <a:gd name="T11" fmla="*/ 7 h 93"/>
                <a:gd name="T12" fmla="*/ 89 w 158"/>
                <a:gd name="T13" fmla="*/ 5 h 93"/>
                <a:gd name="T14" fmla="*/ 93 w 158"/>
                <a:gd name="T15" fmla="*/ 0 h 93"/>
                <a:gd name="T16" fmla="*/ 100 w 158"/>
                <a:gd name="T17" fmla="*/ 0 h 93"/>
                <a:gd name="T18" fmla="*/ 105 w 158"/>
                <a:gd name="T19" fmla="*/ 2 h 93"/>
                <a:gd name="T20" fmla="*/ 110 w 158"/>
                <a:gd name="T21" fmla="*/ 8 h 93"/>
                <a:gd name="T22" fmla="*/ 117 w 158"/>
                <a:gd name="T23" fmla="*/ 17 h 93"/>
                <a:gd name="T24" fmla="*/ 128 w 158"/>
                <a:gd name="T25" fmla="*/ 29 h 93"/>
                <a:gd name="T26" fmla="*/ 130 w 158"/>
                <a:gd name="T27" fmla="*/ 38 h 93"/>
                <a:gd name="T28" fmla="*/ 129 w 158"/>
                <a:gd name="T29" fmla="*/ 47 h 93"/>
                <a:gd name="T30" fmla="*/ 133 w 158"/>
                <a:gd name="T31" fmla="*/ 56 h 93"/>
                <a:gd name="T32" fmla="*/ 141 w 158"/>
                <a:gd name="T33" fmla="*/ 59 h 93"/>
                <a:gd name="T34" fmla="*/ 149 w 158"/>
                <a:gd name="T35" fmla="*/ 56 h 93"/>
                <a:gd name="T36" fmla="*/ 156 w 158"/>
                <a:gd name="T37" fmla="*/ 60 h 93"/>
                <a:gd name="T38" fmla="*/ 158 w 158"/>
                <a:gd name="T39" fmla="*/ 65 h 93"/>
                <a:gd name="T40" fmla="*/ 150 w 158"/>
                <a:gd name="T41" fmla="*/ 69 h 93"/>
                <a:gd name="T42" fmla="*/ 145 w 158"/>
                <a:gd name="T43" fmla="*/ 67 h 93"/>
                <a:gd name="T44" fmla="*/ 143 w 158"/>
                <a:gd name="T45" fmla="*/ 92 h 93"/>
                <a:gd name="T46" fmla="*/ 133 w 158"/>
                <a:gd name="T47" fmla="*/ 90 h 93"/>
                <a:gd name="T48" fmla="*/ 121 w 158"/>
                <a:gd name="T49" fmla="*/ 83 h 93"/>
                <a:gd name="T50" fmla="*/ 101 w 158"/>
                <a:gd name="T51" fmla="*/ 87 h 93"/>
                <a:gd name="T52" fmla="*/ 94 w 158"/>
                <a:gd name="T53" fmla="*/ 93 h 93"/>
                <a:gd name="T54" fmla="*/ 69 w 158"/>
                <a:gd name="T55" fmla="*/ 91 h 93"/>
                <a:gd name="T56" fmla="*/ 56 w 158"/>
                <a:gd name="T57" fmla="*/ 88 h 93"/>
                <a:gd name="T58" fmla="*/ 50 w 158"/>
                <a:gd name="T59" fmla="*/ 90 h 93"/>
                <a:gd name="T60" fmla="*/ 44 w 158"/>
                <a:gd name="T61" fmla="*/ 81 h 93"/>
                <a:gd name="T62" fmla="*/ 41 w 158"/>
                <a:gd name="T63" fmla="*/ 78 h 93"/>
                <a:gd name="T64" fmla="*/ 45 w 158"/>
                <a:gd name="T65" fmla="*/ 74 h 93"/>
                <a:gd name="T66" fmla="*/ 40 w 158"/>
                <a:gd name="T67" fmla="*/ 72 h 93"/>
                <a:gd name="T68" fmla="*/ 36 w 158"/>
                <a:gd name="T69" fmla="*/ 76 h 93"/>
                <a:gd name="T70" fmla="*/ 25 w 158"/>
                <a:gd name="T71" fmla="*/ 70 h 93"/>
                <a:gd name="T72" fmla="*/ 23 w 158"/>
                <a:gd name="T73" fmla="*/ 62 h 93"/>
                <a:gd name="T74" fmla="*/ 13 w 158"/>
                <a:gd name="T75" fmla="*/ 57 h 93"/>
                <a:gd name="T76" fmla="*/ 10 w 158"/>
                <a:gd name="T77" fmla="*/ 51 h 93"/>
                <a:gd name="T78" fmla="*/ 0 w 158"/>
                <a:gd name="T79" fmla="*/ 43 h 93"/>
                <a:gd name="T80" fmla="*/ 13 w 158"/>
                <a:gd name="T81" fmla="*/ 39 h 93"/>
                <a:gd name="T82" fmla="*/ 22 w 158"/>
                <a:gd name="T83" fmla="*/ 25 h 93"/>
                <a:gd name="T84" fmla="*/ 28 w 158"/>
                <a:gd name="T85" fmla="*/ 11 h 93"/>
                <a:gd name="T86" fmla="*/ 37 w 158"/>
                <a:gd name="T87" fmla="*/ 7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8" h="93">
                  <a:moveTo>
                    <a:pt x="37" y="7"/>
                  </a:moveTo>
                  <a:lnTo>
                    <a:pt x="44" y="3"/>
                  </a:lnTo>
                  <a:lnTo>
                    <a:pt x="54" y="5"/>
                  </a:lnTo>
                  <a:lnTo>
                    <a:pt x="64" y="5"/>
                  </a:lnTo>
                  <a:lnTo>
                    <a:pt x="72" y="10"/>
                  </a:lnTo>
                  <a:lnTo>
                    <a:pt x="78" y="7"/>
                  </a:lnTo>
                  <a:lnTo>
                    <a:pt x="89" y="5"/>
                  </a:lnTo>
                  <a:lnTo>
                    <a:pt x="93" y="0"/>
                  </a:lnTo>
                  <a:lnTo>
                    <a:pt x="100" y="0"/>
                  </a:lnTo>
                  <a:lnTo>
                    <a:pt x="105" y="2"/>
                  </a:lnTo>
                  <a:lnTo>
                    <a:pt x="110" y="8"/>
                  </a:lnTo>
                  <a:lnTo>
                    <a:pt x="117" y="17"/>
                  </a:lnTo>
                  <a:lnTo>
                    <a:pt x="128" y="29"/>
                  </a:lnTo>
                  <a:lnTo>
                    <a:pt x="130" y="38"/>
                  </a:lnTo>
                  <a:lnTo>
                    <a:pt x="129" y="47"/>
                  </a:lnTo>
                  <a:lnTo>
                    <a:pt x="133" y="56"/>
                  </a:lnTo>
                  <a:lnTo>
                    <a:pt x="141" y="59"/>
                  </a:lnTo>
                  <a:lnTo>
                    <a:pt x="149" y="56"/>
                  </a:lnTo>
                  <a:lnTo>
                    <a:pt x="156" y="60"/>
                  </a:lnTo>
                  <a:lnTo>
                    <a:pt x="158" y="65"/>
                  </a:lnTo>
                  <a:lnTo>
                    <a:pt x="150" y="69"/>
                  </a:lnTo>
                  <a:lnTo>
                    <a:pt x="145" y="67"/>
                  </a:lnTo>
                  <a:lnTo>
                    <a:pt x="143" y="92"/>
                  </a:lnTo>
                  <a:lnTo>
                    <a:pt x="133" y="90"/>
                  </a:lnTo>
                  <a:lnTo>
                    <a:pt x="121" y="83"/>
                  </a:lnTo>
                  <a:lnTo>
                    <a:pt x="101" y="87"/>
                  </a:lnTo>
                  <a:lnTo>
                    <a:pt x="94" y="93"/>
                  </a:lnTo>
                  <a:lnTo>
                    <a:pt x="69" y="91"/>
                  </a:lnTo>
                  <a:lnTo>
                    <a:pt x="56" y="88"/>
                  </a:lnTo>
                  <a:lnTo>
                    <a:pt x="50" y="90"/>
                  </a:lnTo>
                  <a:lnTo>
                    <a:pt x="44" y="81"/>
                  </a:lnTo>
                  <a:lnTo>
                    <a:pt x="41" y="78"/>
                  </a:lnTo>
                  <a:lnTo>
                    <a:pt x="45" y="74"/>
                  </a:lnTo>
                  <a:lnTo>
                    <a:pt x="40" y="72"/>
                  </a:lnTo>
                  <a:lnTo>
                    <a:pt x="36" y="76"/>
                  </a:lnTo>
                  <a:lnTo>
                    <a:pt x="25" y="70"/>
                  </a:lnTo>
                  <a:lnTo>
                    <a:pt x="23" y="62"/>
                  </a:lnTo>
                  <a:lnTo>
                    <a:pt x="13" y="57"/>
                  </a:lnTo>
                  <a:lnTo>
                    <a:pt x="10" y="51"/>
                  </a:lnTo>
                  <a:lnTo>
                    <a:pt x="0" y="43"/>
                  </a:lnTo>
                  <a:lnTo>
                    <a:pt x="13" y="39"/>
                  </a:lnTo>
                  <a:lnTo>
                    <a:pt x="22" y="25"/>
                  </a:lnTo>
                  <a:lnTo>
                    <a:pt x="28" y="11"/>
                  </a:lnTo>
                  <a:lnTo>
                    <a:pt x="37" y="7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02" name="Freeform 159">
              <a:extLst>
                <a:ext uri="{FF2B5EF4-FFF2-40B4-BE49-F238E27FC236}">
                  <a16:creationId xmlns:a16="http://schemas.microsoft.com/office/drawing/2014/main" id="{96346CF8-9398-4020-95BA-828BC7CBAEE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5935" y="1413946"/>
              <a:ext cx="195369" cy="221418"/>
            </a:xfrm>
            <a:custGeom>
              <a:avLst/>
              <a:gdLst>
                <a:gd name="T0" fmla="*/ 81 w 150"/>
                <a:gd name="T1" fmla="*/ 73 h 170"/>
                <a:gd name="T2" fmla="*/ 126 w 150"/>
                <a:gd name="T3" fmla="*/ 109 h 170"/>
                <a:gd name="T4" fmla="*/ 97 w 150"/>
                <a:gd name="T5" fmla="*/ 102 h 170"/>
                <a:gd name="T6" fmla="*/ 109 w 150"/>
                <a:gd name="T7" fmla="*/ 131 h 170"/>
                <a:gd name="T8" fmla="*/ 140 w 150"/>
                <a:gd name="T9" fmla="*/ 152 h 170"/>
                <a:gd name="T10" fmla="*/ 150 w 150"/>
                <a:gd name="T11" fmla="*/ 166 h 170"/>
                <a:gd name="T12" fmla="*/ 129 w 150"/>
                <a:gd name="T13" fmla="*/ 154 h 170"/>
                <a:gd name="T14" fmla="*/ 129 w 150"/>
                <a:gd name="T15" fmla="*/ 170 h 170"/>
                <a:gd name="T16" fmla="*/ 114 w 150"/>
                <a:gd name="T17" fmla="*/ 153 h 170"/>
                <a:gd name="T18" fmla="*/ 101 w 150"/>
                <a:gd name="T19" fmla="*/ 133 h 170"/>
                <a:gd name="T20" fmla="*/ 83 w 150"/>
                <a:gd name="T21" fmla="*/ 111 h 170"/>
                <a:gd name="T22" fmla="*/ 76 w 150"/>
                <a:gd name="T23" fmla="*/ 96 h 170"/>
                <a:gd name="T24" fmla="*/ 55 w 150"/>
                <a:gd name="T25" fmla="*/ 69 h 170"/>
                <a:gd name="T26" fmla="*/ 29 w 150"/>
                <a:gd name="T27" fmla="*/ 49 h 170"/>
                <a:gd name="T28" fmla="*/ 8 w 150"/>
                <a:gd name="T29" fmla="*/ 22 h 170"/>
                <a:gd name="T30" fmla="*/ 14 w 150"/>
                <a:gd name="T31" fmla="*/ 12 h 170"/>
                <a:gd name="T32" fmla="*/ 0 w 150"/>
                <a:gd name="T33" fmla="*/ 3 h 170"/>
                <a:gd name="T34" fmla="*/ 4 w 150"/>
                <a:gd name="T35" fmla="*/ 0 h 170"/>
                <a:gd name="T36" fmla="*/ 20 w 150"/>
                <a:gd name="T37" fmla="*/ 14 h 170"/>
                <a:gd name="T38" fmla="*/ 42 w 150"/>
                <a:gd name="T39" fmla="*/ 33 h 170"/>
                <a:gd name="T40" fmla="*/ 58 w 150"/>
                <a:gd name="T41" fmla="*/ 53 h 170"/>
                <a:gd name="T42" fmla="*/ 81 w 150"/>
                <a:gd name="T43" fmla="*/ 7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50" h="170">
                  <a:moveTo>
                    <a:pt x="81" y="73"/>
                  </a:moveTo>
                  <a:lnTo>
                    <a:pt x="126" y="109"/>
                  </a:lnTo>
                  <a:lnTo>
                    <a:pt x="97" y="102"/>
                  </a:lnTo>
                  <a:lnTo>
                    <a:pt x="109" y="131"/>
                  </a:lnTo>
                  <a:lnTo>
                    <a:pt x="140" y="152"/>
                  </a:lnTo>
                  <a:lnTo>
                    <a:pt x="150" y="166"/>
                  </a:lnTo>
                  <a:lnTo>
                    <a:pt x="129" y="154"/>
                  </a:lnTo>
                  <a:lnTo>
                    <a:pt x="129" y="170"/>
                  </a:lnTo>
                  <a:lnTo>
                    <a:pt x="114" y="153"/>
                  </a:lnTo>
                  <a:lnTo>
                    <a:pt x="101" y="133"/>
                  </a:lnTo>
                  <a:lnTo>
                    <a:pt x="83" y="111"/>
                  </a:lnTo>
                  <a:lnTo>
                    <a:pt x="76" y="96"/>
                  </a:lnTo>
                  <a:lnTo>
                    <a:pt x="55" y="69"/>
                  </a:lnTo>
                  <a:lnTo>
                    <a:pt x="29" y="49"/>
                  </a:lnTo>
                  <a:lnTo>
                    <a:pt x="8" y="22"/>
                  </a:lnTo>
                  <a:lnTo>
                    <a:pt x="14" y="12"/>
                  </a:lnTo>
                  <a:lnTo>
                    <a:pt x="0" y="3"/>
                  </a:lnTo>
                  <a:lnTo>
                    <a:pt x="4" y="0"/>
                  </a:lnTo>
                  <a:lnTo>
                    <a:pt x="20" y="14"/>
                  </a:lnTo>
                  <a:lnTo>
                    <a:pt x="42" y="33"/>
                  </a:lnTo>
                  <a:lnTo>
                    <a:pt x="58" y="53"/>
                  </a:lnTo>
                  <a:lnTo>
                    <a:pt x="81" y="73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03" name="Freeform 160">
              <a:extLst>
                <a:ext uri="{FF2B5EF4-FFF2-40B4-BE49-F238E27FC236}">
                  <a16:creationId xmlns:a16="http://schemas.microsoft.com/office/drawing/2014/main" id="{BF0839D0-4715-43EA-A464-A74D485EE17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6472" y="1393107"/>
              <a:ext cx="62518" cy="22142"/>
            </a:xfrm>
            <a:custGeom>
              <a:avLst/>
              <a:gdLst>
                <a:gd name="T0" fmla="*/ 48 w 48"/>
                <a:gd name="T1" fmla="*/ 17 h 17"/>
                <a:gd name="T2" fmla="*/ 19 w 48"/>
                <a:gd name="T3" fmla="*/ 17 h 17"/>
                <a:gd name="T4" fmla="*/ 0 w 48"/>
                <a:gd name="T5" fmla="*/ 15 h 17"/>
                <a:gd name="T6" fmla="*/ 2 w 48"/>
                <a:gd name="T7" fmla="*/ 6 h 17"/>
                <a:gd name="T8" fmla="*/ 23 w 48"/>
                <a:gd name="T9" fmla="*/ 0 h 17"/>
                <a:gd name="T10" fmla="*/ 39 w 48"/>
                <a:gd name="T11" fmla="*/ 4 h 17"/>
                <a:gd name="T12" fmla="*/ 47 w 48"/>
                <a:gd name="T13" fmla="*/ 7 h 17"/>
                <a:gd name="T14" fmla="*/ 46 w 48"/>
                <a:gd name="T15" fmla="*/ 12 h 17"/>
                <a:gd name="T16" fmla="*/ 48 w 48"/>
                <a:gd name="T17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17">
                  <a:moveTo>
                    <a:pt x="48" y="17"/>
                  </a:moveTo>
                  <a:lnTo>
                    <a:pt x="19" y="17"/>
                  </a:lnTo>
                  <a:lnTo>
                    <a:pt x="0" y="15"/>
                  </a:lnTo>
                  <a:lnTo>
                    <a:pt x="2" y="6"/>
                  </a:lnTo>
                  <a:lnTo>
                    <a:pt x="23" y="0"/>
                  </a:lnTo>
                  <a:lnTo>
                    <a:pt x="39" y="4"/>
                  </a:lnTo>
                  <a:lnTo>
                    <a:pt x="47" y="7"/>
                  </a:lnTo>
                  <a:lnTo>
                    <a:pt x="46" y="12"/>
                  </a:lnTo>
                  <a:lnTo>
                    <a:pt x="48" y="17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04" name="Freeform 161">
              <a:extLst>
                <a:ext uri="{FF2B5EF4-FFF2-40B4-BE49-F238E27FC236}">
                  <a16:creationId xmlns:a16="http://schemas.microsoft.com/office/drawing/2014/main" id="{8A29E257-6683-46D7-B8EA-D52D6CA77A2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6760" y="947665"/>
              <a:ext cx="66426" cy="14327"/>
            </a:xfrm>
            <a:custGeom>
              <a:avLst/>
              <a:gdLst>
                <a:gd name="T0" fmla="*/ 51 w 51"/>
                <a:gd name="T1" fmla="*/ 10 h 11"/>
                <a:gd name="T2" fmla="*/ 32 w 51"/>
                <a:gd name="T3" fmla="*/ 11 h 11"/>
                <a:gd name="T4" fmla="*/ 3 w 51"/>
                <a:gd name="T5" fmla="*/ 9 h 11"/>
                <a:gd name="T6" fmla="*/ 0 w 51"/>
                <a:gd name="T7" fmla="*/ 8 h 11"/>
                <a:gd name="T8" fmla="*/ 2 w 51"/>
                <a:gd name="T9" fmla="*/ 2 h 11"/>
                <a:gd name="T10" fmla="*/ 15 w 51"/>
                <a:gd name="T11" fmla="*/ 0 h 11"/>
                <a:gd name="T12" fmla="*/ 43 w 51"/>
                <a:gd name="T13" fmla="*/ 6 h 11"/>
                <a:gd name="T14" fmla="*/ 51 w 51"/>
                <a:gd name="T15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11">
                  <a:moveTo>
                    <a:pt x="51" y="10"/>
                  </a:moveTo>
                  <a:lnTo>
                    <a:pt x="32" y="11"/>
                  </a:lnTo>
                  <a:lnTo>
                    <a:pt x="3" y="9"/>
                  </a:lnTo>
                  <a:lnTo>
                    <a:pt x="0" y="8"/>
                  </a:lnTo>
                  <a:lnTo>
                    <a:pt x="2" y="2"/>
                  </a:lnTo>
                  <a:lnTo>
                    <a:pt x="15" y="0"/>
                  </a:lnTo>
                  <a:lnTo>
                    <a:pt x="43" y="6"/>
                  </a:lnTo>
                  <a:lnTo>
                    <a:pt x="51" y="1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05" name="Freeform 162">
              <a:extLst>
                <a:ext uri="{FF2B5EF4-FFF2-40B4-BE49-F238E27FC236}">
                  <a16:creationId xmlns:a16="http://schemas.microsoft.com/office/drawing/2014/main" id="{FFAE103B-28AF-49CC-B5BD-75BD2D219B7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3229" y="913801"/>
              <a:ext cx="83357" cy="16932"/>
            </a:xfrm>
            <a:custGeom>
              <a:avLst/>
              <a:gdLst>
                <a:gd name="T0" fmla="*/ 64 w 64"/>
                <a:gd name="T1" fmla="*/ 7 h 13"/>
                <a:gd name="T2" fmla="*/ 60 w 64"/>
                <a:gd name="T3" fmla="*/ 13 h 13"/>
                <a:gd name="T4" fmla="*/ 38 w 64"/>
                <a:gd name="T5" fmla="*/ 11 h 13"/>
                <a:gd name="T6" fmla="*/ 5 w 64"/>
                <a:gd name="T7" fmla="*/ 5 h 13"/>
                <a:gd name="T8" fmla="*/ 0 w 64"/>
                <a:gd name="T9" fmla="*/ 0 h 13"/>
                <a:gd name="T10" fmla="*/ 27 w 64"/>
                <a:gd name="T11" fmla="*/ 2 h 13"/>
                <a:gd name="T12" fmla="*/ 64 w 64"/>
                <a:gd name="T13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13">
                  <a:moveTo>
                    <a:pt x="64" y="7"/>
                  </a:moveTo>
                  <a:lnTo>
                    <a:pt x="60" y="13"/>
                  </a:lnTo>
                  <a:lnTo>
                    <a:pt x="38" y="11"/>
                  </a:lnTo>
                  <a:lnTo>
                    <a:pt x="5" y="5"/>
                  </a:lnTo>
                  <a:lnTo>
                    <a:pt x="0" y="0"/>
                  </a:lnTo>
                  <a:lnTo>
                    <a:pt x="27" y="2"/>
                  </a:lnTo>
                  <a:lnTo>
                    <a:pt x="64" y="7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06" name="Freeform 163">
              <a:extLst>
                <a:ext uri="{FF2B5EF4-FFF2-40B4-BE49-F238E27FC236}">
                  <a16:creationId xmlns:a16="http://schemas.microsoft.com/office/drawing/2014/main" id="{1226065C-B5F9-4AEB-A1D8-BF6DCF0F7E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8237" y="900777"/>
              <a:ext cx="144573" cy="31259"/>
            </a:xfrm>
            <a:custGeom>
              <a:avLst/>
              <a:gdLst>
                <a:gd name="T0" fmla="*/ 102 w 111"/>
                <a:gd name="T1" fmla="*/ 9 h 24"/>
                <a:gd name="T2" fmla="*/ 111 w 111"/>
                <a:gd name="T3" fmla="*/ 21 h 24"/>
                <a:gd name="T4" fmla="*/ 64 w 111"/>
                <a:gd name="T5" fmla="*/ 20 h 24"/>
                <a:gd name="T6" fmla="*/ 50 w 111"/>
                <a:gd name="T7" fmla="*/ 24 h 24"/>
                <a:gd name="T8" fmla="*/ 10 w 111"/>
                <a:gd name="T9" fmla="*/ 14 h 24"/>
                <a:gd name="T10" fmla="*/ 0 w 111"/>
                <a:gd name="T11" fmla="*/ 3 h 24"/>
                <a:gd name="T12" fmla="*/ 12 w 111"/>
                <a:gd name="T13" fmla="*/ 0 h 24"/>
                <a:gd name="T14" fmla="*/ 45 w 111"/>
                <a:gd name="T15" fmla="*/ 1 h 24"/>
                <a:gd name="T16" fmla="*/ 102 w 111"/>
                <a:gd name="T17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1" h="24">
                  <a:moveTo>
                    <a:pt x="102" y="9"/>
                  </a:moveTo>
                  <a:lnTo>
                    <a:pt x="111" y="21"/>
                  </a:lnTo>
                  <a:lnTo>
                    <a:pt x="64" y="20"/>
                  </a:lnTo>
                  <a:lnTo>
                    <a:pt x="50" y="24"/>
                  </a:lnTo>
                  <a:lnTo>
                    <a:pt x="10" y="14"/>
                  </a:lnTo>
                  <a:lnTo>
                    <a:pt x="0" y="3"/>
                  </a:lnTo>
                  <a:lnTo>
                    <a:pt x="12" y="0"/>
                  </a:lnTo>
                  <a:lnTo>
                    <a:pt x="45" y="1"/>
                  </a:lnTo>
                  <a:lnTo>
                    <a:pt x="102" y="9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07" name="Freeform 164">
              <a:extLst>
                <a:ext uri="{FF2B5EF4-FFF2-40B4-BE49-F238E27FC236}">
                  <a16:creationId xmlns:a16="http://schemas.microsoft.com/office/drawing/2014/main" id="{B758C78F-B15B-4DE8-8EDD-2084D4A9D7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1450" y="885147"/>
              <a:ext cx="220116" cy="131549"/>
            </a:xfrm>
            <a:custGeom>
              <a:avLst/>
              <a:gdLst>
                <a:gd name="T0" fmla="*/ 90 w 169"/>
                <a:gd name="T1" fmla="*/ 100 h 101"/>
                <a:gd name="T2" fmla="*/ 83 w 169"/>
                <a:gd name="T3" fmla="*/ 101 h 101"/>
                <a:gd name="T4" fmla="*/ 39 w 169"/>
                <a:gd name="T5" fmla="*/ 99 h 101"/>
                <a:gd name="T6" fmla="*/ 32 w 169"/>
                <a:gd name="T7" fmla="*/ 92 h 101"/>
                <a:gd name="T8" fmla="*/ 6 w 169"/>
                <a:gd name="T9" fmla="*/ 87 h 101"/>
                <a:gd name="T10" fmla="*/ 0 w 169"/>
                <a:gd name="T11" fmla="*/ 78 h 101"/>
                <a:gd name="T12" fmla="*/ 11 w 169"/>
                <a:gd name="T13" fmla="*/ 75 h 101"/>
                <a:gd name="T14" fmla="*/ 5 w 169"/>
                <a:gd name="T15" fmla="*/ 66 h 101"/>
                <a:gd name="T16" fmla="*/ 23 w 169"/>
                <a:gd name="T17" fmla="*/ 52 h 101"/>
                <a:gd name="T18" fmla="*/ 10 w 169"/>
                <a:gd name="T19" fmla="*/ 50 h 101"/>
                <a:gd name="T20" fmla="*/ 32 w 169"/>
                <a:gd name="T21" fmla="*/ 36 h 101"/>
                <a:gd name="T22" fmla="*/ 24 w 169"/>
                <a:gd name="T23" fmla="*/ 29 h 101"/>
                <a:gd name="T24" fmla="*/ 46 w 169"/>
                <a:gd name="T25" fmla="*/ 20 h 101"/>
                <a:gd name="T26" fmla="*/ 80 w 169"/>
                <a:gd name="T27" fmla="*/ 10 h 101"/>
                <a:gd name="T28" fmla="*/ 118 w 169"/>
                <a:gd name="T29" fmla="*/ 8 h 101"/>
                <a:gd name="T30" fmla="*/ 134 w 169"/>
                <a:gd name="T31" fmla="*/ 2 h 101"/>
                <a:gd name="T32" fmla="*/ 156 w 169"/>
                <a:gd name="T33" fmla="*/ 0 h 101"/>
                <a:gd name="T34" fmla="*/ 169 w 169"/>
                <a:gd name="T35" fmla="*/ 6 h 101"/>
                <a:gd name="T36" fmla="*/ 165 w 169"/>
                <a:gd name="T37" fmla="*/ 11 h 101"/>
                <a:gd name="T38" fmla="*/ 127 w 169"/>
                <a:gd name="T39" fmla="*/ 18 h 101"/>
                <a:gd name="T40" fmla="*/ 95 w 169"/>
                <a:gd name="T41" fmla="*/ 26 h 101"/>
                <a:gd name="T42" fmla="*/ 67 w 169"/>
                <a:gd name="T43" fmla="*/ 41 h 101"/>
                <a:gd name="T44" fmla="*/ 58 w 169"/>
                <a:gd name="T45" fmla="*/ 56 h 101"/>
                <a:gd name="T46" fmla="*/ 47 w 169"/>
                <a:gd name="T47" fmla="*/ 72 h 101"/>
                <a:gd name="T48" fmla="*/ 57 w 169"/>
                <a:gd name="T49" fmla="*/ 86 h 101"/>
                <a:gd name="T50" fmla="*/ 90 w 169"/>
                <a:gd name="T51" fmla="*/ 10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9" h="101">
                  <a:moveTo>
                    <a:pt x="90" y="100"/>
                  </a:moveTo>
                  <a:lnTo>
                    <a:pt x="83" y="101"/>
                  </a:lnTo>
                  <a:lnTo>
                    <a:pt x="39" y="99"/>
                  </a:lnTo>
                  <a:lnTo>
                    <a:pt x="32" y="92"/>
                  </a:lnTo>
                  <a:lnTo>
                    <a:pt x="6" y="87"/>
                  </a:lnTo>
                  <a:lnTo>
                    <a:pt x="0" y="78"/>
                  </a:lnTo>
                  <a:lnTo>
                    <a:pt x="11" y="75"/>
                  </a:lnTo>
                  <a:lnTo>
                    <a:pt x="5" y="66"/>
                  </a:lnTo>
                  <a:lnTo>
                    <a:pt x="23" y="52"/>
                  </a:lnTo>
                  <a:lnTo>
                    <a:pt x="10" y="50"/>
                  </a:lnTo>
                  <a:lnTo>
                    <a:pt x="32" y="36"/>
                  </a:lnTo>
                  <a:lnTo>
                    <a:pt x="24" y="29"/>
                  </a:lnTo>
                  <a:lnTo>
                    <a:pt x="46" y="20"/>
                  </a:lnTo>
                  <a:lnTo>
                    <a:pt x="80" y="10"/>
                  </a:lnTo>
                  <a:lnTo>
                    <a:pt x="118" y="8"/>
                  </a:lnTo>
                  <a:lnTo>
                    <a:pt x="134" y="2"/>
                  </a:lnTo>
                  <a:lnTo>
                    <a:pt x="156" y="0"/>
                  </a:lnTo>
                  <a:lnTo>
                    <a:pt x="169" y="6"/>
                  </a:lnTo>
                  <a:lnTo>
                    <a:pt x="165" y="11"/>
                  </a:lnTo>
                  <a:lnTo>
                    <a:pt x="127" y="18"/>
                  </a:lnTo>
                  <a:lnTo>
                    <a:pt x="95" y="26"/>
                  </a:lnTo>
                  <a:lnTo>
                    <a:pt x="67" y="41"/>
                  </a:lnTo>
                  <a:lnTo>
                    <a:pt x="58" y="56"/>
                  </a:lnTo>
                  <a:lnTo>
                    <a:pt x="47" y="72"/>
                  </a:lnTo>
                  <a:lnTo>
                    <a:pt x="57" y="86"/>
                  </a:lnTo>
                  <a:lnTo>
                    <a:pt x="90" y="100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08" name="Freeform 165">
              <a:extLst>
                <a:ext uri="{FF2B5EF4-FFF2-40B4-BE49-F238E27FC236}">
                  <a16:creationId xmlns:a16="http://schemas.microsoft.com/office/drawing/2014/main" id="{11E214E1-643F-45FB-90E7-0B9F750815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8309" y="839561"/>
              <a:ext cx="80752" cy="27352"/>
            </a:xfrm>
            <a:custGeom>
              <a:avLst/>
              <a:gdLst>
                <a:gd name="T0" fmla="*/ 62 w 62"/>
                <a:gd name="T1" fmla="*/ 15 h 21"/>
                <a:gd name="T2" fmla="*/ 2 w 62"/>
                <a:gd name="T3" fmla="*/ 21 h 21"/>
                <a:gd name="T4" fmla="*/ 0 w 62"/>
                <a:gd name="T5" fmla="*/ 2 h 21"/>
                <a:gd name="T6" fmla="*/ 8 w 62"/>
                <a:gd name="T7" fmla="*/ 0 h 21"/>
                <a:gd name="T8" fmla="*/ 18 w 62"/>
                <a:gd name="T9" fmla="*/ 1 h 21"/>
                <a:gd name="T10" fmla="*/ 58 w 62"/>
                <a:gd name="T11" fmla="*/ 9 h 21"/>
                <a:gd name="T12" fmla="*/ 62 w 62"/>
                <a:gd name="T13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21">
                  <a:moveTo>
                    <a:pt x="62" y="15"/>
                  </a:moveTo>
                  <a:lnTo>
                    <a:pt x="2" y="21"/>
                  </a:lnTo>
                  <a:lnTo>
                    <a:pt x="0" y="2"/>
                  </a:lnTo>
                  <a:lnTo>
                    <a:pt x="8" y="0"/>
                  </a:lnTo>
                  <a:lnTo>
                    <a:pt x="18" y="1"/>
                  </a:lnTo>
                  <a:lnTo>
                    <a:pt x="58" y="9"/>
                  </a:lnTo>
                  <a:lnTo>
                    <a:pt x="62" y="15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09" name="Freeform 166">
              <a:extLst>
                <a:ext uri="{FF2B5EF4-FFF2-40B4-BE49-F238E27FC236}">
                  <a16:creationId xmlns:a16="http://schemas.microsoft.com/office/drawing/2014/main" id="{61BFF57D-77AA-4438-BB2F-34E34C53E5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3476" y="812210"/>
              <a:ext cx="97685" cy="15630"/>
            </a:xfrm>
            <a:custGeom>
              <a:avLst/>
              <a:gdLst>
                <a:gd name="T0" fmla="*/ 72 w 75"/>
                <a:gd name="T1" fmla="*/ 5 h 12"/>
                <a:gd name="T2" fmla="*/ 58 w 75"/>
                <a:gd name="T3" fmla="*/ 7 h 12"/>
                <a:gd name="T4" fmla="*/ 48 w 75"/>
                <a:gd name="T5" fmla="*/ 8 h 12"/>
                <a:gd name="T6" fmla="*/ 48 w 75"/>
                <a:gd name="T7" fmla="*/ 10 h 12"/>
                <a:gd name="T8" fmla="*/ 36 w 75"/>
                <a:gd name="T9" fmla="*/ 12 h 12"/>
                <a:gd name="T10" fmla="*/ 22 w 75"/>
                <a:gd name="T11" fmla="*/ 9 h 12"/>
                <a:gd name="T12" fmla="*/ 26 w 75"/>
                <a:gd name="T13" fmla="*/ 5 h 12"/>
                <a:gd name="T14" fmla="*/ 0 w 75"/>
                <a:gd name="T15" fmla="*/ 5 h 12"/>
                <a:gd name="T16" fmla="*/ 21 w 75"/>
                <a:gd name="T17" fmla="*/ 2 h 12"/>
                <a:gd name="T18" fmla="*/ 38 w 75"/>
                <a:gd name="T19" fmla="*/ 2 h 12"/>
                <a:gd name="T20" fmla="*/ 43 w 75"/>
                <a:gd name="T21" fmla="*/ 5 h 12"/>
                <a:gd name="T22" fmla="*/ 47 w 75"/>
                <a:gd name="T23" fmla="*/ 2 h 12"/>
                <a:gd name="T24" fmla="*/ 56 w 75"/>
                <a:gd name="T25" fmla="*/ 0 h 12"/>
                <a:gd name="T26" fmla="*/ 75 w 75"/>
                <a:gd name="T27" fmla="*/ 3 h 12"/>
                <a:gd name="T28" fmla="*/ 72 w 75"/>
                <a:gd name="T29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5" h="12">
                  <a:moveTo>
                    <a:pt x="72" y="5"/>
                  </a:moveTo>
                  <a:lnTo>
                    <a:pt x="58" y="7"/>
                  </a:lnTo>
                  <a:lnTo>
                    <a:pt x="48" y="8"/>
                  </a:lnTo>
                  <a:lnTo>
                    <a:pt x="48" y="10"/>
                  </a:lnTo>
                  <a:lnTo>
                    <a:pt x="36" y="12"/>
                  </a:lnTo>
                  <a:lnTo>
                    <a:pt x="22" y="9"/>
                  </a:lnTo>
                  <a:lnTo>
                    <a:pt x="26" y="5"/>
                  </a:lnTo>
                  <a:lnTo>
                    <a:pt x="0" y="5"/>
                  </a:lnTo>
                  <a:lnTo>
                    <a:pt x="21" y="2"/>
                  </a:lnTo>
                  <a:lnTo>
                    <a:pt x="38" y="2"/>
                  </a:lnTo>
                  <a:lnTo>
                    <a:pt x="43" y="5"/>
                  </a:lnTo>
                  <a:lnTo>
                    <a:pt x="47" y="2"/>
                  </a:lnTo>
                  <a:lnTo>
                    <a:pt x="56" y="0"/>
                  </a:lnTo>
                  <a:lnTo>
                    <a:pt x="75" y="3"/>
                  </a:lnTo>
                  <a:lnTo>
                    <a:pt x="72" y="5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10" name="Freeform 167">
              <a:extLst>
                <a:ext uri="{FF2B5EF4-FFF2-40B4-BE49-F238E27FC236}">
                  <a16:creationId xmlns:a16="http://schemas.microsoft.com/office/drawing/2014/main" id="{1D09C42E-CBFA-4EBF-9365-3B9E877A01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3779" y="807000"/>
              <a:ext cx="162808" cy="44284"/>
            </a:xfrm>
            <a:custGeom>
              <a:avLst/>
              <a:gdLst>
                <a:gd name="T0" fmla="*/ 125 w 125"/>
                <a:gd name="T1" fmla="*/ 32 h 34"/>
                <a:gd name="T2" fmla="*/ 102 w 125"/>
                <a:gd name="T3" fmla="*/ 34 h 34"/>
                <a:gd name="T4" fmla="*/ 65 w 125"/>
                <a:gd name="T5" fmla="*/ 30 h 34"/>
                <a:gd name="T6" fmla="*/ 39 w 125"/>
                <a:gd name="T7" fmla="*/ 24 h 34"/>
                <a:gd name="T8" fmla="*/ 19 w 125"/>
                <a:gd name="T9" fmla="*/ 15 h 34"/>
                <a:gd name="T10" fmla="*/ 0 w 125"/>
                <a:gd name="T11" fmla="*/ 12 h 34"/>
                <a:gd name="T12" fmla="*/ 19 w 125"/>
                <a:gd name="T13" fmla="*/ 3 h 34"/>
                <a:gd name="T14" fmla="*/ 39 w 125"/>
                <a:gd name="T15" fmla="*/ 0 h 34"/>
                <a:gd name="T16" fmla="*/ 70 w 125"/>
                <a:gd name="T17" fmla="*/ 7 h 34"/>
                <a:gd name="T18" fmla="*/ 113 w 125"/>
                <a:gd name="T19" fmla="*/ 19 h 34"/>
                <a:gd name="T20" fmla="*/ 125 w 125"/>
                <a:gd name="T21" fmla="*/ 3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5" h="34">
                  <a:moveTo>
                    <a:pt x="125" y="32"/>
                  </a:moveTo>
                  <a:lnTo>
                    <a:pt x="102" y="34"/>
                  </a:lnTo>
                  <a:lnTo>
                    <a:pt x="65" y="30"/>
                  </a:lnTo>
                  <a:lnTo>
                    <a:pt x="39" y="24"/>
                  </a:lnTo>
                  <a:lnTo>
                    <a:pt x="19" y="15"/>
                  </a:lnTo>
                  <a:lnTo>
                    <a:pt x="0" y="12"/>
                  </a:lnTo>
                  <a:lnTo>
                    <a:pt x="19" y="3"/>
                  </a:lnTo>
                  <a:lnTo>
                    <a:pt x="39" y="0"/>
                  </a:lnTo>
                  <a:lnTo>
                    <a:pt x="70" y="7"/>
                  </a:lnTo>
                  <a:lnTo>
                    <a:pt x="113" y="19"/>
                  </a:lnTo>
                  <a:lnTo>
                    <a:pt x="125" y="32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11" name="Freeform 168">
              <a:extLst>
                <a:ext uri="{FF2B5EF4-FFF2-40B4-BE49-F238E27FC236}">
                  <a16:creationId xmlns:a16="http://schemas.microsoft.com/office/drawing/2014/main" id="{FAF12CEE-928E-4E8F-BDA8-0E96C463A3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6038" y="2906565"/>
              <a:ext cx="42982" cy="48191"/>
            </a:xfrm>
            <a:custGeom>
              <a:avLst/>
              <a:gdLst>
                <a:gd name="T0" fmla="*/ 25 w 33"/>
                <a:gd name="T1" fmla="*/ 0 h 37"/>
                <a:gd name="T2" fmla="*/ 33 w 33"/>
                <a:gd name="T3" fmla="*/ 12 h 37"/>
                <a:gd name="T4" fmla="*/ 31 w 33"/>
                <a:gd name="T5" fmla="*/ 24 h 37"/>
                <a:gd name="T6" fmla="*/ 26 w 33"/>
                <a:gd name="T7" fmla="*/ 27 h 37"/>
                <a:gd name="T8" fmla="*/ 16 w 33"/>
                <a:gd name="T9" fmla="*/ 25 h 37"/>
                <a:gd name="T10" fmla="*/ 11 w 33"/>
                <a:gd name="T11" fmla="*/ 37 h 37"/>
                <a:gd name="T12" fmla="*/ 0 w 33"/>
                <a:gd name="T13" fmla="*/ 35 h 37"/>
                <a:gd name="T14" fmla="*/ 1 w 33"/>
                <a:gd name="T15" fmla="*/ 24 h 37"/>
                <a:gd name="T16" fmla="*/ 4 w 33"/>
                <a:gd name="T17" fmla="*/ 22 h 37"/>
                <a:gd name="T18" fmla="*/ 4 w 33"/>
                <a:gd name="T19" fmla="*/ 10 h 37"/>
                <a:gd name="T20" fmla="*/ 10 w 33"/>
                <a:gd name="T21" fmla="*/ 4 h 37"/>
                <a:gd name="T22" fmla="*/ 14 w 33"/>
                <a:gd name="T23" fmla="*/ 6 h 37"/>
                <a:gd name="T24" fmla="*/ 25 w 33"/>
                <a:gd name="T2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37">
                  <a:moveTo>
                    <a:pt x="25" y="0"/>
                  </a:moveTo>
                  <a:lnTo>
                    <a:pt x="33" y="12"/>
                  </a:lnTo>
                  <a:lnTo>
                    <a:pt x="31" y="24"/>
                  </a:lnTo>
                  <a:lnTo>
                    <a:pt x="26" y="27"/>
                  </a:lnTo>
                  <a:lnTo>
                    <a:pt x="16" y="25"/>
                  </a:lnTo>
                  <a:lnTo>
                    <a:pt x="11" y="37"/>
                  </a:lnTo>
                  <a:lnTo>
                    <a:pt x="0" y="35"/>
                  </a:lnTo>
                  <a:lnTo>
                    <a:pt x="1" y="24"/>
                  </a:lnTo>
                  <a:lnTo>
                    <a:pt x="4" y="22"/>
                  </a:lnTo>
                  <a:lnTo>
                    <a:pt x="4" y="10"/>
                  </a:lnTo>
                  <a:lnTo>
                    <a:pt x="10" y="4"/>
                  </a:lnTo>
                  <a:lnTo>
                    <a:pt x="14" y="6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12" name="Freeform 169">
              <a:extLst>
                <a:ext uri="{FF2B5EF4-FFF2-40B4-BE49-F238E27FC236}">
                  <a16:creationId xmlns:a16="http://schemas.microsoft.com/office/drawing/2014/main" id="{7DE4C6BA-B89D-4DBB-BAD0-263660CB5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0669" y="2127694"/>
              <a:ext cx="200579" cy="179739"/>
            </a:xfrm>
            <a:custGeom>
              <a:avLst/>
              <a:gdLst>
                <a:gd name="T0" fmla="*/ 151 w 154"/>
                <a:gd name="T1" fmla="*/ 11 h 138"/>
                <a:gd name="T2" fmla="*/ 151 w 154"/>
                <a:gd name="T3" fmla="*/ 0 h 138"/>
                <a:gd name="T4" fmla="*/ 154 w 154"/>
                <a:gd name="T5" fmla="*/ 0 h 138"/>
                <a:gd name="T6" fmla="*/ 154 w 154"/>
                <a:gd name="T7" fmla="*/ 1 h 138"/>
                <a:gd name="T8" fmla="*/ 153 w 154"/>
                <a:gd name="T9" fmla="*/ 5 h 138"/>
                <a:gd name="T10" fmla="*/ 153 w 154"/>
                <a:gd name="T11" fmla="*/ 37 h 138"/>
                <a:gd name="T12" fmla="*/ 94 w 154"/>
                <a:gd name="T13" fmla="*/ 36 h 138"/>
                <a:gd name="T14" fmla="*/ 93 w 154"/>
                <a:gd name="T15" fmla="*/ 89 h 138"/>
                <a:gd name="T16" fmla="*/ 77 w 154"/>
                <a:gd name="T17" fmla="*/ 91 h 138"/>
                <a:gd name="T18" fmla="*/ 72 w 154"/>
                <a:gd name="T19" fmla="*/ 101 h 138"/>
                <a:gd name="T20" fmla="*/ 75 w 154"/>
                <a:gd name="T21" fmla="*/ 131 h 138"/>
                <a:gd name="T22" fmla="*/ 4 w 154"/>
                <a:gd name="T23" fmla="*/ 131 h 138"/>
                <a:gd name="T24" fmla="*/ 0 w 154"/>
                <a:gd name="T25" fmla="*/ 138 h 138"/>
                <a:gd name="T26" fmla="*/ 1 w 154"/>
                <a:gd name="T27" fmla="*/ 129 h 138"/>
                <a:gd name="T28" fmla="*/ 1 w 154"/>
                <a:gd name="T29" fmla="*/ 129 h 138"/>
                <a:gd name="T30" fmla="*/ 42 w 154"/>
                <a:gd name="T31" fmla="*/ 128 h 138"/>
                <a:gd name="T32" fmla="*/ 44 w 154"/>
                <a:gd name="T33" fmla="*/ 120 h 138"/>
                <a:gd name="T34" fmla="*/ 52 w 154"/>
                <a:gd name="T35" fmla="*/ 111 h 138"/>
                <a:gd name="T36" fmla="*/ 59 w 154"/>
                <a:gd name="T37" fmla="*/ 82 h 138"/>
                <a:gd name="T38" fmla="*/ 84 w 154"/>
                <a:gd name="T39" fmla="*/ 60 h 138"/>
                <a:gd name="T40" fmla="*/ 93 w 154"/>
                <a:gd name="T41" fmla="*/ 34 h 138"/>
                <a:gd name="T42" fmla="*/ 99 w 154"/>
                <a:gd name="T43" fmla="*/ 32 h 138"/>
                <a:gd name="T44" fmla="*/ 105 w 154"/>
                <a:gd name="T45" fmla="*/ 16 h 138"/>
                <a:gd name="T46" fmla="*/ 120 w 154"/>
                <a:gd name="T47" fmla="*/ 14 h 138"/>
                <a:gd name="T48" fmla="*/ 126 w 154"/>
                <a:gd name="T49" fmla="*/ 16 h 138"/>
                <a:gd name="T50" fmla="*/ 134 w 154"/>
                <a:gd name="T51" fmla="*/ 16 h 138"/>
                <a:gd name="T52" fmla="*/ 140 w 154"/>
                <a:gd name="T53" fmla="*/ 12 h 138"/>
                <a:gd name="T54" fmla="*/ 151 w 154"/>
                <a:gd name="T55" fmla="*/ 11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54" h="138">
                  <a:moveTo>
                    <a:pt x="151" y="11"/>
                  </a:moveTo>
                  <a:lnTo>
                    <a:pt x="151" y="0"/>
                  </a:lnTo>
                  <a:lnTo>
                    <a:pt x="154" y="0"/>
                  </a:lnTo>
                  <a:lnTo>
                    <a:pt x="154" y="1"/>
                  </a:lnTo>
                  <a:lnTo>
                    <a:pt x="153" y="5"/>
                  </a:lnTo>
                  <a:lnTo>
                    <a:pt x="153" y="37"/>
                  </a:lnTo>
                  <a:lnTo>
                    <a:pt x="94" y="36"/>
                  </a:lnTo>
                  <a:lnTo>
                    <a:pt x="93" y="89"/>
                  </a:lnTo>
                  <a:lnTo>
                    <a:pt x="77" y="91"/>
                  </a:lnTo>
                  <a:lnTo>
                    <a:pt x="72" y="101"/>
                  </a:lnTo>
                  <a:lnTo>
                    <a:pt x="75" y="131"/>
                  </a:lnTo>
                  <a:lnTo>
                    <a:pt x="4" y="131"/>
                  </a:lnTo>
                  <a:lnTo>
                    <a:pt x="0" y="138"/>
                  </a:lnTo>
                  <a:lnTo>
                    <a:pt x="1" y="129"/>
                  </a:lnTo>
                  <a:lnTo>
                    <a:pt x="1" y="129"/>
                  </a:lnTo>
                  <a:lnTo>
                    <a:pt x="42" y="128"/>
                  </a:lnTo>
                  <a:lnTo>
                    <a:pt x="44" y="120"/>
                  </a:lnTo>
                  <a:lnTo>
                    <a:pt x="52" y="111"/>
                  </a:lnTo>
                  <a:lnTo>
                    <a:pt x="59" y="82"/>
                  </a:lnTo>
                  <a:lnTo>
                    <a:pt x="84" y="60"/>
                  </a:lnTo>
                  <a:lnTo>
                    <a:pt x="93" y="34"/>
                  </a:lnTo>
                  <a:lnTo>
                    <a:pt x="99" y="32"/>
                  </a:lnTo>
                  <a:lnTo>
                    <a:pt x="105" y="16"/>
                  </a:lnTo>
                  <a:lnTo>
                    <a:pt x="120" y="14"/>
                  </a:lnTo>
                  <a:lnTo>
                    <a:pt x="126" y="16"/>
                  </a:lnTo>
                  <a:lnTo>
                    <a:pt x="134" y="16"/>
                  </a:lnTo>
                  <a:lnTo>
                    <a:pt x="140" y="12"/>
                  </a:lnTo>
                  <a:lnTo>
                    <a:pt x="151" y="11"/>
                  </a:lnTo>
                  <a:close/>
                </a:path>
              </a:pathLst>
            </a:custGeom>
            <a:solidFill>
              <a:srgbClr val="0052A4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13" name="Freeform 170">
              <a:extLst>
                <a:ext uri="{FF2B5EF4-FFF2-40B4-BE49-F238E27FC236}">
                  <a16:creationId xmlns:a16="http://schemas.microsoft.com/office/drawing/2014/main" id="{1CE2E29D-A123-40F8-950D-AA64711A0C4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0234" y="2006565"/>
              <a:ext cx="504052" cy="427207"/>
            </a:xfrm>
            <a:custGeom>
              <a:avLst/>
              <a:gdLst>
                <a:gd name="T0" fmla="*/ 161 w 387"/>
                <a:gd name="T1" fmla="*/ 319 h 328"/>
                <a:gd name="T2" fmla="*/ 153 w 387"/>
                <a:gd name="T3" fmla="*/ 304 h 328"/>
                <a:gd name="T4" fmla="*/ 132 w 387"/>
                <a:gd name="T5" fmla="*/ 280 h 328"/>
                <a:gd name="T6" fmla="*/ 113 w 387"/>
                <a:gd name="T7" fmla="*/ 248 h 328"/>
                <a:gd name="T8" fmla="*/ 91 w 387"/>
                <a:gd name="T9" fmla="*/ 225 h 328"/>
                <a:gd name="T10" fmla="*/ 88 w 387"/>
                <a:gd name="T11" fmla="*/ 198 h 328"/>
                <a:gd name="T12" fmla="*/ 67 w 387"/>
                <a:gd name="T13" fmla="*/ 167 h 328"/>
                <a:gd name="T14" fmla="*/ 50 w 387"/>
                <a:gd name="T15" fmla="*/ 151 h 328"/>
                <a:gd name="T16" fmla="*/ 45 w 387"/>
                <a:gd name="T17" fmla="*/ 135 h 328"/>
                <a:gd name="T18" fmla="*/ 31 w 387"/>
                <a:gd name="T19" fmla="*/ 115 h 328"/>
                <a:gd name="T20" fmla="*/ 9 w 387"/>
                <a:gd name="T21" fmla="*/ 84 h 328"/>
                <a:gd name="T22" fmla="*/ 2 w 387"/>
                <a:gd name="T23" fmla="*/ 73 h 328"/>
                <a:gd name="T24" fmla="*/ 3 w 387"/>
                <a:gd name="T25" fmla="*/ 58 h 328"/>
                <a:gd name="T26" fmla="*/ 30 w 387"/>
                <a:gd name="T27" fmla="*/ 55 h 328"/>
                <a:gd name="T28" fmla="*/ 47 w 387"/>
                <a:gd name="T29" fmla="*/ 44 h 328"/>
                <a:gd name="T30" fmla="*/ 54 w 387"/>
                <a:gd name="T31" fmla="*/ 34 h 328"/>
                <a:gd name="T32" fmla="*/ 69 w 387"/>
                <a:gd name="T33" fmla="*/ 3 h 328"/>
                <a:gd name="T34" fmla="*/ 93 w 387"/>
                <a:gd name="T35" fmla="*/ 5 h 328"/>
                <a:gd name="T36" fmla="*/ 176 w 387"/>
                <a:gd name="T37" fmla="*/ 61 h 328"/>
                <a:gd name="T38" fmla="*/ 225 w 387"/>
                <a:gd name="T39" fmla="*/ 65 h 328"/>
                <a:gd name="T40" fmla="*/ 243 w 387"/>
                <a:gd name="T41" fmla="*/ 74 h 328"/>
                <a:gd name="T42" fmla="*/ 261 w 387"/>
                <a:gd name="T43" fmla="*/ 97 h 328"/>
                <a:gd name="T44" fmla="*/ 278 w 387"/>
                <a:gd name="T45" fmla="*/ 113 h 328"/>
                <a:gd name="T46" fmla="*/ 279 w 387"/>
                <a:gd name="T47" fmla="*/ 128 h 328"/>
                <a:gd name="T48" fmla="*/ 288 w 387"/>
                <a:gd name="T49" fmla="*/ 141 h 328"/>
                <a:gd name="T50" fmla="*/ 294 w 387"/>
                <a:gd name="T51" fmla="*/ 153 h 328"/>
                <a:gd name="T52" fmla="*/ 305 w 387"/>
                <a:gd name="T53" fmla="*/ 156 h 328"/>
                <a:gd name="T54" fmla="*/ 310 w 387"/>
                <a:gd name="T55" fmla="*/ 169 h 328"/>
                <a:gd name="T56" fmla="*/ 374 w 387"/>
                <a:gd name="T57" fmla="*/ 200 h 328"/>
                <a:gd name="T58" fmla="*/ 387 w 387"/>
                <a:gd name="T59" fmla="*/ 210 h 328"/>
                <a:gd name="T60" fmla="*/ 327 w 387"/>
                <a:gd name="T61" fmla="*/ 273 h 328"/>
                <a:gd name="T62" fmla="*/ 259 w 387"/>
                <a:gd name="T63" fmla="*/ 290 h 328"/>
                <a:gd name="T64" fmla="*/ 239 w 387"/>
                <a:gd name="T65" fmla="*/ 315 h 328"/>
                <a:gd name="T66" fmla="*/ 227 w 387"/>
                <a:gd name="T67" fmla="*/ 309 h 328"/>
                <a:gd name="T68" fmla="*/ 206 w 387"/>
                <a:gd name="T69" fmla="*/ 305 h 328"/>
                <a:gd name="T70" fmla="*/ 181 w 387"/>
                <a:gd name="T71" fmla="*/ 308 h 328"/>
                <a:gd name="T72" fmla="*/ 169 w 387"/>
                <a:gd name="T73" fmla="*/ 312 h 328"/>
                <a:gd name="T74" fmla="*/ 163 w 387"/>
                <a:gd name="T75" fmla="*/ 328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87" h="328">
                  <a:moveTo>
                    <a:pt x="163" y="328"/>
                  </a:moveTo>
                  <a:lnTo>
                    <a:pt x="161" y="319"/>
                  </a:lnTo>
                  <a:lnTo>
                    <a:pt x="155" y="313"/>
                  </a:lnTo>
                  <a:lnTo>
                    <a:pt x="153" y="304"/>
                  </a:lnTo>
                  <a:lnTo>
                    <a:pt x="143" y="297"/>
                  </a:lnTo>
                  <a:lnTo>
                    <a:pt x="132" y="280"/>
                  </a:lnTo>
                  <a:lnTo>
                    <a:pt x="126" y="263"/>
                  </a:lnTo>
                  <a:lnTo>
                    <a:pt x="113" y="248"/>
                  </a:lnTo>
                  <a:lnTo>
                    <a:pt x="104" y="245"/>
                  </a:lnTo>
                  <a:lnTo>
                    <a:pt x="91" y="225"/>
                  </a:lnTo>
                  <a:lnTo>
                    <a:pt x="88" y="211"/>
                  </a:lnTo>
                  <a:lnTo>
                    <a:pt x="88" y="198"/>
                  </a:lnTo>
                  <a:lnTo>
                    <a:pt x="76" y="175"/>
                  </a:lnTo>
                  <a:lnTo>
                    <a:pt x="67" y="167"/>
                  </a:lnTo>
                  <a:lnTo>
                    <a:pt x="57" y="163"/>
                  </a:lnTo>
                  <a:lnTo>
                    <a:pt x="50" y="151"/>
                  </a:lnTo>
                  <a:lnTo>
                    <a:pt x="51" y="146"/>
                  </a:lnTo>
                  <a:lnTo>
                    <a:pt x="45" y="135"/>
                  </a:lnTo>
                  <a:lnTo>
                    <a:pt x="39" y="131"/>
                  </a:lnTo>
                  <a:lnTo>
                    <a:pt x="31" y="115"/>
                  </a:lnTo>
                  <a:lnTo>
                    <a:pt x="19" y="99"/>
                  </a:lnTo>
                  <a:lnTo>
                    <a:pt x="9" y="84"/>
                  </a:lnTo>
                  <a:lnTo>
                    <a:pt x="0" y="85"/>
                  </a:lnTo>
                  <a:lnTo>
                    <a:pt x="2" y="73"/>
                  </a:lnTo>
                  <a:lnTo>
                    <a:pt x="2" y="66"/>
                  </a:lnTo>
                  <a:lnTo>
                    <a:pt x="3" y="58"/>
                  </a:lnTo>
                  <a:lnTo>
                    <a:pt x="23" y="61"/>
                  </a:lnTo>
                  <a:lnTo>
                    <a:pt x="30" y="55"/>
                  </a:lnTo>
                  <a:lnTo>
                    <a:pt x="34" y="47"/>
                  </a:lnTo>
                  <a:lnTo>
                    <a:pt x="47" y="44"/>
                  </a:lnTo>
                  <a:lnTo>
                    <a:pt x="49" y="37"/>
                  </a:lnTo>
                  <a:lnTo>
                    <a:pt x="54" y="34"/>
                  </a:lnTo>
                  <a:lnTo>
                    <a:pt x="35" y="13"/>
                  </a:lnTo>
                  <a:lnTo>
                    <a:pt x="69" y="3"/>
                  </a:lnTo>
                  <a:lnTo>
                    <a:pt x="72" y="0"/>
                  </a:lnTo>
                  <a:lnTo>
                    <a:pt x="93" y="5"/>
                  </a:lnTo>
                  <a:lnTo>
                    <a:pt x="121" y="20"/>
                  </a:lnTo>
                  <a:lnTo>
                    <a:pt x="176" y="61"/>
                  </a:lnTo>
                  <a:lnTo>
                    <a:pt x="209" y="63"/>
                  </a:lnTo>
                  <a:lnTo>
                    <a:pt x="225" y="65"/>
                  </a:lnTo>
                  <a:lnTo>
                    <a:pt x="230" y="75"/>
                  </a:lnTo>
                  <a:lnTo>
                    <a:pt x="243" y="74"/>
                  </a:lnTo>
                  <a:lnTo>
                    <a:pt x="252" y="92"/>
                  </a:lnTo>
                  <a:lnTo>
                    <a:pt x="261" y="97"/>
                  </a:lnTo>
                  <a:lnTo>
                    <a:pt x="265" y="104"/>
                  </a:lnTo>
                  <a:lnTo>
                    <a:pt x="278" y="113"/>
                  </a:lnTo>
                  <a:lnTo>
                    <a:pt x="280" y="121"/>
                  </a:lnTo>
                  <a:lnTo>
                    <a:pt x="279" y="128"/>
                  </a:lnTo>
                  <a:lnTo>
                    <a:pt x="282" y="135"/>
                  </a:lnTo>
                  <a:lnTo>
                    <a:pt x="288" y="141"/>
                  </a:lnTo>
                  <a:lnTo>
                    <a:pt x="291" y="148"/>
                  </a:lnTo>
                  <a:lnTo>
                    <a:pt x="294" y="153"/>
                  </a:lnTo>
                  <a:lnTo>
                    <a:pt x="300" y="157"/>
                  </a:lnTo>
                  <a:lnTo>
                    <a:pt x="305" y="156"/>
                  </a:lnTo>
                  <a:lnTo>
                    <a:pt x="309" y="164"/>
                  </a:lnTo>
                  <a:lnTo>
                    <a:pt x="310" y="169"/>
                  </a:lnTo>
                  <a:lnTo>
                    <a:pt x="319" y="190"/>
                  </a:lnTo>
                  <a:lnTo>
                    <a:pt x="374" y="200"/>
                  </a:lnTo>
                  <a:lnTo>
                    <a:pt x="378" y="196"/>
                  </a:lnTo>
                  <a:lnTo>
                    <a:pt x="387" y="210"/>
                  </a:lnTo>
                  <a:lnTo>
                    <a:pt x="379" y="252"/>
                  </a:lnTo>
                  <a:lnTo>
                    <a:pt x="327" y="273"/>
                  </a:lnTo>
                  <a:lnTo>
                    <a:pt x="275" y="281"/>
                  </a:lnTo>
                  <a:lnTo>
                    <a:pt x="259" y="290"/>
                  </a:lnTo>
                  <a:lnTo>
                    <a:pt x="247" y="312"/>
                  </a:lnTo>
                  <a:lnTo>
                    <a:pt x="239" y="315"/>
                  </a:lnTo>
                  <a:lnTo>
                    <a:pt x="234" y="308"/>
                  </a:lnTo>
                  <a:lnTo>
                    <a:pt x="227" y="309"/>
                  </a:lnTo>
                  <a:lnTo>
                    <a:pt x="210" y="307"/>
                  </a:lnTo>
                  <a:lnTo>
                    <a:pt x="206" y="305"/>
                  </a:lnTo>
                  <a:lnTo>
                    <a:pt x="185" y="306"/>
                  </a:lnTo>
                  <a:lnTo>
                    <a:pt x="181" y="308"/>
                  </a:lnTo>
                  <a:lnTo>
                    <a:pt x="173" y="302"/>
                  </a:lnTo>
                  <a:lnTo>
                    <a:pt x="169" y="312"/>
                  </a:lnTo>
                  <a:lnTo>
                    <a:pt x="171" y="321"/>
                  </a:lnTo>
                  <a:lnTo>
                    <a:pt x="163" y="328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14" name="Freeform 171">
              <a:extLst>
                <a:ext uri="{FF2B5EF4-FFF2-40B4-BE49-F238E27FC236}">
                  <a16:creationId xmlns:a16="http://schemas.microsoft.com/office/drawing/2014/main" id="{250CA812-4DA2-4A76-8CB5-F714CCCFC28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2810" y="2280081"/>
              <a:ext cx="384226" cy="362084"/>
            </a:xfrm>
            <a:custGeom>
              <a:avLst/>
              <a:gdLst>
                <a:gd name="T0" fmla="*/ 218 w 295"/>
                <a:gd name="T1" fmla="*/ 260 h 278"/>
                <a:gd name="T2" fmla="*/ 216 w 295"/>
                <a:gd name="T3" fmla="*/ 243 h 278"/>
                <a:gd name="T4" fmla="*/ 204 w 295"/>
                <a:gd name="T5" fmla="*/ 220 h 278"/>
                <a:gd name="T6" fmla="*/ 197 w 295"/>
                <a:gd name="T7" fmla="*/ 203 h 278"/>
                <a:gd name="T8" fmla="*/ 185 w 295"/>
                <a:gd name="T9" fmla="*/ 209 h 278"/>
                <a:gd name="T10" fmla="*/ 192 w 295"/>
                <a:gd name="T11" fmla="*/ 227 h 278"/>
                <a:gd name="T12" fmla="*/ 173 w 295"/>
                <a:gd name="T13" fmla="*/ 254 h 278"/>
                <a:gd name="T14" fmla="*/ 148 w 295"/>
                <a:gd name="T15" fmla="*/ 244 h 278"/>
                <a:gd name="T16" fmla="*/ 139 w 295"/>
                <a:gd name="T17" fmla="*/ 254 h 278"/>
                <a:gd name="T18" fmla="*/ 130 w 295"/>
                <a:gd name="T19" fmla="*/ 262 h 278"/>
                <a:gd name="T20" fmla="*/ 109 w 295"/>
                <a:gd name="T21" fmla="*/ 258 h 278"/>
                <a:gd name="T22" fmla="*/ 89 w 295"/>
                <a:gd name="T23" fmla="*/ 261 h 278"/>
                <a:gd name="T24" fmla="*/ 74 w 295"/>
                <a:gd name="T25" fmla="*/ 247 h 278"/>
                <a:gd name="T26" fmla="*/ 58 w 295"/>
                <a:gd name="T27" fmla="*/ 244 h 278"/>
                <a:gd name="T28" fmla="*/ 49 w 295"/>
                <a:gd name="T29" fmla="*/ 272 h 278"/>
                <a:gd name="T30" fmla="*/ 37 w 295"/>
                <a:gd name="T31" fmla="*/ 278 h 278"/>
                <a:gd name="T32" fmla="*/ 29 w 295"/>
                <a:gd name="T33" fmla="*/ 271 h 278"/>
                <a:gd name="T34" fmla="*/ 30 w 295"/>
                <a:gd name="T35" fmla="*/ 256 h 278"/>
                <a:gd name="T36" fmla="*/ 20 w 295"/>
                <a:gd name="T37" fmla="*/ 235 h 278"/>
                <a:gd name="T38" fmla="*/ 17 w 295"/>
                <a:gd name="T39" fmla="*/ 221 h 278"/>
                <a:gd name="T40" fmla="*/ 10 w 295"/>
                <a:gd name="T41" fmla="*/ 203 h 278"/>
                <a:gd name="T42" fmla="*/ 0 w 295"/>
                <a:gd name="T43" fmla="*/ 196 h 278"/>
                <a:gd name="T44" fmla="*/ 6 w 295"/>
                <a:gd name="T45" fmla="*/ 180 h 278"/>
                <a:gd name="T46" fmla="*/ 9 w 295"/>
                <a:gd name="T47" fmla="*/ 165 h 278"/>
                <a:gd name="T48" fmla="*/ 10 w 295"/>
                <a:gd name="T49" fmla="*/ 147 h 278"/>
                <a:gd name="T50" fmla="*/ 34 w 295"/>
                <a:gd name="T51" fmla="*/ 133 h 278"/>
                <a:gd name="T52" fmla="*/ 30 w 295"/>
                <a:gd name="T53" fmla="*/ 42 h 278"/>
                <a:gd name="T54" fmla="*/ 49 w 295"/>
                <a:gd name="T55" fmla="*/ 0 h 278"/>
                <a:gd name="T56" fmla="*/ 191 w 295"/>
                <a:gd name="T57" fmla="*/ 0 h 278"/>
                <a:gd name="T58" fmla="*/ 269 w 295"/>
                <a:gd name="T59" fmla="*/ 21 h 278"/>
                <a:gd name="T60" fmla="*/ 270 w 295"/>
                <a:gd name="T61" fmla="*/ 46 h 278"/>
                <a:gd name="T62" fmla="*/ 285 w 295"/>
                <a:gd name="T63" fmla="*/ 76 h 278"/>
                <a:gd name="T64" fmla="*/ 287 w 295"/>
                <a:gd name="T65" fmla="*/ 95 h 278"/>
                <a:gd name="T66" fmla="*/ 268 w 295"/>
                <a:gd name="T67" fmla="*/ 105 h 278"/>
                <a:gd name="T68" fmla="*/ 260 w 295"/>
                <a:gd name="T69" fmla="*/ 149 h 278"/>
                <a:gd name="T70" fmla="*/ 260 w 295"/>
                <a:gd name="T71" fmla="*/ 175 h 278"/>
                <a:gd name="T72" fmla="*/ 243 w 295"/>
                <a:gd name="T73" fmla="*/ 206 h 278"/>
                <a:gd name="T74" fmla="*/ 234 w 295"/>
                <a:gd name="T75" fmla="*/ 231 h 278"/>
                <a:gd name="T76" fmla="*/ 221 w 295"/>
                <a:gd name="T77" fmla="*/ 258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5" h="278">
                  <a:moveTo>
                    <a:pt x="221" y="261"/>
                  </a:moveTo>
                  <a:lnTo>
                    <a:pt x="218" y="260"/>
                  </a:lnTo>
                  <a:lnTo>
                    <a:pt x="218" y="250"/>
                  </a:lnTo>
                  <a:lnTo>
                    <a:pt x="216" y="243"/>
                  </a:lnTo>
                  <a:lnTo>
                    <a:pt x="207" y="235"/>
                  </a:lnTo>
                  <a:lnTo>
                    <a:pt x="204" y="220"/>
                  </a:lnTo>
                  <a:lnTo>
                    <a:pt x="206" y="204"/>
                  </a:lnTo>
                  <a:lnTo>
                    <a:pt x="197" y="203"/>
                  </a:lnTo>
                  <a:lnTo>
                    <a:pt x="196" y="208"/>
                  </a:lnTo>
                  <a:lnTo>
                    <a:pt x="185" y="209"/>
                  </a:lnTo>
                  <a:lnTo>
                    <a:pt x="190" y="215"/>
                  </a:lnTo>
                  <a:lnTo>
                    <a:pt x="192" y="227"/>
                  </a:lnTo>
                  <a:lnTo>
                    <a:pt x="182" y="239"/>
                  </a:lnTo>
                  <a:lnTo>
                    <a:pt x="173" y="254"/>
                  </a:lnTo>
                  <a:lnTo>
                    <a:pt x="164" y="256"/>
                  </a:lnTo>
                  <a:lnTo>
                    <a:pt x="148" y="244"/>
                  </a:lnTo>
                  <a:lnTo>
                    <a:pt x="141" y="248"/>
                  </a:lnTo>
                  <a:lnTo>
                    <a:pt x="139" y="254"/>
                  </a:lnTo>
                  <a:lnTo>
                    <a:pt x="130" y="258"/>
                  </a:lnTo>
                  <a:lnTo>
                    <a:pt x="130" y="262"/>
                  </a:lnTo>
                  <a:lnTo>
                    <a:pt x="111" y="262"/>
                  </a:lnTo>
                  <a:lnTo>
                    <a:pt x="109" y="258"/>
                  </a:lnTo>
                  <a:lnTo>
                    <a:pt x="95" y="257"/>
                  </a:lnTo>
                  <a:lnTo>
                    <a:pt x="89" y="261"/>
                  </a:lnTo>
                  <a:lnTo>
                    <a:pt x="84" y="259"/>
                  </a:lnTo>
                  <a:lnTo>
                    <a:pt x="74" y="247"/>
                  </a:lnTo>
                  <a:lnTo>
                    <a:pt x="71" y="241"/>
                  </a:lnTo>
                  <a:lnTo>
                    <a:pt x="58" y="244"/>
                  </a:lnTo>
                  <a:lnTo>
                    <a:pt x="53" y="254"/>
                  </a:lnTo>
                  <a:lnTo>
                    <a:pt x="49" y="272"/>
                  </a:lnTo>
                  <a:lnTo>
                    <a:pt x="42" y="276"/>
                  </a:lnTo>
                  <a:lnTo>
                    <a:pt x="37" y="278"/>
                  </a:lnTo>
                  <a:lnTo>
                    <a:pt x="35" y="277"/>
                  </a:lnTo>
                  <a:lnTo>
                    <a:pt x="29" y="271"/>
                  </a:lnTo>
                  <a:lnTo>
                    <a:pt x="28" y="265"/>
                  </a:lnTo>
                  <a:lnTo>
                    <a:pt x="30" y="256"/>
                  </a:lnTo>
                  <a:lnTo>
                    <a:pt x="30" y="248"/>
                  </a:lnTo>
                  <a:lnTo>
                    <a:pt x="20" y="235"/>
                  </a:lnTo>
                  <a:lnTo>
                    <a:pt x="17" y="226"/>
                  </a:lnTo>
                  <a:lnTo>
                    <a:pt x="17" y="221"/>
                  </a:lnTo>
                  <a:lnTo>
                    <a:pt x="10" y="215"/>
                  </a:lnTo>
                  <a:lnTo>
                    <a:pt x="10" y="203"/>
                  </a:lnTo>
                  <a:lnTo>
                    <a:pt x="6" y="195"/>
                  </a:lnTo>
                  <a:lnTo>
                    <a:pt x="0" y="196"/>
                  </a:lnTo>
                  <a:lnTo>
                    <a:pt x="1" y="188"/>
                  </a:lnTo>
                  <a:lnTo>
                    <a:pt x="6" y="180"/>
                  </a:lnTo>
                  <a:lnTo>
                    <a:pt x="4" y="171"/>
                  </a:lnTo>
                  <a:lnTo>
                    <a:pt x="9" y="165"/>
                  </a:lnTo>
                  <a:lnTo>
                    <a:pt x="6" y="160"/>
                  </a:lnTo>
                  <a:lnTo>
                    <a:pt x="10" y="147"/>
                  </a:lnTo>
                  <a:lnTo>
                    <a:pt x="18" y="132"/>
                  </a:lnTo>
                  <a:lnTo>
                    <a:pt x="34" y="133"/>
                  </a:lnTo>
                  <a:lnTo>
                    <a:pt x="30" y="51"/>
                  </a:lnTo>
                  <a:lnTo>
                    <a:pt x="30" y="42"/>
                  </a:lnTo>
                  <a:lnTo>
                    <a:pt x="51" y="42"/>
                  </a:lnTo>
                  <a:lnTo>
                    <a:pt x="49" y="0"/>
                  </a:lnTo>
                  <a:lnTo>
                    <a:pt x="121" y="0"/>
                  </a:lnTo>
                  <a:lnTo>
                    <a:pt x="191" y="0"/>
                  </a:lnTo>
                  <a:lnTo>
                    <a:pt x="262" y="0"/>
                  </a:lnTo>
                  <a:lnTo>
                    <a:pt x="269" y="21"/>
                  </a:lnTo>
                  <a:lnTo>
                    <a:pt x="266" y="24"/>
                  </a:lnTo>
                  <a:lnTo>
                    <a:pt x="270" y="46"/>
                  </a:lnTo>
                  <a:lnTo>
                    <a:pt x="278" y="71"/>
                  </a:lnTo>
                  <a:lnTo>
                    <a:pt x="285" y="76"/>
                  </a:lnTo>
                  <a:lnTo>
                    <a:pt x="295" y="84"/>
                  </a:lnTo>
                  <a:lnTo>
                    <a:pt x="287" y="95"/>
                  </a:lnTo>
                  <a:lnTo>
                    <a:pt x="273" y="99"/>
                  </a:lnTo>
                  <a:lnTo>
                    <a:pt x="268" y="105"/>
                  </a:lnTo>
                  <a:lnTo>
                    <a:pt x="267" y="119"/>
                  </a:lnTo>
                  <a:lnTo>
                    <a:pt x="260" y="149"/>
                  </a:lnTo>
                  <a:lnTo>
                    <a:pt x="263" y="158"/>
                  </a:lnTo>
                  <a:lnTo>
                    <a:pt x="260" y="175"/>
                  </a:lnTo>
                  <a:lnTo>
                    <a:pt x="254" y="196"/>
                  </a:lnTo>
                  <a:lnTo>
                    <a:pt x="243" y="206"/>
                  </a:lnTo>
                  <a:lnTo>
                    <a:pt x="236" y="222"/>
                  </a:lnTo>
                  <a:lnTo>
                    <a:pt x="234" y="231"/>
                  </a:lnTo>
                  <a:lnTo>
                    <a:pt x="226" y="236"/>
                  </a:lnTo>
                  <a:lnTo>
                    <a:pt x="221" y="258"/>
                  </a:lnTo>
                  <a:lnTo>
                    <a:pt x="221" y="261"/>
                  </a:lnTo>
                  <a:close/>
                </a:path>
              </a:pathLst>
            </a:custGeom>
            <a:solidFill>
              <a:srgbClr val="0A58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15" name="Freeform 172">
              <a:extLst>
                <a:ext uri="{FF2B5EF4-FFF2-40B4-BE49-F238E27FC236}">
                  <a16:creationId xmlns:a16="http://schemas.microsoft.com/office/drawing/2014/main" id="{CE481D81-4D7A-44F3-B677-3BB8E413292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1002" y="2544481"/>
              <a:ext cx="273517" cy="237048"/>
            </a:xfrm>
            <a:custGeom>
              <a:avLst/>
              <a:gdLst>
                <a:gd name="T0" fmla="*/ 184 w 210"/>
                <a:gd name="T1" fmla="*/ 58 h 182"/>
                <a:gd name="T2" fmla="*/ 185 w 210"/>
                <a:gd name="T3" fmla="*/ 74 h 182"/>
                <a:gd name="T4" fmla="*/ 182 w 210"/>
                <a:gd name="T5" fmla="*/ 80 h 182"/>
                <a:gd name="T6" fmla="*/ 172 w 210"/>
                <a:gd name="T7" fmla="*/ 81 h 182"/>
                <a:gd name="T8" fmla="*/ 166 w 210"/>
                <a:gd name="T9" fmla="*/ 93 h 182"/>
                <a:gd name="T10" fmla="*/ 178 w 210"/>
                <a:gd name="T11" fmla="*/ 94 h 182"/>
                <a:gd name="T12" fmla="*/ 187 w 210"/>
                <a:gd name="T13" fmla="*/ 104 h 182"/>
                <a:gd name="T14" fmla="*/ 191 w 210"/>
                <a:gd name="T15" fmla="*/ 113 h 182"/>
                <a:gd name="T16" fmla="*/ 199 w 210"/>
                <a:gd name="T17" fmla="*/ 117 h 182"/>
                <a:gd name="T18" fmla="*/ 210 w 210"/>
                <a:gd name="T19" fmla="*/ 140 h 182"/>
                <a:gd name="T20" fmla="*/ 198 w 210"/>
                <a:gd name="T21" fmla="*/ 154 h 182"/>
                <a:gd name="T22" fmla="*/ 187 w 210"/>
                <a:gd name="T23" fmla="*/ 166 h 182"/>
                <a:gd name="T24" fmla="*/ 175 w 210"/>
                <a:gd name="T25" fmla="*/ 176 h 182"/>
                <a:gd name="T26" fmla="*/ 163 w 210"/>
                <a:gd name="T27" fmla="*/ 176 h 182"/>
                <a:gd name="T28" fmla="*/ 148 w 210"/>
                <a:gd name="T29" fmla="*/ 180 h 182"/>
                <a:gd name="T30" fmla="*/ 136 w 210"/>
                <a:gd name="T31" fmla="*/ 176 h 182"/>
                <a:gd name="T32" fmla="*/ 129 w 210"/>
                <a:gd name="T33" fmla="*/ 182 h 182"/>
                <a:gd name="T34" fmla="*/ 112 w 210"/>
                <a:gd name="T35" fmla="*/ 168 h 182"/>
                <a:gd name="T36" fmla="*/ 108 w 210"/>
                <a:gd name="T37" fmla="*/ 159 h 182"/>
                <a:gd name="T38" fmla="*/ 98 w 210"/>
                <a:gd name="T39" fmla="*/ 163 h 182"/>
                <a:gd name="T40" fmla="*/ 89 w 210"/>
                <a:gd name="T41" fmla="*/ 162 h 182"/>
                <a:gd name="T42" fmla="*/ 84 w 210"/>
                <a:gd name="T43" fmla="*/ 165 h 182"/>
                <a:gd name="T44" fmla="*/ 76 w 210"/>
                <a:gd name="T45" fmla="*/ 163 h 182"/>
                <a:gd name="T46" fmla="*/ 65 w 210"/>
                <a:gd name="T47" fmla="*/ 146 h 182"/>
                <a:gd name="T48" fmla="*/ 62 w 210"/>
                <a:gd name="T49" fmla="*/ 139 h 182"/>
                <a:gd name="T50" fmla="*/ 48 w 210"/>
                <a:gd name="T51" fmla="*/ 131 h 182"/>
                <a:gd name="T52" fmla="*/ 43 w 210"/>
                <a:gd name="T53" fmla="*/ 118 h 182"/>
                <a:gd name="T54" fmla="*/ 35 w 210"/>
                <a:gd name="T55" fmla="*/ 109 h 182"/>
                <a:gd name="T56" fmla="*/ 23 w 210"/>
                <a:gd name="T57" fmla="*/ 99 h 182"/>
                <a:gd name="T58" fmla="*/ 23 w 210"/>
                <a:gd name="T59" fmla="*/ 92 h 182"/>
                <a:gd name="T60" fmla="*/ 13 w 210"/>
                <a:gd name="T61" fmla="*/ 84 h 182"/>
                <a:gd name="T62" fmla="*/ 0 w 210"/>
                <a:gd name="T63" fmla="*/ 75 h 182"/>
                <a:gd name="T64" fmla="*/ 5 w 210"/>
                <a:gd name="T65" fmla="*/ 73 h 182"/>
                <a:gd name="T66" fmla="*/ 12 w 210"/>
                <a:gd name="T67" fmla="*/ 69 h 182"/>
                <a:gd name="T68" fmla="*/ 16 w 210"/>
                <a:gd name="T69" fmla="*/ 51 h 182"/>
                <a:gd name="T70" fmla="*/ 21 w 210"/>
                <a:gd name="T71" fmla="*/ 41 h 182"/>
                <a:gd name="T72" fmla="*/ 34 w 210"/>
                <a:gd name="T73" fmla="*/ 38 h 182"/>
                <a:gd name="T74" fmla="*/ 37 w 210"/>
                <a:gd name="T75" fmla="*/ 44 h 182"/>
                <a:gd name="T76" fmla="*/ 47 w 210"/>
                <a:gd name="T77" fmla="*/ 56 h 182"/>
                <a:gd name="T78" fmla="*/ 52 w 210"/>
                <a:gd name="T79" fmla="*/ 58 h 182"/>
                <a:gd name="T80" fmla="*/ 59 w 210"/>
                <a:gd name="T81" fmla="*/ 54 h 182"/>
                <a:gd name="T82" fmla="*/ 72 w 210"/>
                <a:gd name="T83" fmla="*/ 55 h 182"/>
                <a:gd name="T84" fmla="*/ 74 w 210"/>
                <a:gd name="T85" fmla="*/ 59 h 182"/>
                <a:gd name="T86" fmla="*/ 93 w 210"/>
                <a:gd name="T87" fmla="*/ 59 h 182"/>
                <a:gd name="T88" fmla="*/ 93 w 210"/>
                <a:gd name="T89" fmla="*/ 55 h 182"/>
                <a:gd name="T90" fmla="*/ 102 w 210"/>
                <a:gd name="T91" fmla="*/ 51 h 182"/>
                <a:gd name="T92" fmla="*/ 104 w 210"/>
                <a:gd name="T93" fmla="*/ 45 h 182"/>
                <a:gd name="T94" fmla="*/ 111 w 210"/>
                <a:gd name="T95" fmla="*/ 41 h 182"/>
                <a:gd name="T96" fmla="*/ 127 w 210"/>
                <a:gd name="T97" fmla="*/ 53 h 182"/>
                <a:gd name="T98" fmla="*/ 136 w 210"/>
                <a:gd name="T99" fmla="*/ 51 h 182"/>
                <a:gd name="T100" fmla="*/ 145 w 210"/>
                <a:gd name="T101" fmla="*/ 36 h 182"/>
                <a:gd name="T102" fmla="*/ 155 w 210"/>
                <a:gd name="T103" fmla="*/ 24 h 182"/>
                <a:gd name="T104" fmla="*/ 153 w 210"/>
                <a:gd name="T105" fmla="*/ 12 h 182"/>
                <a:gd name="T106" fmla="*/ 148 w 210"/>
                <a:gd name="T107" fmla="*/ 6 h 182"/>
                <a:gd name="T108" fmla="*/ 159 w 210"/>
                <a:gd name="T109" fmla="*/ 5 h 182"/>
                <a:gd name="T110" fmla="*/ 160 w 210"/>
                <a:gd name="T111" fmla="*/ 0 h 182"/>
                <a:gd name="T112" fmla="*/ 169 w 210"/>
                <a:gd name="T113" fmla="*/ 1 h 182"/>
                <a:gd name="T114" fmla="*/ 167 w 210"/>
                <a:gd name="T115" fmla="*/ 17 h 182"/>
                <a:gd name="T116" fmla="*/ 170 w 210"/>
                <a:gd name="T117" fmla="*/ 32 h 182"/>
                <a:gd name="T118" fmla="*/ 179 w 210"/>
                <a:gd name="T119" fmla="*/ 40 h 182"/>
                <a:gd name="T120" fmla="*/ 181 w 210"/>
                <a:gd name="T121" fmla="*/ 47 h 182"/>
                <a:gd name="T122" fmla="*/ 181 w 210"/>
                <a:gd name="T123" fmla="*/ 57 h 182"/>
                <a:gd name="T124" fmla="*/ 184 w 210"/>
                <a:gd name="T125" fmla="*/ 58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0" h="182">
                  <a:moveTo>
                    <a:pt x="184" y="58"/>
                  </a:moveTo>
                  <a:lnTo>
                    <a:pt x="185" y="74"/>
                  </a:lnTo>
                  <a:lnTo>
                    <a:pt x="182" y="80"/>
                  </a:lnTo>
                  <a:lnTo>
                    <a:pt x="172" y="81"/>
                  </a:lnTo>
                  <a:lnTo>
                    <a:pt x="166" y="93"/>
                  </a:lnTo>
                  <a:lnTo>
                    <a:pt x="178" y="94"/>
                  </a:lnTo>
                  <a:lnTo>
                    <a:pt x="187" y="104"/>
                  </a:lnTo>
                  <a:lnTo>
                    <a:pt x="191" y="113"/>
                  </a:lnTo>
                  <a:lnTo>
                    <a:pt x="199" y="117"/>
                  </a:lnTo>
                  <a:lnTo>
                    <a:pt x="210" y="140"/>
                  </a:lnTo>
                  <a:lnTo>
                    <a:pt x="198" y="154"/>
                  </a:lnTo>
                  <a:lnTo>
                    <a:pt x="187" y="166"/>
                  </a:lnTo>
                  <a:lnTo>
                    <a:pt x="175" y="176"/>
                  </a:lnTo>
                  <a:lnTo>
                    <a:pt x="163" y="176"/>
                  </a:lnTo>
                  <a:lnTo>
                    <a:pt x="148" y="180"/>
                  </a:lnTo>
                  <a:lnTo>
                    <a:pt x="136" y="176"/>
                  </a:lnTo>
                  <a:lnTo>
                    <a:pt x="129" y="182"/>
                  </a:lnTo>
                  <a:lnTo>
                    <a:pt x="112" y="168"/>
                  </a:lnTo>
                  <a:lnTo>
                    <a:pt x="108" y="159"/>
                  </a:lnTo>
                  <a:lnTo>
                    <a:pt x="98" y="163"/>
                  </a:lnTo>
                  <a:lnTo>
                    <a:pt x="89" y="162"/>
                  </a:lnTo>
                  <a:lnTo>
                    <a:pt x="84" y="165"/>
                  </a:lnTo>
                  <a:lnTo>
                    <a:pt x="76" y="163"/>
                  </a:lnTo>
                  <a:lnTo>
                    <a:pt x="65" y="146"/>
                  </a:lnTo>
                  <a:lnTo>
                    <a:pt x="62" y="139"/>
                  </a:lnTo>
                  <a:lnTo>
                    <a:pt x="48" y="131"/>
                  </a:lnTo>
                  <a:lnTo>
                    <a:pt x="43" y="118"/>
                  </a:lnTo>
                  <a:lnTo>
                    <a:pt x="35" y="109"/>
                  </a:lnTo>
                  <a:lnTo>
                    <a:pt x="23" y="99"/>
                  </a:lnTo>
                  <a:lnTo>
                    <a:pt x="23" y="92"/>
                  </a:lnTo>
                  <a:lnTo>
                    <a:pt x="13" y="84"/>
                  </a:lnTo>
                  <a:lnTo>
                    <a:pt x="0" y="75"/>
                  </a:lnTo>
                  <a:lnTo>
                    <a:pt x="5" y="73"/>
                  </a:lnTo>
                  <a:lnTo>
                    <a:pt x="12" y="69"/>
                  </a:lnTo>
                  <a:lnTo>
                    <a:pt x="16" y="51"/>
                  </a:lnTo>
                  <a:lnTo>
                    <a:pt x="21" y="41"/>
                  </a:lnTo>
                  <a:lnTo>
                    <a:pt x="34" y="38"/>
                  </a:lnTo>
                  <a:lnTo>
                    <a:pt x="37" y="44"/>
                  </a:lnTo>
                  <a:lnTo>
                    <a:pt x="47" y="56"/>
                  </a:lnTo>
                  <a:lnTo>
                    <a:pt x="52" y="58"/>
                  </a:lnTo>
                  <a:lnTo>
                    <a:pt x="59" y="54"/>
                  </a:lnTo>
                  <a:lnTo>
                    <a:pt x="72" y="55"/>
                  </a:lnTo>
                  <a:lnTo>
                    <a:pt x="74" y="59"/>
                  </a:lnTo>
                  <a:lnTo>
                    <a:pt x="93" y="59"/>
                  </a:lnTo>
                  <a:lnTo>
                    <a:pt x="93" y="55"/>
                  </a:lnTo>
                  <a:lnTo>
                    <a:pt x="102" y="51"/>
                  </a:lnTo>
                  <a:lnTo>
                    <a:pt x="104" y="45"/>
                  </a:lnTo>
                  <a:lnTo>
                    <a:pt x="111" y="41"/>
                  </a:lnTo>
                  <a:lnTo>
                    <a:pt x="127" y="53"/>
                  </a:lnTo>
                  <a:lnTo>
                    <a:pt x="136" y="51"/>
                  </a:lnTo>
                  <a:lnTo>
                    <a:pt x="145" y="36"/>
                  </a:lnTo>
                  <a:lnTo>
                    <a:pt x="155" y="24"/>
                  </a:lnTo>
                  <a:lnTo>
                    <a:pt x="153" y="12"/>
                  </a:lnTo>
                  <a:lnTo>
                    <a:pt x="148" y="6"/>
                  </a:lnTo>
                  <a:lnTo>
                    <a:pt x="159" y="5"/>
                  </a:lnTo>
                  <a:lnTo>
                    <a:pt x="160" y="0"/>
                  </a:lnTo>
                  <a:lnTo>
                    <a:pt x="169" y="1"/>
                  </a:lnTo>
                  <a:lnTo>
                    <a:pt x="167" y="17"/>
                  </a:lnTo>
                  <a:lnTo>
                    <a:pt x="170" y="32"/>
                  </a:lnTo>
                  <a:lnTo>
                    <a:pt x="179" y="40"/>
                  </a:lnTo>
                  <a:lnTo>
                    <a:pt x="181" y="47"/>
                  </a:lnTo>
                  <a:lnTo>
                    <a:pt x="181" y="57"/>
                  </a:lnTo>
                  <a:lnTo>
                    <a:pt x="184" y="5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16" name="Freeform 173">
              <a:extLst>
                <a:ext uri="{FF2B5EF4-FFF2-40B4-BE49-F238E27FC236}">
                  <a16:creationId xmlns:a16="http://schemas.microsoft.com/office/drawing/2014/main" id="{264C0FF4-2194-4580-B54D-16CE58EBA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434" y="2427260"/>
              <a:ext cx="145875" cy="114616"/>
            </a:xfrm>
            <a:custGeom>
              <a:avLst/>
              <a:gdLst>
                <a:gd name="T0" fmla="*/ 17 w 112"/>
                <a:gd name="T1" fmla="*/ 62 h 88"/>
                <a:gd name="T2" fmla="*/ 10 w 112"/>
                <a:gd name="T3" fmla="*/ 46 h 88"/>
                <a:gd name="T4" fmla="*/ 0 w 112"/>
                <a:gd name="T5" fmla="*/ 38 h 88"/>
                <a:gd name="T6" fmla="*/ 9 w 112"/>
                <a:gd name="T7" fmla="*/ 34 h 88"/>
                <a:gd name="T8" fmla="*/ 18 w 112"/>
                <a:gd name="T9" fmla="*/ 20 h 88"/>
                <a:gd name="T10" fmla="*/ 22 w 112"/>
                <a:gd name="T11" fmla="*/ 9 h 88"/>
                <a:gd name="T12" fmla="*/ 29 w 112"/>
                <a:gd name="T13" fmla="*/ 2 h 88"/>
                <a:gd name="T14" fmla="*/ 38 w 112"/>
                <a:gd name="T15" fmla="*/ 4 h 88"/>
                <a:gd name="T16" fmla="*/ 47 w 112"/>
                <a:gd name="T17" fmla="*/ 0 h 88"/>
                <a:gd name="T18" fmla="*/ 57 w 112"/>
                <a:gd name="T19" fmla="*/ 0 h 88"/>
                <a:gd name="T20" fmla="*/ 65 w 112"/>
                <a:gd name="T21" fmla="*/ 6 h 88"/>
                <a:gd name="T22" fmla="*/ 77 w 112"/>
                <a:gd name="T23" fmla="*/ 11 h 88"/>
                <a:gd name="T24" fmla="*/ 88 w 112"/>
                <a:gd name="T25" fmla="*/ 26 h 88"/>
                <a:gd name="T26" fmla="*/ 100 w 112"/>
                <a:gd name="T27" fmla="*/ 41 h 88"/>
                <a:gd name="T28" fmla="*/ 100 w 112"/>
                <a:gd name="T29" fmla="*/ 54 h 88"/>
                <a:gd name="T30" fmla="*/ 104 w 112"/>
                <a:gd name="T31" fmla="*/ 66 h 88"/>
                <a:gd name="T32" fmla="*/ 111 w 112"/>
                <a:gd name="T33" fmla="*/ 71 h 88"/>
                <a:gd name="T34" fmla="*/ 112 w 112"/>
                <a:gd name="T35" fmla="*/ 79 h 88"/>
                <a:gd name="T36" fmla="*/ 111 w 112"/>
                <a:gd name="T37" fmla="*/ 86 h 88"/>
                <a:gd name="T38" fmla="*/ 109 w 112"/>
                <a:gd name="T39" fmla="*/ 87 h 88"/>
                <a:gd name="T40" fmla="*/ 99 w 112"/>
                <a:gd name="T41" fmla="*/ 85 h 88"/>
                <a:gd name="T42" fmla="*/ 97 w 112"/>
                <a:gd name="T43" fmla="*/ 88 h 88"/>
                <a:gd name="T44" fmla="*/ 93 w 112"/>
                <a:gd name="T45" fmla="*/ 88 h 88"/>
                <a:gd name="T46" fmla="*/ 80 w 112"/>
                <a:gd name="T47" fmla="*/ 83 h 88"/>
                <a:gd name="T48" fmla="*/ 71 w 112"/>
                <a:gd name="T49" fmla="*/ 83 h 88"/>
                <a:gd name="T50" fmla="*/ 38 w 112"/>
                <a:gd name="T51" fmla="*/ 82 h 88"/>
                <a:gd name="T52" fmla="*/ 33 w 112"/>
                <a:gd name="T53" fmla="*/ 84 h 88"/>
                <a:gd name="T54" fmla="*/ 27 w 112"/>
                <a:gd name="T55" fmla="*/ 84 h 88"/>
                <a:gd name="T56" fmla="*/ 17 w 112"/>
                <a:gd name="T57" fmla="*/ 87 h 88"/>
                <a:gd name="T58" fmla="*/ 14 w 112"/>
                <a:gd name="T59" fmla="*/ 71 h 88"/>
                <a:gd name="T60" fmla="*/ 31 w 112"/>
                <a:gd name="T61" fmla="*/ 72 h 88"/>
                <a:gd name="T62" fmla="*/ 35 w 112"/>
                <a:gd name="T63" fmla="*/ 69 h 88"/>
                <a:gd name="T64" fmla="*/ 39 w 112"/>
                <a:gd name="T65" fmla="*/ 69 h 88"/>
                <a:gd name="T66" fmla="*/ 45 w 112"/>
                <a:gd name="T67" fmla="*/ 64 h 88"/>
                <a:gd name="T68" fmla="*/ 53 w 112"/>
                <a:gd name="T69" fmla="*/ 68 h 88"/>
                <a:gd name="T70" fmla="*/ 61 w 112"/>
                <a:gd name="T71" fmla="*/ 69 h 88"/>
                <a:gd name="T72" fmla="*/ 69 w 112"/>
                <a:gd name="T73" fmla="*/ 64 h 88"/>
                <a:gd name="T74" fmla="*/ 65 w 112"/>
                <a:gd name="T75" fmla="*/ 58 h 88"/>
                <a:gd name="T76" fmla="*/ 59 w 112"/>
                <a:gd name="T77" fmla="*/ 61 h 88"/>
                <a:gd name="T78" fmla="*/ 54 w 112"/>
                <a:gd name="T79" fmla="*/ 61 h 88"/>
                <a:gd name="T80" fmla="*/ 47 w 112"/>
                <a:gd name="T81" fmla="*/ 56 h 88"/>
                <a:gd name="T82" fmla="*/ 41 w 112"/>
                <a:gd name="T83" fmla="*/ 56 h 88"/>
                <a:gd name="T84" fmla="*/ 37 w 112"/>
                <a:gd name="T85" fmla="*/ 61 h 88"/>
                <a:gd name="T86" fmla="*/ 17 w 112"/>
                <a:gd name="T87" fmla="*/ 6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12" h="88">
                  <a:moveTo>
                    <a:pt x="17" y="62"/>
                  </a:moveTo>
                  <a:lnTo>
                    <a:pt x="10" y="46"/>
                  </a:lnTo>
                  <a:lnTo>
                    <a:pt x="0" y="38"/>
                  </a:lnTo>
                  <a:lnTo>
                    <a:pt x="9" y="34"/>
                  </a:lnTo>
                  <a:lnTo>
                    <a:pt x="18" y="20"/>
                  </a:lnTo>
                  <a:lnTo>
                    <a:pt x="22" y="9"/>
                  </a:lnTo>
                  <a:lnTo>
                    <a:pt x="29" y="2"/>
                  </a:lnTo>
                  <a:lnTo>
                    <a:pt x="38" y="4"/>
                  </a:lnTo>
                  <a:lnTo>
                    <a:pt x="47" y="0"/>
                  </a:lnTo>
                  <a:lnTo>
                    <a:pt x="57" y="0"/>
                  </a:lnTo>
                  <a:lnTo>
                    <a:pt x="65" y="6"/>
                  </a:lnTo>
                  <a:lnTo>
                    <a:pt x="77" y="11"/>
                  </a:lnTo>
                  <a:lnTo>
                    <a:pt x="88" y="26"/>
                  </a:lnTo>
                  <a:lnTo>
                    <a:pt x="100" y="41"/>
                  </a:lnTo>
                  <a:lnTo>
                    <a:pt x="100" y="54"/>
                  </a:lnTo>
                  <a:lnTo>
                    <a:pt x="104" y="66"/>
                  </a:lnTo>
                  <a:lnTo>
                    <a:pt x="111" y="71"/>
                  </a:lnTo>
                  <a:lnTo>
                    <a:pt x="112" y="79"/>
                  </a:lnTo>
                  <a:lnTo>
                    <a:pt x="111" y="86"/>
                  </a:lnTo>
                  <a:lnTo>
                    <a:pt x="109" y="87"/>
                  </a:lnTo>
                  <a:lnTo>
                    <a:pt x="99" y="85"/>
                  </a:lnTo>
                  <a:lnTo>
                    <a:pt x="97" y="88"/>
                  </a:lnTo>
                  <a:lnTo>
                    <a:pt x="93" y="88"/>
                  </a:lnTo>
                  <a:lnTo>
                    <a:pt x="80" y="83"/>
                  </a:lnTo>
                  <a:lnTo>
                    <a:pt x="71" y="83"/>
                  </a:lnTo>
                  <a:lnTo>
                    <a:pt x="38" y="82"/>
                  </a:lnTo>
                  <a:lnTo>
                    <a:pt x="33" y="84"/>
                  </a:lnTo>
                  <a:lnTo>
                    <a:pt x="27" y="84"/>
                  </a:lnTo>
                  <a:lnTo>
                    <a:pt x="17" y="87"/>
                  </a:lnTo>
                  <a:lnTo>
                    <a:pt x="14" y="71"/>
                  </a:lnTo>
                  <a:lnTo>
                    <a:pt x="31" y="72"/>
                  </a:lnTo>
                  <a:lnTo>
                    <a:pt x="35" y="69"/>
                  </a:lnTo>
                  <a:lnTo>
                    <a:pt x="39" y="69"/>
                  </a:lnTo>
                  <a:lnTo>
                    <a:pt x="45" y="64"/>
                  </a:lnTo>
                  <a:lnTo>
                    <a:pt x="53" y="68"/>
                  </a:lnTo>
                  <a:lnTo>
                    <a:pt x="61" y="69"/>
                  </a:lnTo>
                  <a:lnTo>
                    <a:pt x="69" y="64"/>
                  </a:lnTo>
                  <a:lnTo>
                    <a:pt x="65" y="58"/>
                  </a:lnTo>
                  <a:lnTo>
                    <a:pt x="59" y="61"/>
                  </a:lnTo>
                  <a:lnTo>
                    <a:pt x="54" y="61"/>
                  </a:lnTo>
                  <a:lnTo>
                    <a:pt x="47" y="56"/>
                  </a:lnTo>
                  <a:lnTo>
                    <a:pt x="41" y="56"/>
                  </a:lnTo>
                  <a:lnTo>
                    <a:pt x="37" y="61"/>
                  </a:lnTo>
                  <a:lnTo>
                    <a:pt x="17" y="6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 dirty="0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17" name="Freeform 174">
              <a:extLst>
                <a:ext uri="{FF2B5EF4-FFF2-40B4-BE49-F238E27FC236}">
                  <a16:creationId xmlns:a16="http://schemas.microsoft.com/office/drawing/2014/main" id="{F6565BA4-8E48-424C-B99E-40009916CD99}"/>
                </a:ext>
              </a:extLst>
            </p:cNvPr>
            <p:cNvSpPr>
              <a:spLocks/>
            </p:cNvSpPr>
            <p:nvPr/>
          </p:nvSpPr>
          <p:spPr bwMode="auto">
            <a:xfrm>
              <a:off x="8084082" y="3152730"/>
              <a:ext cx="23444" cy="15630"/>
            </a:xfrm>
            <a:custGeom>
              <a:avLst/>
              <a:gdLst>
                <a:gd name="T0" fmla="*/ 14 w 18"/>
                <a:gd name="T1" fmla="*/ 5 h 12"/>
                <a:gd name="T2" fmla="*/ 18 w 18"/>
                <a:gd name="T3" fmla="*/ 12 h 12"/>
                <a:gd name="T4" fmla="*/ 6 w 18"/>
                <a:gd name="T5" fmla="*/ 12 h 12"/>
                <a:gd name="T6" fmla="*/ 0 w 18"/>
                <a:gd name="T7" fmla="*/ 0 h 12"/>
                <a:gd name="T8" fmla="*/ 11 w 18"/>
                <a:gd name="T9" fmla="*/ 4 h 12"/>
                <a:gd name="T10" fmla="*/ 14 w 18"/>
                <a:gd name="T11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2">
                  <a:moveTo>
                    <a:pt x="14" y="5"/>
                  </a:moveTo>
                  <a:lnTo>
                    <a:pt x="18" y="12"/>
                  </a:lnTo>
                  <a:lnTo>
                    <a:pt x="6" y="12"/>
                  </a:lnTo>
                  <a:lnTo>
                    <a:pt x="0" y="0"/>
                  </a:lnTo>
                  <a:lnTo>
                    <a:pt x="11" y="4"/>
                  </a:lnTo>
                  <a:lnTo>
                    <a:pt x="14" y="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18" name="Freeform 175">
              <a:extLst>
                <a:ext uri="{FF2B5EF4-FFF2-40B4-BE49-F238E27FC236}">
                  <a16:creationId xmlns:a16="http://schemas.microsoft.com/office/drawing/2014/main" id="{9460C9C1-EB95-43B8-B33D-3A2A7D0DB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6311" y="3126681"/>
              <a:ext cx="28654" cy="16932"/>
            </a:xfrm>
            <a:custGeom>
              <a:avLst/>
              <a:gdLst>
                <a:gd name="T0" fmla="*/ 22 w 22"/>
                <a:gd name="T1" fmla="*/ 12 h 13"/>
                <a:gd name="T2" fmla="*/ 15 w 22"/>
                <a:gd name="T3" fmla="*/ 13 h 13"/>
                <a:gd name="T4" fmla="*/ 4 w 22"/>
                <a:gd name="T5" fmla="*/ 11 h 13"/>
                <a:gd name="T6" fmla="*/ 0 w 22"/>
                <a:gd name="T7" fmla="*/ 8 h 13"/>
                <a:gd name="T8" fmla="*/ 2 w 22"/>
                <a:gd name="T9" fmla="*/ 0 h 13"/>
                <a:gd name="T10" fmla="*/ 14 w 22"/>
                <a:gd name="T11" fmla="*/ 3 h 13"/>
                <a:gd name="T12" fmla="*/ 19 w 22"/>
                <a:gd name="T13" fmla="*/ 7 h 13"/>
                <a:gd name="T14" fmla="*/ 22 w 22"/>
                <a:gd name="T15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13">
                  <a:moveTo>
                    <a:pt x="22" y="12"/>
                  </a:moveTo>
                  <a:lnTo>
                    <a:pt x="15" y="13"/>
                  </a:lnTo>
                  <a:lnTo>
                    <a:pt x="4" y="11"/>
                  </a:lnTo>
                  <a:lnTo>
                    <a:pt x="0" y="8"/>
                  </a:lnTo>
                  <a:lnTo>
                    <a:pt x="2" y="0"/>
                  </a:lnTo>
                  <a:lnTo>
                    <a:pt x="14" y="3"/>
                  </a:lnTo>
                  <a:lnTo>
                    <a:pt x="19" y="7"/>
                  </a:lnTo>
                  <a:lnTo>
                    <a:pt x="22" y="1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19" name="Freeform 176">
              <a:extLst>
                <a:ext uri="{FF2B5EF4-FFF2-40B4-BE49-F238E27FC236}">
                  <a16:creationId xmlns:a16="http://schemas.microsoft.com/office/drawing/2014/main" id="{B8429833-8B05-4C59-A776-443739E46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8072361" y="3100632"/>
              <a:ext cx="22142" cy="40377"/>
            </a:xfrm>
            <a:custGeom>
              <a:avLst/>
              <a:gdLst>
                <a:gd name="T0" fmla="*/ 17 w 17"/>
                <a:gd name="T1" fmla="*/ 27 h 31"/>
                <a:gd name="T2" fmla="*/ 14 w 17"/>
                <a:gd name="T3" fmla="*/ 31 h 31"/>
                <a:gd name="T4" fmla="*/ 3 w 17"/>
                <a:gd name="T5" fmla="*/ 13 h 31"/>
                <a:gd name="T6" fmla="*/ 0 w 17"/>
                <a:gd name="T7" fmla="*/ 0 h 31"/>
                <a:gd name="T8" fmla="*/ 6 w 17"/>
                <a:gd name="T9" fmla="*/ 0 h 31"/>
                <a:gd name="T10" fmla="*/ 11 w 17"/>
                <a:gd name="T11" fmla="*/ 17 h 31"/>
                <a:gd name="T12" fmla="*/ 17 w 17"/>
                <a:gd name="T13" fmla="*/ 2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31">
                  <a:moveTo>
                    <a:pt x="17" y="27"/>
                  </a:moveTo>
                  <a:lnTo>
                    <a:pt x="14" y="31"/>
                  </a:lnTo>
                  <a:lnTo>
                    <a:pt x="3" y="13"/>
                  </a:lnTo>
                  <a:lnTo>
                    <a:pt x="0" y="0"/>
                  </a:lnTo>
                  <a:lnTo>
                    <a:pt x="6" y="0"/>
                  </a:lnTo>
                  <a:lnTo>
                    <a:pt x="11" y="17"/>
                  </a:lnTo>
                  <a:lnTo>
                    <a:pt x="17" y="2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20" name="Freeform 177">
              <a:extLst>
                <a:ext uri="{FF2B5EF4-FFF2-40B4-BE49-F238E27FC236}">
                  <a16:creationId xmlns:a16="http://schemas.microsoft.com/office/drawing/2014/main" id="{54C97545-BE4B-4BC3-A292-AE8CA9889BE8}"/>
                </a:ext>
              </a:extLst>
            </p:cNvPr>
            <p:cNvSpPr>
              <a:spLocks/>
            </p:cNvSpPr>
            <p:nvPr/>
          </p:nvSpPr>
          <p:spPr bwMode="auto">
            <a:xfrm>
              <a:off x="8018959" y="3074583"/>
              <a:ext cx="37772" cy="32562"/>
            </a:xfrm>
            <a:custGeom>
              <a:avLst/>
              <a:gdLst>
                <a:gd name="T0" fmla="*/ 28 w 29"/>
                <a:gd name="T1" fmla="*/ 21 h 25"/>
                <a:gd name="T2" fmla="*/ 29 w 29"/>
                <a:gd name="T3" fmla="*/ 25 h 25"/>
                <a:gd name="T4" fmla="*/ 15 w 29"/>
                <a:gd name="T5" fmla="*/ 16 h 25"/>
                <a:gd name="T6" fmla="*/ 6 w 29"/>
                <a:gd name="T7" fmla="*/ 9 h 25"/>
                <a:gd name="T8" fmla="*/ 0 w 29"/>
                <a:gd name="T9" fmla="*/ 2 h 25"/>
                <a:gd name="T10" fmla="*/ 3 w 29"/>
                <a:gd name="T11" fmla="*/ 0 h 25"/>
                <a:gd name="T12" fmla="*/ 11 w 29"/>
                <a:gd name="T13" fmla="*/ 4 h 25"/>
                <a:gd name="T14" fmla="*/ 25 w 29"/>
                <a:gd name="T15" fmla="*/ 14 h 25"/>
                <a:gd name="T16" fmla="*/ 28 w 29"/>
                <a:gd name="T17" fmla="*/ 2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25">
                  <a:moveTo>
                    <a:pt x="28" y="21"/>
                  </a:moveTo>
                  <a:lnTo>
                    <a:pt x="29" y="25"/>
                  </a:lnTo>
                  <a:lnTo>
                    <a:pt x="15" y="16"/>
                  </a:lnTo>
                  <a:lnTo>
                    <a:pt x="6" y="9"/>
                  </a:lnTo>
                  <a:lnTo>
                    <a:pt x="0" y="2"/>
                  </a:lnTo>
                  <a:lnTo>
                    <a:pt x="3" y="0"/>
                  </a:lnTo>
                  <a:lnTo>
                    <a:pt x="11" y="4"/>
                  </a:lnTo>
                  <a:lnTo>
                    <a:pt x="25" y="14"/>
                  </a:lnTo>
                  <a:lnTo>
                    <a:pt x="28" y="2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21" name="Freeform 178">
              <a:extLst>
                <a:ext uri="{FF2B5EF4-FFF2-40B4-BE49-F238E27FC236}">
                  <a16:creationId xmlns:a16="http://schemas.microsoft.com/office/drawing/2014/main" id="{897FCFFF-B3AD-4023-9D59-341E43268A2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78583" y="3053743"/>
              <a:ext cx="23444" cy="22142"/>
            </a:xfrm>
            <a:custGeom>
              <a:avLst/>
              <a:gdLst>
                <a:gd name="T0" fmla="*/ 18 w 18"/>
                <a:gd name="T1" fmla="*/ 16 h 17"/>
                <a:gd name="T2" fmla="*/ 15 w 18"/>
                <a:gd name="T3" fmla="*/ 17 h 17"/>
                <a:gd name="T4" fmla="*/ 7 w 18"/>
                <a:gd name="T5" fmla="*/ 13 h 17"/>
                <a:gd name="T6" fmla="*/ 0 w 18"/>
                <a:gd name="T7" fmla="*/ 4 h 17"/>
                <a:gd name="T8" fmla="*/ 2 w 18"/>
                <a:gd name="T9" fmla="*/ 0 h 17"/>
                <a:gd name="T10" fmla="*/ 12 w 18"/>
                <a:gd name="T11" fmla="*/ 9 h 17"/>
                <a:gd name="T12" fmla="*/ 18 w 18"/>
                <a:gd name="T13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7">
                  <a:moveTo>
                    <a:pt x="18" y="16"/>
                  </a:moveTo>
                  <a:lnTo>
                    <a:pt x="15" y="17"/>
                  </a:lnTo>
                  <a:lnTo>
                    <a:pt x="7" y="13"/>
                  </a:lnTo>
                  <a:lnTo>
                    <a:pt x="0" y="4"/>
                  </a:lnTo>
                  <a:lnTo>
                    <a:pt x="2" y="0"/>
                  </a:lnTo>
                  <a:lnTo>
                    <a:pt x="12" y="9"/>
                  </a:lnTo>
                  <a:lnTo>
                    <a:pt x="18" y="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22" name="Freeform 179">
              <a:extLst>
                <a:ext uri="{FF2B5EF4-FFF2-40B4-BE49-F238E27FC236}">
                  <a16:creationId xmlns:a16="http://schemas.microsoft.com/office/drawing/2014/main" id="{96F4EFD0-F686-463E-8A37-FEE5D9620A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5329" y="2604394"/>
              <a:ext cx="71636" cy="88567"/>
            </a:xfrm>
            <a:custGeom>
              <a:avLst/>
              <a:gdLst>
                <a:gd name="T0" fmla="*/ 33 w 55"/>
                <a:gd name="T1" fmla="*/ 68 h 68"/>
                <a:gd name="T2" fmla="*/ 28 w 55"/>
                <a:gd name="T3" fmla="*/ 66 h 68"/>
                <a:gd name="T4" fmla="*/ 15 w 55"/>
                <a:gd name="T5" fmla="*/ 58 h 68"/>
                <a:gd name="T6" fmla="*/ 5 w 55"/>
                <a:gd name="T7" fmla="*/ 46 h 68"/>
                <a:gd name="T8" fmla="*/ 2 w 55"/>
                <a:gd name="T9" fmla="*/ 39 h 68"/>
                <a:gd name="T10" fmla="*/ 0 w 55"/>
                <a:gd name="T11" fmla="*/ 23 h 68"/>
                <a:gd name="T12" fmla="*/ 10 w 55"/>
                <a:gd name="T13" fmla="*/ 14 h 68"/>
                <a:gd name="T14" fmla="*/ 12 w 55"/>
                <a:gd name="T15" fmla="*/ 8 h 68"/>
                <a:gd name="T16" fmla="*/ 15 w 55"/>
                <a:gd name="T17" fmla="*/ 4 h 68"/>
                <a:gd name="T18" fmla="*/ 20 w 55"/>
                <a:gd name="T19" fmla="*/ 4 h 68"/>
                <a:gd name="T20" fmla="*/ 24 w 55"/>
                <a:gd name="T21" fmla="*/ 0 h 68"/>
                <a:gd name="T22" fmla="*/ 39 w 55"/>
                <a:gd name="T23" fmla="*/ 0 h 68"/>
                <a:gd name="T24" fmla="*/ 44 w 55"/>
                <a:gd name="T25" fmla="*/ 7 h 68"/>
                <a:gd name="T26" fmla="*/ 48 w 55"/>
                <a:gd name="T27" fmla="*/ 16 h 68"/>
                <a:gd name="T28" fmla="*/ 47 w 55"/>
                <a:gd name="T29" fmla="*/ 22 h 68"/>
                <a:gd name="T30" fmla="*/ 50 w 55"/>
                <a:gd name="T31" fmla="*/ 27 h 68"/>
                <a:gd name="T32" fmla="*/ 50 w 55"/>
                <a:gd name="T33" fmla="*/ 35 h 68"/>
                <a:gd name="T34" fmla="*/ 55 w 55"/>
                <a:gd name="T35" fmla="*/ 34 h 68"/>
                <a:gd name="T36" fmla="*/ 46 w 55"/>
                <a:gd name="T37" fmla="*/ 43 h 68"/>
                <a:gd name="T38" fmla="*/ 38 w 55"/>
                <a:gd name="T39" fmla="*/ 55 h 68"/>
                <a:gd name="T40" fmla="*/ 37 w 55"/>
                <a:gd name="T41" fmla="*/ 61 h 68"/>
                <a:gd name="T42" fmla="*/ 33 w 55"/>
                <a:gd name="T43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5" h="68">
                  <a:moveTo>
                    <a:pt x="33" y="68"/>
                  </a:moveTo>
                  <a:lnTo>
                    <a:pt x="28" y="66"/>
                  </a:lnTo>
                  <a:lnTo>
                    <a:pt x="15" y="58"/>
                  </a:lnTo>
                  <a:lnTo>
                    <a:pt x="5" y="46"/>
                  </a:lnTo>
                  <a:lnTo>
                    <a:pt x="2" y="39"/>
                  </a:lnTo>
                  <a:lnTo>
                    <a:pt x="0" y="23"/>
                  </a:lnTo>
                  <a:lnTo>
                    <a:pt x="10" y="14"/>
                  </a:lnTo>
                  <a:lnTo>
                    <a:pt x="12" y="8"/>
                  </a:lnTo>
                  <a:lnTo>
                    <a:pt x="15" y="4"/>
                  </a:lnTo>
                  <a:lnTo>
                    <a:pt x="20" y="4"/>
                  </a:lnTo>
                  <a:lnTo>
                    <a:pt x="24" y="0"/>
                  </a:lnTo>
                  <a:lnTo>
                    <a:pt x="39" y="0"/>
                  </a:lnTo>
                  <a:lnTo>
                    <a:pt x="44" y="7"/>
                  </a:lnTo>
                  <a:lnTo>
                    <a:pt x="48" y="16"/>
                  </a:lnTo>
                  <a:lnTo>
                    <a:pt x="47" y="22"/>
                  </a:lnTo>
                  <a:lnTo>
                    <a:pt x="50" y="27"/>
                  </a:lnTo>
                  <a:lnTo>
                    <a:pt x="50" y="35"/>
                  </a:lnTo>
                  <a:lnTo>
                    <a:pt x="55" y="34"/>
                  </a:lnTo>
                  <a:lnTo>
                    <a:pt x="46" y="43"/>
                  </a:lnTo>
                  <a:lnTo>
                    <a:pt x="38" y="55"/>
                  </a:lnTo>
                  <a:lnTo>
                    <a:pt x="37" y="61"/>
                  </a:lnTo>
                  <a:lnTo>
                    <a:pt x="33" y="6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23" name="Freeform 180">
              <a:extLst>
                <a:ext uri="{FF2B5EF4-FFF2-40B4-BE49-F238E27FC236}">
                  <a16:creationId xmlns:a16="http://schemas.microsoft.com/office/drawing/2014/main" id="{43E6DBDC-25C2-42DD-86CC-0D11DFA8047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1885" y="2485870"/>
              <a:ext cx="57308" cy="33864"/>
            </a:xfrm>
            <a:custGeom>
              <a:avLst/>
              <a:gdLst>
                <a:gd name="T0" fmla="*/ 42 w 44"/>
                <a:gd name="T1" fmla="*/ 21 h 26"/>
                <a:gd name="T2" fmla="*/ 39 w 44"/>
                <a:gd name="T3" fmla="*/ 26 h 26"/>
                <a:gd name="T4" fmla="*/ 29 w 44"/>
                <a:gd name="T5" fmla="*/ 26 h 26"/>
                <a:gd name="T6" fmla="*/ 22 w 44"/>
                <a:gd name="T7" fmla="*/ 24 h 26"/>
                <a:gd name="T8" fmla="*/ 15 w 44"/>
                <a:gd name="T9" fmla="*/ 20 h 26"/>
                <a:gd name="T10" fmla="*/ 5 w 44"/>
                <a:gd name="T11" fmla="*/ 18 h 26"/>
                <a:gd name="T12" fmla="*/ 0 w 44"/>
                <a:gd name="T13" fmla="*/ 14 h 26"/>
                <a:gd name="T14" fmla="*/ 1 w 44"/>
                <a:gd name="T15" fmla="*/ 11 h 26"/>
                <a:gd name="T16" fmla="*/ 8 w 44"/>
                <a:gd name="T17" fmla="*/ 6 h 26"/>
                <a:gd name="T18" fmla="*/ 12 w 44"/>
                <a:gd name="T19" fmla="*/ 3 h 26"/>
                <a:gd name="T20" fmla="*/ 11 w 44"/>
                <a:gd name="T21" fmla="*/ 1 h 26"/>
                <a:gd name="T22" fmla="*/ 15 w 44"/>
                <a:gd name="T23" fmla="*/ 0 h 26"/>
                <a:gd name="T24" fmla="*/ 20 w 44"/>
                <a:gd name="T25" fmla="*/ 1 h 26"/>
                <a:gd name="T26" fmla="*/ 24 w 44"/>
                <a:gd name="T27" fmla="*/ 6 h 26"/>
                <a:gd name="T28" fmla="*/ 29 w 44"/>
                <a:gd name="T29" fmla="*/ 9 h 26"/>
                <a:gd name="T30" fmla="*/ 29 w 44"/>
                <a:gd name="T31" fmla="*/ 12 h 26"/>
                <a:gd name="T32" fmla="*/ 38 w 44"/>
                <a:gd name="T33" fmla="*/ 9 h 26"/>
                <a:gd name="T34" fmla="*/ 41 w 44"/>
                <a:gd name="T35" fmla="*/ 11 h 26"/>
                <a:gd name="T36" fmla="*/ 44 w 44"/>
                <a:gd name="T37" fmla="*/ 13 h 26"/>
                <a:gd name="T38" fmla="*/ 42 w 44"/>
                <a:gd name="T39" fmla="*/ 2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4" h="26">
                  <a:moveTo>
                    <a:pt x="42" y="21"/>
                  </a:moveTo>
                  <a:lnTo>
                    <a:pt x="39" y="26"/>
                  </a:lnTo>
                  <a:lnTo>
                    <a:pt x="29" y="26"/>
                  </a:lnTo>
                  <a:lnTo>
                    <a:pt x="22" y="24"/>
                  </a:lnTo>
                  <a:lnTo>
                    <a:pt x="15" y="20"/>
                  </a:lnTo>
                  <a:lnTo>
                    <a:pt x="5" y="18"/>
                  </a:lnTo>
                  <a:lnTo>
                    <a:pt x="0" y="14"/>
                  </a:lnTo>
                  <a:lnTo>
                    <a:pt x="1" y="11"/>
                  </a:lnTo>
                  <a:lnTo>
                    <a:pt x="8" y="6"/>
                  </a:lnTo>
                  <a:lnTo>
                    <a:pt x="12" y="3"/>
                  </a:lnTo>
                  <a:lnTo>
                    <a:pt x="11" y="1"/>
                  </a:lnTo>
                  <a:lnTo>
                    <a:pt x="15" y="0"/>
                  </a:lnTo>
                  <a:lnTo>
                    <a:pt x="20" y="1"/>
                  </a:lnTo>
                  <a:lnTo>
                    <a:pt x="24" y="6"/>
                  </a:lnTo>
                  <a:lnTo>
                    <a:pt x="29" y="9"/>
                  </a:lnTo>
                  <a:lnTo>
                    <a:pt x="29" y="12"/>
                  </a:lnTo>
                  <a:lnTo>
                    <a:pt x="38" y="9"/>
                  </a:lnTo>
                  <a:lnTo>
                    <a:pt x="41" y="11"/>
                  </a:lnTo>
                  <a:lnTo>
                    <a:pt x="44" y="13"/>
                  </a:lnTo>
                  <a:lnTo>
                    <a:pt x="42" y="2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24" name="Freeform 181">
              <a:extLst>
                <a:ext uri="{FF2B5EF4-FFF2-40B4-BE49-F238E27FC236}">
                  <a16:creationId xmlns:a16="http://schemas.microsoft.com/office/drawing/2014/main" id="{FA82D955-9D77-4378-A9FA-03C62D45094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5140" y="2565321"/>
              <a:ext cx="152388" cy="93777"/>
            </a:xfrm>
            <a:custGeom>
              <a:avLst/>
              <a:gdLst>
                <a:gd name="T0" fmla="*/ 117 w 117"/>
                <a:gd name="T1" fmla="*/ 42 h 72"/>
                <a:gd name="T2" fmla="*/ 109 w 117"/>
                <a:gd name="T3" fmla="*/ 55 h 72"/>
                <a:gd name="T4" fmla="*/ 97 w 117"/>
                <a:gd name="T5" fmla="*/ 72 h 72"/>
                <a:gd name="T6" fmla="*/ 82 w 117"/>
                <a:gd name="T7" fmla="*/ 72 h 72"/>
                <a:gd name="T8" fmla="*/ 21 w 117"/>
                <a:gd name="T9" fmla="*/ 47 h 72"/>
                <a:gd name="T10" fmla="*/ 14 w 117"/>
                <a:gd name="T11" fmla="*/ 40 h 72"/>
                <a:gd name="T12" fmla="*/ 7 w 117"/>
                <a:gd name="T13" fmla="*/ 30 h 72"/>
                <a:gd name="T14" fmla="*/ 0 w 117"/>
                <a:gd name="T15" fmla="*/ 19 h 72"/>
                <a:gd name="T16" fmla="*/ 3 w 117"/>
                <a:gd name="T17" fmla="*/ 11 h 72"/>
                <a:gd name="T18" fmla="*/ 10 w 117"/>
                <a:gd name="T19" fmla="*/ 0 h 72"/>
                <a:gd name="T20" fmla="*/ 16 w 117"/>
                <a:gd name="T21" fmla="*/ 4 h 72"/>
                <a:gd name="T22" fmla="*/ 20 w 117"/>
                <a:gd name="T23" fmla="*/ 13 h 72"/>
                <a:gd name="T24" fmla="*/ 28 w 117"/>
                <a:gd name="T25" fmla="*/ 21 h 72"/>
                <a:gd name="T26" fmla="*/ 37 w 117"/>
                <a:gd name="T27" fmla="*/ 21 h 72"/>
                <a:gd name="T28" fmla="*/ 54 w 117"/>
                <a:gd name="T29" fmla="*/ 16 h 72"/>
                <a:gd name="T30" fmla="*/ 74 w 117"/>
                <a:gd name="T31" fmla="*/ 14 h 72"/>
                <a:gd name="T32" fmla="*/ 90 w 117"/>
                <a:gd name="T33" fmla="*/ 7 h 72"/>
                <a:gd name="T34" fmla="*/ 99 w 117"/>
                <a:gd name="T35" fmla="*/ 6 h 72"/>
                <a:gd name="T36" fmla="*/ 105 w 117"/>
                <a:gd name="T37" fmla="*/ 2 h 72"/>
                <a:gd name="T38" fmla="*/ 116 w 117"/>
                <a:gd name="T39" fmla="*/ 1 h 72"/>
                <a:gd name="T40" fmla="*/ 116 w 117"/>
                <a:gd name="T41" fmla="*/ 2 h 72"/>
                <a:gd name="T42" fmla="*/ 116 w 117"/>
                <a:gd name="T43" fmla="*/ 10 h 72"/>
                <a:gd name="T44" fmla="*/ 117 w 117"/>
                <a:gd name="T45" fmla="*/ 31 h 72"/>
                <a:gd name="T46" fmla="*/ 117 w 117"/>
                <a:gd name="T47" fmla="*/ 4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7" h="72">
                  <a:moveTo>
                    <a:pt x="117" y="42"/>
                  </a:moveTo>
                  <a:lnTo>
                    <a:pt x="109" y="55"/>
                  </a:lnTo>
                  <a:lnTo>
                    <a:pt x="97" y="72"/>
                  </a:lnTo>
                  <a:lnTo>
                    <a:pt x="82" y="72"/>
                  </a:lnTo>
                  <a:lnTo>
                    <a:pt x="21" y="47"/>
                  </a:lnTo>
                  <a:lnTo>
                    <a:pt x="14" y="40"/>
                  </a:lnTo>
                  <a:lnTo>
                    <a:pt x="7" y="30"/>
                  </a:lnTo>
                  <a:lnTo>
                    <a:pt x="0" y="19"/>
                  </a:lnTo>
                  <a:lnTo>
                    <a:pt x="3" y="11"/>
                  </a:lnTo>
                  <a:lnTo>
                    <a:pt x="10" y="0"/>
                  </a:lnTo>
                  <a:lnTo>
                    <a:pt x="16" y="4"/>
                  </a:lnTo>
                  <a:lnTo>
                    <a:pt x="20" y="13"/>
                  </a:lnTo>
                  <a:lnTo>
                    <a:pt x="28" y="21"/>
                  </a:lnTo>
                  <a:lnTo>
                    <a:pt x="37" y="21"/>
                  </a:lnTo>
                  <a:lnTo>
                    <a:pt x="54" y="16"/>
                  </a:lnTo>
                  <a:lnTo>
                    <a:pt x="74" y="14"/>
                  </a:lnTo>
                  <a:lnTo>
                    <a:pt x="90" y="7"/>
                  </a:lnTo>
                  <a:lnTo>
                    <a:pt x="99" y="6"/>
                  </a:lnTo>
                  <a:lnTo>
                    <a:pt x="105" y="2"/>
                  </a:lnTo>
                  <a:lnTo>
                    <a:pt x="116" y="1"/>
                  </a:lnTo>
                  <a:lnTo>
                    <a:pt x="116" y="2"/>
                  </a:lnTo>
                  <a:lnTo>
                    <a:pt x="116" y="10"/>
                  </a:lnTo>
                  <a:lnTo>
                    <a:pt x="117" y="31"/>
                  </a:lnTo>
                  <a:lnTo>
                    <a:pt x="117" y="4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25" name="Freeform 182">
              <a:extLst>
                <a:ext uri="{FF2B5EF4-FFF2-40B4-BE49-F238E27FC236}">
                  <a16:creationId xmlns:a16="http://schemas.microsoft.com/office/drawing/2014/main" id="{612A35DE-75B8-415F-B123-FEC7DB60B0E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1276" y="2550993"/>
              <a:ext cx="235746" cy="369899"/>
            </a:xfrm>
            <a:custGeom>
              <a:avLst/>
              <a:gdLst>
                <a:gd name="T0" fmla="*/ 156 w 181"/>
                <a:gd name="T1" fmla="*/ 9 h 284"/>
                <a:gd name="T2" fmla="*/ 166 w 181"/>
                <a:gd name="T3" fmla="*/ 7 h 284"/>
                <a:gd name="T4" fmla="*/ 174 w 181"/>
                <a:gd name="T5" fmla="*/ 0 h 284"/>
                <a:gd name="T6" fmla="*/ 181 w 181"/>
                <a:gd name="T7" fmla="*/ 0 h 284"/>
                <a:gd name="T8" fmla="*/ 181 w 181"/>
                <a:gd name="T9" fmla="*/ 5 h 284"/>
                <a:gd name="T10" fmla="*/ 180 w 181"/>
                <a:gd name="T11" fmla="*/ 18 h 284"/>
                <a:gd name="T12" fmla="*/ 181 w 181"/>
                <a:gd name="T13" fmla="*/ 28 h 284"/>
                <a:gd name="T14" fmla="*/ 177 w 181"/>
                <a:gd name="T15" fmla="*/ 36 h 284"/>
                <a:gd name="T16" fmla="*/ 173 w 181"/>
                <a:gd name="T17" fmla="*/ 58 h 284"/>
                <a:gd name="T18" fmla="*/ 165 w 181"/>
                <a:gd name="T19" fmla="*/ 81 h 284"/>
                <a:gd name="T20" fmla="*/ 154 w 181"/>
                <a:gd name="T21" fmla="*/ 108 h 284"/>
                <a:gd name="T22" fmla="*/ 139 w 181"/>
                <a:gd name="T23" fmla="*/ 139 h 284"/>
                <a:gd name="T24" fmla="*/ 124 w 181"/>
                <a:gd name="T25" fmla="*/ 162 h 284"/>
                <a:gd name="T26" fmla="*/ 103 w 181"/>
                <a:gd name="T27" fmla="*/ 190 h 284"/>
                <a:gd name="T28" fmla="*/ 85 w 181"/>
                <a:gd name="T29" fmla="*/ 207 h 284"/>
                <a:gd name="T30" fmla="*/ 57 w 181"/>
                <a:gd name="T31" fmla="*/ 228 h 284"/>
                <a:gd name="T32" fmla="*/ 40 w 181"/>
                <a:gd name="T33" fmla="*/ 243 h 284"/>
                <a:gd name="T34" fmla="*/ 20 w 181"/>
                <a:gd name="T35" fmla="*/ 269 h 284"/>
                <a:gd name="T36" fmla="*/ 15 w 181"/>
                <a:gd name="T37" fmla="*/ 280 h 284"/>
                <a:gd name="T38" fmla="*/ 11 w 181"/>
                <a:gd name="T39" fmla="*/ 284 h 284"/>
                <a:gd name="T40" fmla="*/ 1 w 181"/>
                <a:gd name="T41" fmla="*/ 267 h 284"/>
                <a:gd name="T42" fmla="*/ 0 w 181"/>
                <a:gd name="T43" fmla="*/ 191 h 284"/>
                <a:gd name="T44" fmla="*/ 16 w 181"/>
                <a:gd name="T45" fmla="*/ 168 h 284"/>
                <a:gd name="T46" fmla="*/ 21 w 181"/>
                <a:gd name="T47" fmla="*/ 161 h 284"/>
                <a:gd name="T48" fmla="*/ 33 w 181"/>
                <a:gd name="T49" fmla="*/ 161 h 284"/>
                <a:gd name="T50" fmla="*/ 49 w 181"/>
                <a:gd name="T51" fmla="*/ 146 h 284"/>
                <a:gd name="T52" fmla="*/ 73 w 181"/>
                <a:gd name="T53" fmla="*/ 146 h 284"/>
                <a:gd name="T54" fmla="*/ 123 w 181"/>
                <a:gd name="T55" fmla="*/ 83 h 284"/>
                <a:gd name="T56" fmla="*/ 135 w 181"/>
                <a:gd name="T57" fmla="*/ 66 h 284"/>
                <a:gd name="T58" fmla="*/ 143 w 181"/>
                <a:gd name="T59" fmla="*/ 53 h 284"/>
                <a:gd name="T60" fmla="*/ 143 w 181"/>
                <a:gd name="T61" fmla="*/ 42 h 284"/>
                <a:gd name="T62" fmla="*/ 142 w 181"/>
                <a:gd name="T63" fmla="*/ 21 h 284"/>
                <a:gd name="T64" fmla="*/ 142 w 181"/>
                <a:gd name="T65" fmla="*/ 13 h 284"/>
                <a:gd name="T66" fmla="*/ 142 w 181"/>
                <a:gd name="T67" fmla="*/ 12 h 284"/>
                <a:gd name="T68" fmla="*/ 148 w 181"/>
                <a:gd name="T69" fmla="*/ 12 h 284"/>
                <a:gd name="T70" fmla="*/ 156 w 181"/>
                <a:gd name="T71" fmla="*/ 9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1" h="284">
                  <a:moveTo>
                    <a:pt x="156" y="9"/>
                  </a:moveTo>
                  <a:lnTo>
                    <a:pt x="166" y="7"/>
                  </a:lnTo>
                  <a:lnTo>
                    <a:pt x="174" y="0"/>
                  </a:lnTo>
                  <a:lnTo>
                    <a:pt x="181" y="0"/>
                  </a:lnTo>
                  <a:lnTo>
                    <a:pt x="181" y="5"/>
                  </a:lnTo>
                  <a:lnTo>
                    <a:pt x="180" y="18"/>
                  </a:lnTo>
                  <a:lnTo>
                    <a:pt x="181" y="28"/>
                  </a:lnTo>
                  <a:lnTo>
                    <a:pt x="177" y="36"/>
                  </a:lnTo>
                  <a:lnTo>
                    <a:pt x="173" y="58"/>
                  </a:lnTo>
                  <a:lnTo>
                    <a:pt x="165" y="81"/>
                  </a:lnTo>
                  <a:lnTo>
                    <a:pt x="154" y="108"/>
                  </a:lnTo>
                  <a:lnTo>
                    <a:pt x="139" y="139"/>
                  </a:lnTo>
                  <a:lnTo>
                    <a:pt x="124" y="162"/>
                  </a:lnTo>
                  <a:lnTo>
                    <a:pt x="103" y="190"/>
                  </a:lnTo>
                  <a:lnTo>
                    <a:pt x="85" y="207"/>
                  </a:lnTo>
                  <a:lnTo>
                    <a:pt x="57" y="228"/>
                  </a:lnTo>
                  <a:lnTo>
                    <a:pt x="40" y="243"/>
                  </a:lnTo>
                  <a:lnTo>
                    <a:pt x="20" y="269"/>
                  </a:lnTo>
                  <a:lnTo>
                    <a:pt x="15" y="280"/>
                  </a:lnTo>
                  <a:lnTo>
                    <a:pt x="11" y="284"/>
                  </a:lnTo>
                  <a:lnTo>
                    <a:pt x="1" y="267"/>
                  </a:lnTo>
                  <a:lnTo>
                    <a:pt x="0" y="191"/>
                  </a:lnTo>
                  <a:lnTo>
                    <a:pt x="16" y="168"/>
                  </a:lnTo>
                  <a:lnTo>
                    <a:pt x="21" y="161"/>
                  </a:lnTo>
                  <a:lnTo>
                    <a:pt x="33" y="161"/>
                  </a:lnTo>
                  <a:lnTo>
                    <a:pt x="49" y="146"/>
                  </a:lnTo>
                  <a:lnTo>
                    <a:pt x="73" y="146"/>
                  </a:lnTo>
                  <a:lnTo>
                    <a:pt x="123" y="83"/>
                  </a:lnTo>
                  <a:lnTo>
                    <a:pt x="135" y="66"/>
                  </a:lnTo>
                  <a:lnTo>
                    <a:pt x="143" y="53"/>
                  </a:lnTo>
                  <a:lnTo>
                    <a:pt x="143" y="42"/>
                  </a:lnTo>
                  <a:lnTo>
                    <a:pt x="142" y="21"/>
                  </a:lnTo>
                  <a:lnTo>
                    <a:pt x="142" y="13"/>
                  </a:lnTo>
                  <a:lnTo>
                    <a:pt x="142" y="12"/>
                  </a:lnTo>
                  <a:lnTo>
                    <a:pt x="148" y="12"/>
                  </a:lnTo>
                  <a:lnTo>
                    <a:pt x="156" y="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26" name="Freeform 183">
              <a:extLst>
                <a:ext uri="{FF2B5EF4-FFF2-40B4-BE49-F238E27FC236}">
                  <a16:creationId xmlns:a16="http://schemas.microsoft.com/office/drawing/2014/main" id="{A009BE5E-C0FE-4A86-A281-74AE36ABB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2984" y="1630154"/>
              <a:ext cx="96382" cy="104197"/>
            </a:xfrm>
            <a:custGeom>
              <a:avLst/>
              <a:gdLst>
                <a:gd name="T0" fmla="*/ 35 w 74"/>
                <a:gd name="T1" fmla="*/ 15 h 80"/>
                <a:gd name="T2" fmla="*/ 45 w 74"/>
                <a:gd name="T3" fmla="*/ 20 h 80"/>
                <a:gd name="T4" fmla="*/ 47 w 74"/>
                <a:gd name="T5" fmla="*/ 28 h 80"/>
                <a:gd name="T6" fmla="*/ 58 w 74"/>
                <a:gd name="T7" fmla="*/ 34 h 80"/>
                <a:gd name="T8" fmla="*/ 62 w 74"/>
                <a:gd name="T9" fmla="*/ 30 h 80"/>
                <a:gd name="T10" fmla="*/ 67 w 74"/>
                <a:gd name="T11" fmla="*/ 32 h 80"/>
                <a:gd name="T12" fmla="*/ 63 w 74"/>
                <a:gd name="T13" fmla="*/ 36 h 80"/>
                <a:gd name="T14" fmla="*/ 66 w 74"/>
                <a:gd name="T15" fmla="*/ 39 h 80"/>
                <a:gd name="T16" fmla="*/ 63 w 74"/>
                <a:gd name="T17" fmla="*/ 44 h 80"/>
                <a:gd name="T18" fmla="*/ 65 w 74"/>
                <a:gd name="T19" fmla="*/ 52 h 80"/>
                <a:gd name="T20" fmla="*/ 74 w 74"/>
                <a:gd name="T21" fmla="*/ 60 h 80"/>
                <a:gd name="T22" fmla="*/ 68 w 74"/>
                <a:gd name="T23" fmla="*/ 67 h 80"/>
                <a:gd name="T24" fmla="*/ 66 w 74"/>
                <a:gd name="T25" fmla="*/ 73 h 80"/>
                <a:gd name="T26" fmla="*/ 68 w 74"/>
                <a:gd name="T27" fmla="*/ 76 h 80"/>
                <a:gd name="T28" fmla="*/ 66 w 74"/>
                <a:gd name="T29" fmla="*/ 79 h 80"/>
                <a:gd name="T30" fmla="*/ 58 w 74"/>
                <a:gd name="T31" fmla="*/ 79 h 80"/>
                <a:gd name="T32" fmla="*/ 52 w 74"/>
                <a:gd name="T33" fmla="*/ 80 h 80"/>
                <a:gd name="T34" fmla="*/ 52 w 74"/>
                <a:gd name="T35" fmla="*/ 79 h 80"/>
                <a:gd name="T36" fmla="*/ 54 w 74"/>
                <a:gd name="T37" fmla="*/ 76 h 80"/>
                <a:gd name="T38" fmla="*/ 55 w 74"/>
                <a:gd name="T39" fmla="*/ 71 h 80"/>
                <a:gd name="T40" fmla="*/ 53 w 74"/>
                <a:gd name="T41" fmla="*/ 71 h 80"/>
                <a:gd name="T42" fmla="*/ 49 w 74"/>
                <a:gd name="T43" fmla="*/ 67 h 80"/>
                <a:gd name="T44" fmla="*/ 46 w 74"/>
                <a:gd name="T45" fmla="*/ 66 h 80"/>
                <a:gd name="T46" fmla="*/ 44 w 74"/>
                <a:gd name="T47" fmla="*/ 63 h 80"/>
                <a:gd name="T48" fmla="*/ 40 w 74"/>
                <a:gd name="T49" fmla="*/ 62 h 80"/>
                <a:gd name="T50" fmla="*/ 38 w 74"/>
                <a:gd name="T51" fmla="*/ 59 h 80"/>
                <a:gd name="T52" fmla="*/ 35 w 74"/>
                <a:gd name="T53" fmla="*/ 60 h 80"/>
                <a:gd name="T54" fmla="*/ 33 w 74"/>
                <a:gd name="T55" fmla="*/ 67 h 80"/>
                <a:gd name="T56" fmla="*/ 29 w 74"/>
                <a:gd name="T57" fmla="*/ 68 h 80"/>
                <a:gd name="T58" fmla="*/ 31 w 74"/>
                <a:gd name="T59" fmla="*/ 67 h 80"/>
                <a:gd name="T60" fmla="*/ 24 w 74"/>
                <a:gd name="T61" fmla="*/ 63 h 80"/>
                <a:gd name="T62" fmla="*/ 18 w 74"/>
                <a:gd name="T63" fmla="*/ 60 h 80"/>
                <a:gd name="T64" fmla="*/ 16 w 74"/>
                <a:gd name="T65" fmla="*/ 57 h 80"/>
                <a:gd name="T66" fmla="*/ 11 w 74"/>
                <a:gd name="T67" fmla="*/ 54 h 80"/>
                <a:gd name="T68" fmla="*/ 15 w 74"/>
                <a:gd name="T69" fmla="*/ 53 h 80"/>
                <a:gd name="T70" fmla="*/ 16 w 74"/>
                <a:gd name="T71" fmla="*/ 43 h 80"/>
                <a:gd name="T72" fmla="*/ 7 w 74"/>
                <a:gd name="T73" fmla="*/ 35 h 80"/>
                <a:gd name="T74" fmla="*/ 11 w 74"/>
                <a:gd name="T75" fmla="*/ 26 h 80"/>
                <a:gd name="T76" fmla="*/ 5 w 74"/>
                <a:gd name="T77" fmla="*/ 26 h 80"/>
                <a:gd name="T78" fmla="*/ 10 w 74"/>
                <a:gd name="T79" fmla="*/ 19 h 80"/>
                <a:gd name="T80" fmla="*/ 5 w 74"/>
                <a:gd name="T81" fmla="*/ 13 h 80"/>
                <a:gd name="T82" fmla="*/ 0 w 74"/>
                <a:gd name="T83" fmla="*/ 5 h 80"/>
                <a:gd name="T84" fmla="*/ 12 w 74"/>
                <a:gd name="T85" fmla="*/ 0 h 80"/>
                <a:gd name="T86" fmla="*/ 22 w 74"/>
                <a:gd name="T87" fmla="*/ 1 h 80"/>
                <a:gd name="T88" fmla="*/ 32 w 74"/>
                <a:gd name="T89" fmla="*/ 9 h 80"/>
                <a:gd name="T90" fmla="*/ 35 w 74"/>
                <a:gd name="T91" fmla="*/ 15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4" h="80">
                  <a:moveTo>
                    <a:pt x="35" y="15"/>
                  </a:moveTo>
                  <a:lnTo>
                    <a:pt x="45" y="20"/>
                  </a:lnTo>
                  <a:lnTo>
                    <a:pt x="47" y="28"/>
                  </a:lnTo>
                  <a:lnTo>
                    <a:pt x="58" y="34"/>
                  </a:lnTo>
                  <a:lnTo>
                    <a:pt x="62" y="30"/>
                  </a:lnTo>
                  <a:lnTo>
                    <a:pt x="67" y="32"/>
                  </a:lnTo>
                  <a:lnTo>
                    <a:pt x="63" y="36"/>
                  </a:lnTo>
                  <a:lnTo>
                    <a:pt x="66" y="39"/>
                  </a:lnTo>
                  <a:lnTo>
                    <a:pt x="63" y="44"/>
                  </a:lnTo>
                  <a:lnTo>
                    <a:pt x="65" y="52"/>
                  </a:lnTo>
                  <a:lnTo>
                    <a:pt x="74" y="60"/>
                  </a:lnTo>
                  <a:lnTo>
                    <a:pt x="68" y="67"/>
                  </a:lnTo>
                  <a:lnTo>
                    <a:pt x="66" y="73"/>
                  </a:lnTo>
                  <a:lnTo>
                    <a:pt x="68" y="76"/>
                  </a:lnTo>
                  <a:lnTo>
                    <a:pt x="66" y="79"/>
                  </a:lnTo>
                  <a:lnTo>
                    <a:pt x="58" y="79"/>
                  </a:lnTo>
                  <a:lnTo>
                    <a:pt x="52" y="80"/>
                  </a:lnTo>
                  <a:lnTo>
                    <a:pt x="52" y="79"/>
                  </a:lnTo>
                  <a:lnTo>
                    <a:pt x="54" y="76"/>
                  </a:lnTo>
                  <a:lnTo>
                    <a:pt x="55" y="71"/>
                  </a:lnTo>
                  <a:lnTo>
                    <a:pt x="53" y="71"/>
                  </a:lnTo>
                  <a:lnTo>
                    <a:pt x="49" y="67"/>
                  </a:lnTo>
                  <a:lnTo>
                    <a:pt x="46" y="66"/>
                  </a:lnTo>
                  <a:lnTo>
                    <a:pt x="44" y="63"/>
                  </a:lnTo>
                  <a:lnTo>
                    <a:pt x="40" y="62"/>
                  </a:lnTo>
                  <a:lnTo>
                    <a:pt x="38" y="59"/>
                  </a:lnTo>
                  <a:lnTo>
                    <a:pt x="35" y="60"/>
                  </a:lnTo>
                  <a:lnTo>
                    <a:pt x="33" y="67"/>
                  </a:lnTo>
                  <a:lnTo>
                    <a:pt x="29" y="68"/>
                  </a:lnTo>
                  <a:lnTo>
                    <a:pt x="31" y="67"/>
                  </a:lnTo>
                  <a:lnTo>
                    <a:pt x="24" y="63"/>
                  </a:lnTo>
                  <a:lnTo>
                    <a:pt x="18" y="60"/>
                  </a:lnTo>
                  <a:lnTo>
                    <a:pt x="16" y="57"/>
                  </a:lnTo>
                  <a:lnTo>
                    <a:pt x="11" y="54"/>
                  </a:lnTo>
                  <a:lnTo>
                    <a:pt x="15" y="53"/>
                  </a:lnTo>
                  <a:lnTo>
                    <a:pt x="16" y="43"/>
                  </a:lnTo>
                  <a:lnTo>
                    <a:pt x="7" y="35"/>
                  </a:lnTo>
                  <a:lnTo>
                    <a:pt x="11" y="26"/>
                  </a:lnTo>
                  <a:lnTo>
                    <a:pt x="5" y="26"/>
                  </a:lnTo>
                  <a:lnTo>
                    <a:pt x="10" y="19"/>
                  </a:lnTo>
                  <a:lnTo>
                    <a:pt x="5" y="13"/>
                  </a:lnTo>
                  <a:lnTo>
                    <a:pt x="0" y="5"/>
                  </a:lnTo>
                  <a:lnTo>
                    <a:pt x="12" y="0"/>
                  </a:lnTo>
                  <a:lnTo>
                    <a:pt x="22" y="1"/>
                  </a:lnTo>
                  <a:lnTo>
                    <a:pt x="32" y="9"/>
                  </a:lnTo>
                  <a:lnTo>
                    <a:pt x="35" y="15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27" name="Freeform 184">
              <a:extLst>
                <a:ext uri="{FF2B5EF4-FFF2-40B4-BE49-F238E27FC236}">
                  <a16:creationId xmlns:a16="http://schemas.microsoft.com/office/drawing/2014/main" id="{B72B46EA-DE04-4B57-B76C-908D45DA1C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3404" y="2712499"/>
              <a:ext cx="97685" cy="114616"/>
            </a:xfrm>
            <a:custGeom>
              <a:avLst/>
              <a:gdLst>
                <a:gd name="T0" fmla="*/ 17 w 75"/>
                <a:gd name="T1" fmla="*/ 1 h 88"/>
                <a:gd name="T2" fmla="*/ 39 w 75"/>
                <a:gd name="T3" fmla="*/ 5 h 88"/>
                <a:gd name="T4" fmla="*/ 41 w 75"/>
                <a:gd name="T5" fmla="*/ 2 h 88"/>
                <a:gd name="T6" fmla="*/ 56 w 75"/>
                <a:gd name="T7" fmla="*/ 0 h 88"/>
                <a:gd name="T8" fmla="*/ 75 w 75"/>
                <a:gd name="T9" fmla="*/ 6 h 88"/>
                <a:gd name="T10" fmla="*/ 65 w 75"/>
                <a:gd name="T11" fmla="*/ 24 h 88"/>
                <a:gd name="T12" fmla="*/ 66 w 75"/>
                <a:gd name="T13" fmla="*/ 38 h 88"/>
                <a:gd name="T14" fmla="*/ 74 w 75"/>
                <a:gd name="T15" fmla="*/ 50 h 88"/>
                <a:gd name="T16" fmla="*/ 70 w 75"/>
                <a:gd name="T17" fmla="*/ 59 h 88"/>
                <a:gd name="T18" fmla="*/ 68 w 75"/>
                <a:gd name="T19" fmla="*/ 69 h 88"/>
                <a:gd name="T20" fmla="*/ 64 w 75"/>
                <a:gd name="T21" fmla="*/ 77 h 88"/>
                <a:gd name="T22" fmla="*/ 53 w 75"/>
                <a:gd name="T23" fmla="*/ 73 h 88"/>
                <a:gd name="T24" fmla="*/ 45 w 75"/>
                <a:gd name="T25" fmla="*/ 75 h 88"/>
                <a:gd name="T26" fmla="*/ 37 w 75"/>
                <a:gd name="T27" fmla="*/ 73 h 88"/>
                <a:gd name="T28" fmla="*/ 35 w 75"/>
                <a:gd name="T29" fmla="*/ 79 h 88"/>
                <a:gd name="T30" fmla="*/ 38 w 75"/>
                <a:gd name="T31" fmla="*/ 83 h 88"/>
                <a:gd name="T32" fmla="*/ 37 w 75"/>
                <a:gd name="T33" fmla="*/ 88 h 88"/>
                <a:gd name="T34" fmla="*/ 27 w 75"/>
                <a:gd name="T35" fmla="*/ 86 h 88"/>
                <a:gd name="T36" fmla="*/ 16 w 75"/>
                <a:gd name="T37" fmla="*/ 68 h 88"/>
                <a:gd name="T38" fmla="*/ 13 w 75"/>
                <a:gd name="T39" fmla="*/ 56 h 88"/>
                <a:gd name="T40" fmla="*/ 7 w 75"/>
                <a:gd name="T41" fmla="*/ 56 h 88"/>
                <a:gd name="T42" fmla="*/ 0 w 75"/>
                <a:gd name="T43" fmla="*/ 41 h 88"/>
                <a:gd name="T44" fmla="*/ 3 w 75"/>
                <a:gd name="T45" fmla="*/ 30 h 88"/>
                <a:gd name="T46" fmla="*/ 2 w 75"/>
                <a:gd name="T47" fmla="*/ 25 h 88"/>
                <a:gd name="T48" fmla="*/ 13 w 75"/>
                <a:gd name="T49" fmla="*/ 20 h 88"/>
                <a:gd name="T50" fmla="*/ 17 w 75"/>
                <a:gd name="T51" fmla="*/ 1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5" h="88">
                  <a:moveTo>
                    <a:pt x="17" y="1"/>
                  </a:moveTo>
                  <a:lnTo>
                    <a:pt x="39" y="5"/>
                  </a:lnTo>
                  <a:lnTo>
                    <a:pt x="41" y="2"/>
                  </a:lnTo>
                  <a:lnTo>
                    <a:pt x="56" y="0"/>
                  </a:lnTo>
                  <a:lnTo>
                    <a:pt x="75" y="6"/>
                  </a:lnTo>
                  <a:lnTo>
                    <a:pt x="65" y="24"/>
                  </a:lnTo>
                  <a:lnTo>
                    <a:pt x="66" y="38"/>
                  </a:lnTo>
                  <a:lnTo>
                    <a:pt x="74" y="50"/>
                  </a:lnTo>
                  <a:lnTo>
                    <a:pt x="70" y="59"/>
                  </a:lnTo>
                  <a:lnTo>
                    <a:pt x="68" y="69"/>
                  </a:lnTo>
                  <a:lnTo>
                    <a:pt x="64" y="77"/>
                  </a:lnTo>
                  <a:lnTo>
                    <a:pt x="53" y="73"/>
                  </a:lnTo>
                  <a:lnTo>
                    <a:pt x="45" y="75"/>
                  </a:lnTo>
                  <a:lnTo>
                    <a:pt x="37" y="73"/>
                  </a:lnTo>
                  <a:lnTo>
                    <a:pt x="35" y="79"/>
                  </a:lnTo>
                  <a:lnTo>
                    <a:pt x="38" y="83"/>
                  </a:lnTo>
                  <a:lnTo>
                    <a:pt x="37" y="88"/>
                  </a:lnTo>
                  <a:lnTo>
                    <a:pt x="27" y="86"/>
                  </a:lnTo>
                  <a:lnTo>
                    <a:pt x="16" y="68"/>
                  </a:lnTo>
                  <a:lnTo>
                    <a:pt x="13" y="56"/>
                  </a:lnTo>
                  <a:lnTo>
                    <a:pt x="7" y="56"/>
                  </a:lnTo>
                  <a:lnTo>
                    <a:pt x="0" y="41"/>
                  </a:lnTo>
                  <a:lnTo>
                    <a:pt x="3" y="30"/>
                  </a:lnTo>
                  <a:lnTo>
                    <a:pt x="2" y="25"/>
                  </a:lnTo>
                  <a:lnTo>
                    <a:pt x="13" y="20"/>
                  </a:lnTo>
                  <a:lnTo>
                    <a:pt x="17" y="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28" name="Freeform 185">
              <a:extLst>
                <a:ext uri="{FF2B5EF4-FFF2-40B4-BE49-F238E27FC236}">
                  <a16:creationId xmlns:a16="http://schemas.microsoft.com/office/drawing/2014/main" id="{0029AC1D-C55E-4671-B6BE-41A1971FF3E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6095" y="1540284"/>
              <a:ext cx="117221" cy="46889"/>
            </a:xfrm>
            <a:custGeom>
              <a:avLst/>
              <a:gdLst>
                <a:gd name="T0" fmla="*/ 29 w 90"/>
                <a:gd name="T1" fmla="*/ 1 h 36"/>
                <a:gd name="T2" fmla="*/ 30 w 90"/>
                <a:gd name="T3" fmla="*/ 3 h 36"/>
                <a:gd name="T4" fmla="*/ 37 w 90"/>
                <a:gd name="T5" fmla="*/ 0 h 36"/>
                <a:gd name="T6" fmla="*/ 45 w 90"/>
                <a:gd name="T7" fmla="*/ 7 h 36"/>
                <a:gd name="T8" fmla="*/ 54 w 90"/>
                <a:gd name="T9" fmla="*/ 3 h 36"/>
                <a:gd name="T10" fmla="*/ 62 w 90"/>
                <a:gd name="T11" fmla="*/ 4 h 36"/>
                <a:gd name="T12" fmla="*/ 74 w 90"/>
                <a:gd name="T13" fmla="*/ 2 h 36"/>
                <a:gd name="T14" fmla="*/ 90 w 90"/>
                <a:gd name="T15" fmla="*/ 10 h 36"/>
                <a:gd name="T16" fmla="*/ 86 w 90"/>
                <a:gd name="T17" fmla="*/ 15 h 36"/>
                <a:gd name="T18" fmla="*/ 84 w 90"/>
                <a:gd name="T19" fmla="*/ 23 h 36"/>
                <a:gd name="T20" fmla="*/ 81 w 90"/>
                <a:gd name="T21" fmla="*/ 25 h 36"/>
                <a:gd name="T22" fmla="*/ 63 w 90"/>
                <a:gd name="T23" fmla="*/ 19 h 36"/>
                <a:gd name="T24" fmla="*/ 57 w 90"/>
                <a:gd name="T25" fmla="*/ 20 h 36"/>
                <a:gd name="T26" fmla="*/ 54 w 90"/>
                <a:gd name="T27" fmla="*/ 25 h 36"/>
                <a:gd name="T28" fmla="*/ 47 w 90"/>
                <a:gd name="T29" fmla="*/ 27 h 36"/>
                <a:gd name="T30" fmla="*/ 45 w 90"/>
                <a:gd name="T31" fmla="*/ 26 h 36"/>
                <a:gd name="T32" fmla="*/ 37 w 90"/>
                <a:gd name="T33" fmla="*/ 29 h 36"/>
                <a:gd name="T34" fmla="*/ 31 w 90"/>
                <a:gd name="T35" fmla="*/ 30 h 36"/>
                <a:gd name="T36" fmla="*/ 30 w 90"/>
                <a:gd name="T37" fmla="*/ 34 h 36"/>
                <a:gd name="T38" fmla="*/ 17 w 90"/>
                <a:gd name="T39" fmla="*/ 36 h 36"/>
                <a:gd name="T40" fmla="*/ 11 w 90"/>
                <a:gd name="T41" fmla="*/ 34 h 36"/>
                <a:gd name="T42" fmla="*/ 2 w 90"/>
                <a:gd name="T43" fmla="*/ 29 h 36"/>
                <a:gd name="T44" fmla="*/ 0 w 90"/>
                <a:gd name="T45" fmla="*/ 22 h 36"/>
                <a:gd name="T46" fmla="*/ 1 w 90"/>
                <a:gd name="T47" fmla="*/ 19 h 36"/>
                <a:gd name="T48" fmla="*/ 2 w 90"/>
                <a:gd name="T49" fmla="*/ 15 h 36"/>
                <a:gd name="T50" fmla="*/ 10 w 90"/>
                <a:gd name="T51" fmla="*/ 15 h 36"/>
                <a:gd name="T52" fmla="*/ 15 w 90"/>
                <a:gd name="T53" fmla="*/ 13 h 36"/>
                <a:gd name="T54" fmla="*/ 15 w 90"/>
                <a:gd name="T55" fmla="*/ 11 h 36"/>
                <a:gd name="T56" fmla="*/ 18 w 90"/>
                <a:gd name="T57" fmla="*/ 10 h 36"/>
                <a:gd name="T58" fmla="*/ 19 w 90"/>
                <a:gd name="T59" fmla="*/ 6 h 36"/>
                <a:gd name="T60" fmla="*/ 22 w 90"/>
                <a:gd name="T61" fmla="*/ 5 h 36"/>
                <a:gd name="T62" fmla="*/ 25 w 90"/>
                <a:gd name="T63" fmla="*/ 1 h 36"/>
                <a:gd name="T64" fmla="*/ 29 w 90"/>
                <a:gd name="T65" fmla="*/ 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0" h="36">
                  <a:moveTo>
                    <a:pt x="29" y="1"/>
                  </a:moveTo>
                  <a:lnTo>
                    <a:pt x="30" y="3"/>
                  </a:lnTo>
                  <a:lnTo>
                    <a:pt x="37" y="0"/>
                  </a:lnTo>
                  <a:lnTo>
                    <a:pt x="45" y="7"/>
                  </a:lnTo>
                  <a:lnTo>
                    <a:pt x="54" y="3"/>
                  </a:lnTo>
                  <a:lnTo>
                    <a:pt x="62" y="4"/>
                  </a:lnTo>
                  <a:lnTo>
                    <a:pt x="74" y="2"/>
                  </a:lnTo>
                  <a:lnTo>
                    <a:pt x="90" y="10"/>
                  </a:lnTo>
                  <a:lnTo>
                    <a:pt x="86" y="15"/>
                  </a:lnTo>
                  <a:lnTo>
                    <a:pt x="84" y="23"/>
                  </a:lnTo>
                  <a:lnTo>
                    <a:pt x="81" y="25"/>
                  </a:lnTo>
                  <a:lnTo>
                    <a:pt x="63" y="19"/>
                  </a:lnTo>
                  <a:lnTo>
                    <a:pt x="57" y="20"/>
                  </a:lnTo>
                  <a:lnTo>
                    <a:pt x="54" y="25"/>
                  </a:lnTo>
                  <a:lnTo>
                    <a:pt x="47" y="27"/>
                  </a:lnTo>
                  <a:lnTo>
                    <a:pt x="45" y="26"/>
                  </a:lnTo>
                  <a:lnTo>
                    <a:pt x="37" y="29"/>
                  </a:lnTo>
                  <a:lnTo>
                    <a:pt x="31" y="30"/>
                  </a:lnTo>
                  <a:lnTo>
                    <a:pt x="30" y="34"/>
                  </a:lnTo>
                  <a:lnTo>
                    <a:pt x="17" y="36"/>
                  </a:lnTo>
                  <a:lnTo>
                    <a:pt x="11" y="34"/>
                  </a:lnTo>
                  <a:lnTo>
                    <a:pt x="2" y="29"/>
                  </a:lnTo>
                  <a:lnTo>
                    <a:pt x="0" y="22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10" y="15"/>
                  </a:lnTo>
                  <a:lnTo>
                    <a:pt x="15" y="13"/>
                  </a:lnTo>
                  <a:lnTo>
                    <a:pt x="15" y="11"/>
                  </a:lnTo>
                  <a:lnTo>
                    <a:pt x="18" y="10"/>
                  </a:lnTo>
                  <a:lnTo>
                    <a:pt x="19" y="6"/>
                  </a:lnTo>
                  <a:lnTo>
                    <a:pt x="22" y="5"/>
                  </a:lnTo>
                  <a:lnTo>
                    <a:pt x="25" y="1"/>
                  </a:lnTo>
                  <a:lnTo>
                    <a:pt x="29" y="1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29" name="Freeform 186">
              <a:extLst>
                <a:ext uri="{FF2B5EF4-FFF2-40B4-BE49-F238E27FC236}">
                  <a16:creationId xmlns:a16="http://schemas.microsoft.com/office/drawing/2014/main" id="{F15996C1-F635-41D1-807F-F9F3996DB3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3577" y="1611920"/>
              <a:ext cx="59913" cy="37772"/>
            </a:xfrm>
            <a:custGeom>
              <a:avLst/>
              <a:gdLst>
                <a:gd name="T0" fmla="*/ 1 w 46"/>
                <a:gd name="T1" fmla="*/ 7 h 29"/>
                <a:gd name="T2" fmla="*/ 15 w 46"/>
                <a:gd name="T3" fmla="*/ 9 h 29"/>
                <a:gd name="T4" fmla="*/ 22 w 46"/>
                <a:gd name="T5" fmla="*/ 4 h 29"/>
                <a:gd name="T6" fmla="*/ 37 w 46"/>
                <a:gd name="T7" fmla="*/ 3 h 29"/>
                <a:gd name="T8" fmla="*/ 39 w 46"/>
                <a:gd name="T9" fmla="*/ 0 h 29"/>
                <a:gd name="T10" fmla="*/ 42 w 46"/>
                <a:gd name="T11" fmla="*/ 0 h 29"/>
                <a:gd name="T12" fmla="*/ 46 w 46"/>
                <a:gd name="T13" fmla="*/ 7 h 29"/>
                <a:gd name="T14" fmla="*/ 33 w 46"/>
                <a:gd name="T15" fmla="*/ 12 h 29"/>
                <a:gd name="T16" fmla="*/ 32 w 46"/>
                <a:gd name="T17" fmla="*/ 21 h 29"/>
                <a:gd name="T18" fmla="*/ 27 w 46"/>
                <a:gd name="T19" fmla="*/ 23 h 29"/>
                <a:gd name="T20" fmla="*/ 27 w 46"/>
                <a:gd name="T21" fmla="*/ 29 h 29"/>
                <a:gd name="T22" fmla="*/ 21 w 46"/>
                <a:gd name="T23" fmla="*/ 28 h 29"/>
                <a:gd name="T24" fmla="*/ 15 w 46"/>
                <a:gd name="T25" fmla="*/ 25 h 29"/>
                <a:gd name="T26" fmla="*/ 12 w 46"/>
                <a:gd name="T27" fmla="*/ 28 h 29"/>
                <a:gd name="T28" fmla="*/ 1 w 46"/>
                <a:gd name="T29" fmla="*/ 28 h 29"/>
                <a:gd name="T30" fmla="*/ 4 w 46"/>
                <a:gd name="T31" fmla="*/ 26 h 29"/>
                <a:gd name="T32" fmla="*/ 0 w 46"/>
                <a:gd name="T33" fmla="*/ 17 h 29"/>
                <a:gd name="T34" fmla="*/ 1 w 46"/>
                <a:gd name="T35" fmla="*/ 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" h="29">
                  <a:moveTo>
                    <a:pt x="1" y="7"/>
                  </a:moveTo>
                  <a:lnTo>
                    <a:pt x="15" y="9"/>
                  </a:lnTo>
                  <a:lnTo>
                    <a:pt x="22" y="4"/>
                  </a:lnTo>
                  <a:lnTo>
                    <a:pt x="37" y="3"/>
                  </a:lnTo>
                  <a:lnTo>
                    <a:pt x="39" y="0"/>
                  </a:lnTo>
                  <a:lnTo>
                    <a:pt x="42" y="0"/>
                  </a:lnTo>
                  <a:lnTo>
                    <a:pt x="46" y="7"/>
                  </a:lnTo>
                  <a:lnTo>
                    <a:pt x="33" y="12"/>
                  </a:lnTo>
                  <a:lnTo>
                    <a:pt x="32" y="21"/>
                  </a:lnTo>
                  <a:lnTo>
                    <a:pt x="27" y="23"/>
                  </a:lnTo>
                  <a:lnTo>
                    <a:pt x="27" y="29"/>
                  </a:lnTo>
                  <a:lnTo>
                    <a:pt x="21" y="28"/>
                  </a:lnTo>
                  <a:lnTo>
                    <a:pt x="15" y="25"/>
                  </a:lnTo>
                  <a:lnTo>
                    <a:pt x="12" y="28"/>
                  </a:lnTo>
                  <a:lnTo>
                    <a:pt x="1" y="28"/>
                  </a:lnTo>
                  <a:lnTo>
                    <a:pt x="4" y="26"/>
                  </a:lnTo>
                  <a:lnTo>
                    <a:pt x="0" y="17"/>
                  </a:lnTo>
                  <a:lnTo>
                    <a:pt x="1" y="7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30" name="Freeform 187">
              <a:extLst>
                <a:ext uri="{FF2B5EF4-FFF2-40B4-BE49-F238E27FC236}">
                  <a16:creationId xmlns:a16="http://schemas.microsoft.com/office/drawing/2014/main" id="{1146913A-7650-47C1-98B2-9F052941B6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4128" y="1051862"/>
              <a:ext cx="216208" cy="337338"/>
            </a:xfrm>
            <a:custGeom>
              <a:avLst/>
              <a:gdLst>
                <a:gd name="T0" fmla="*/ 144 w 166"/>
                <a:gd name="T1" fmla="*/ 61 h 259"/>
                <a:gd name="T2" fmla="*/ 132 w 166"/>
                <a:gd name="T3" fmla="*/ 73 h 259"/>
                <a:gd name="T4" fmla="*/ 137 w 166"/>
                <a:gd name="T5" fmla="*/ 84 h 259"/>
                <a:gd name="T6" fmla="*/ 117 w 166"/>
                <a:gd name="T7" fmla="*/ 100 h 259"/>
                <a:gd name="T8" fmla="*/ 92 w 166"/>
                <a:gd name="T9" fmla="*/ 116 h 259"/>
                <a:gd name="T10" fmla="*/ 85 w 166"/>
                <a:gd name="T11" fmla="*/ 142 h 259"/>
                <a:gd name="T12" fmla="*/ 97 w 166"/>
                <a:gd name="T13" fmla="*/ 156 h 259"/>
                <a:gd name="T14" fmla="*/ 112 w 166"/>
                <a:gd name="T15" fmla="*/ 166 h 259"/>
                <a:gd name="T16" fmla="*/ 102 w 166"/>
                <a:gd name="T17" fmla="*/ 188 h 259"/>
                <a:gd name="T18" fmla="*/ 87 w 166"/>
                <a:gd name="T19" fmla="*/ 193 h 259"/>
                <a:gd name="T20" fmla="*/ 85 w 166"/>
                <a:gd name="T21" fmla="*/ 226 h 259"/>
                <a:gd name="T22" fmla="*/ 78 w 166"/>
                <a:gd name="T23" fmla="*/ 244 h 259"/>
                <a:gd name="T24" fmla="*/ 59 w 166"/>
                <a:gd name="T25" fmla="*/ 242 h 259"/>
                <a:gd name="T26" fmla="*/ 52 w 166"/>
                <a:gd name="T27" fmla="*/ 258 h 259"/>
                <a:gd name="T28" fmla="*/ 35 w 166"/>
                <a:gd name="T29" fmla="*/ 259 h 259"/>
                <a:gd name="T30" fmla="*/ 28 w 166"/>
                <a:gd name="T31" fmla="*/ 240 h 259"/>
                <a:gd name="T32" fmla="*/ 14 w 166"/>
                <a:gd name="T33" fmla="*/ 218 h 259"/>
                <a:gd name="T34" fmla="*/ 0 w 166"/>
                <a:gd name="T35" fmla="*/ 190 h 259"/>
                <a:gd name="T36" fmla="*/ 6 w 166"/>
                <a:gd name="T37" fmla="*/ 179 h 259"/>
                <a:gd name="T38" fmla="*/ 17 w 166"/>
                <a:gd name="T39" fmla="*/ 166 h 259"/>
                <a:gd name="T40" fmla="*/ 20 w 166"/>
                <a:gd name="T41" fmla="*/ 143 h 259"/>
                <a:gd name="T42" fmla="*/ 10 w 166"/>
                <a:gd name="T43" fmla="*/ 134 h 259"/>
                <a:gd name="T44" fmla="*/ 6 w 166"/>
                <a:gd name="T45" fmla="*/ 109 h 259"/>
                <a:gd name="T46" fmla="*/ 14 w 166"/>
                <a:gd name="T47" fmla="*/ 91 h 259"/>
                <a:gd name="T48" fmla="*/ 28 w 166"/>
                <a:gd name="T49" fmla="*/ 91 h 259"/>
                <a:gd name="T50" fmla="*/ 32 w 166"/>
                <a:gd name="T51" fmla="*/ 84 h 259"/>
                <a:gd name="T52" fmla="*/ 26 w 166"/>
                <a:gd name="T53" fmla="*/ 78 h 259"/>
                <a:gd name="T54" fmla="*/ 45 w 166"/>
                <a:gd name="T55" fmla="*/ 52 h 259"/>
                <a:gd name="T56" fmla="*/ 56 w 166"/>
                <a:gd name="T57" fmla="*/ 32 h 259"/>
                <a:gd name="T58" fmla="*/ 63 w 166"/>
                <a:gd name="T59" fmla="*/ 19 h 259"/>
                <a:gd name="T60" fmla="*/ 76 w 166"/>
                <a:gd name="T61" fmla="*/ 19 h 259"/>
                <a:gd name="T62" fmla="*/ 78 w 166"/>
                <a:gd name="T63" fmla="*/ 9 h 259"/>
                <a:gd name="T64" fmla="*/ 103 w 166"/>
                <a:gd name="T65" fmla="*/ 12 h 259"/>
                <a:gd name="T66" fmla="*/ 103 w 166"/>
                <a:gd name="T67" fmla="*/ 1 h 259"/>
                <a:gd name="T68" fmla="*/ 111 w 166"/>
                <a:gd name="T69" fmla="*/ 0 h 259"/>
                <a:gd name="T70" fmla="*/ 131 w 166"/>
                <a:gd name="T71" fmla="*/ 9 h 259"/>
                <a:gd name="T72" fmla="*/ 154 w 166"/>
                <a:gd name="T73" fmla="*/ 21 h 259"/>
                <a:gd name="T74" fmla="*/ 160 w 166"/>
                <a:gd name="T75" fmla="*/ 48 h 259"/>
                <a:gd name="T76" fmla="*/ 166 w 166"/>
                <a:gd name="T77" fmla="*/ 55 h 259"/>
                <a:gd name="T78" fmla="*/ 144 w 166"/>
                <a:gd name="T79" fmla="*/ 61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6" h="259">
                  <a:moveTo>
                    <a:pt x="144" y="61"/>
                  </a:moveTo>
                  <a:lnTo>
                    <a:pt x="132" y="73"/>
                  </a:lnTo>
                  <a:lnTo>
                    <a:pt x="137" y="84"/>
                  </a:lnTo>
                  <a:lnTo>
                    <a:pt x="117" y="100"/>
                  </a:lnTo>
                  <a:lnTo>
                    <a:pt x="92" y="116"/>
                  </a:lnTo>
                  <a:lnTo>
                    <a:pt x="85" y="142"/>
                  </a:lnTo>
                  <a:lnTo>
                    <a:pt x="97" y="156"/>
                  </a:lnTo>
                  <a:lnTo>
                    <a:pt x="112" y="166"/>
                  </a:lnTo>
                  <a:lnTo>
                    <a:pt x="102" y="188"/>
                  </a:lnTo>
                  <a:lnTo>
                    <a:pt x="87" y="193"/>
                  </a:lnTo>
                  <a:lnTo>
                    <a:pt x="85" y="226"/>
                  </a:lnTo>
                  <a:lnTo>
                    <a:pt x="78" y="244"/>
                  </a:lnTo>
                  <a:lnTo>
                    <a:pt x="59" y="242"/>
                  </a:lnTo>
                  <a:lnTo>
                    <a:pt x="52" y="258"/>
                  </a:lnTo>
                  <a:lnTo>
                    <a:pt x="35" y="259"/>
                  </a:lnTo>
                  <a:lnTo>
                    <a:pt x="28" y="240"/>
                  </a:lnTo>
                  <a:lnTo>
                    <a:pt x="14" y="218"/>
                  </a:lnTo>
                  <a:lnTo>
                    <a:pt x="0" y="190"/>
                  </a:lnTo>
                  <a:lnTo>
                    <a:pt x="6" y="179"/>
                  </a:lnTo>
                  <a:lnTo>
                    <a:pt x="17" y="166"/>
                  </a:lnTo>
                  <a:lnTo>
                    <a:pt x="20" y="143"/>
                  </a:lnTo>
                  <a:lnTo>
                    <a:pt x="10" y="134"/>
                  </a:lnTo>
                  <a:lnTo>
                    <a:pt x="6" y="109"/>
                  </a:lnTo>
                  <a:lnTo>
                    <a:pt x="14" y="91"/>
                  </a:lnTo>
                  <a:lnTo>
                    <a:pt x="28" y="91"/>
                  </a:lnTo>
                  <a:lnTo>
                    <a:pt x="32" y="84"/>
                  </a:lnTo>
                  <a:lnTo>
                    <a:pt x="26" y="78"/>
                  </a:lnTo>
                  <a:lnTo>
                    <a:pt x="45" y="52"/>
                  </a:lnTo>
                  <a:lnTo>
                    <a:pt x="56" y="32"/>
                  </a:lnTo>
                  <a:lnTo>
                    <a:pt x="63" y="19"/>
                  </a:lnTo>
                  <a:lnTo>
                    <a:pt x="76" y="19"/>
                  </a:lnTo>
                  <a:lnTo>
                    <a:pt x="78" y="9"/>
                  </a:lnTo>
                  <a:lnTo>
                    <a:pt x="103" y="12"/>
                  </a:lnTo>
                  <a:lnTo>
                    <a:pt x="103" y="1"/>
                  </a:lnTo>
                  <a:lnTo>
                    <a:pt x="111" y="0"/>
                  </a:lnTo>
                  <a:lnTo>
                    <a:pt x="131" y="9"/>
                  </a:lnTo>
                  <a:lnTo>
                    <a:pt x="154" y="21"/>
                  </a:lnTo>
                  <a:lnTo>
                    <a:pt x="160" y="48"/>
                  </a:lnTo>
                  <a:lnTo>
                    <a:pt x="166" y="55"/>
                  </a:lnTo>
                  <a:lnTo>
                    <a:pt x="144" y="61"/>
                  </a:lnTo>
                  <a:close/>
                </a:path>
              </a:pathLst>
            </a:custGeom>
            <a:solidFill>
              <a:srgbClr val="FFD606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31" name="Freeform 188">
              <a:extLst>
                <a:ext uri="{FF2B5EF4-FFF2-40B4-BE49-F238E27FC236}">
                  <a16:creationId xmlns:a16="http://schemas.microsoft.com/office/drawing/2014/main" id="{8AEA9541-C794-4B37-9A10-FF4BC98224E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1667" y="3569518"/>
              <a:ext cx="31259" cy="44284"/>
            </a:xfrm>
            <a:custGeom>
              <a:avLst/>
              <a:gdLst>
                <a:gd name="T0" fmla="*/ 24 w 24"/>
                <a:gd name="T1" fmla="*/ 23 h 34"/>
                <a:gd name="T2" fmla="*/ 20 w 24"/>
                <a:gd name="T3" fmla="*/ 32 h 34"/>
                <a:gd name="T4" fmla="*/ 10 w 24"/>
                <a:gd name="T5" fmla="*/ 34 h 34"/>
                <a:gd name="T6" fmla="*/ 0 w 24"/>
                <a:gd name="T7" fmla="*/ 23 h 34"/>
                <a:gd name="T8" fmla="*/ 0 w 24"/>
                <a:gd name="T9" fmla="*/ 16 h 34"/>
                <a:gd name="T10" fmla="*/ 6 w 24"/>
                <a:gd name="T11" fmla="*/ 8 h 34"/>
                <a:gd name="T12" fmla="*/ 8 w 24"/>
                <a:gd name="T13" fmla="*/ 2 h 34"/>
                <a:gd name="T14" fmla="*/ 13 w 24"/>
                <a:gd name="T15" fmla="*/ 0 h 34"/>
                <a:gd name="T16" fmla="*/ 22 w 24"/>
                <a:gd name="T17" fmla="*/ 4 h 34"/>
                <a:gd name="T18" fmla="*/ 24 w 24"/>
                <a:gd name="T19" fmla="*/ 14 h 34"/>
                <a:gd name="T20" fmla="*/ 24 w 24"/>
                <a:gd name="T21" fmla="*/ 2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34">
                  <a:moveTo>
                    <a:pt x="24" y="23"/>
                  </a:moveTo>
                  <a:lnTo>
                    <a:pt x="20" y="32"/>
                  </a:lnTo>
                  <a:lnTo>
                    <a:pt x="10" y="34"/>
                  </a:lnTo>
                  <a:lnTo>
                    <a:pt x="0" y="23"/>
                  </a:lnTo>
                  <a:lnTo>
                    <a:pt x="0" y="16"/>
                  </a:lnTo>
                  <a:lnTo>
                    <a:pt x="6" y="8"/>
                  </a:lnTo>
                  <a:lnTo>
                    <a:pt x="8" y="2"/>
                  </a:lnTo>
                  <a:lnTo>
                    <a:pt x="13" y="0"/>
                  </a:lnTo>
                  <a:lnTo>
                    <a:pt x="22" y="4"/>
                  </a:lnTo>
                  <a:lnTo>
                    <a:pt x="24" y="14"/>
                  </a:lnTo>
                  <a:lnTo>
                    <a:pt x="24" y="2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32" name="Freeform 189">
              <a:extLst>
                <a:ext uri="{FF2B5EF4-FFF2-40B4-BE49-F238E27FC236}">
                  <a16:creationId xmlns:a16="http://schemas.microsoft.com/office/drawing/2014/main" id="{1C4AF361-46D4-42F8-9F0F-8BB6E74B83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8049" y="1869807"/>
              <a:ext cx="138061" cy="131549"/>
            </a:xfrm>
            <a:custGeom>
              <a:avLst/>
              <a:gdLst>
                <a:gd name="T0" fmla="*/ 56 w 106"/>
                <a:gd name="T1" fmla="*/ 79 h 101"/>
                <a:gd name="T2" fmla="*/ 24 w 106"/>
                <a:gd name="T3" fmla="*/ 101 h 101"/>
                <a:gd name="T4" fmla="*/ 4 w 106"/>
                <a:gd name="T5" fmla="*/ 93 h 101"/>
                <a:gd name="T6" fmla="*/ 3 w 106"/>
                <a:gd name="T7" fmla="*/ 93 h 101"/>
                <a:gd name="T8" fmla="*/ 5 w 106"/>
                <a:gd name="T9" fmla="*/ 90 h 101"/>
                <a:gd name="T10" fmla="*/ 4 w 106"/>
                <a:gd name="T11" fmla="*/ 81 h 101"/>
                <a:gd name="T12" fmla="*/ 7 w 106"/>
                <a:gd name="T13" fmla="*/ 70 h 101"/>
                <a:gd name="T14" fmla="*/ 16 w 106"/>
                <a:gd name="T15" fmla="*/ 62 h 101"/>
                <a:gd name="T16" fmla="*/ 12 w 106"/>
                <a:gd name="T17" fmla="*/ 54 h 101"/>
                <a:gd name="T18" fmla="*/ 4 w 106"/>
                <a:gd name="T19" fmla="*/ 53 h 101"/>
                <a:gd name="T20" fmla="*/ 0 w 106"/>
                <a:gd name="T21" fmla="*/ 37 h 101"/>
                <a:gd name="T22" fmla="*/ 4 w 106"/>
                <a:gd name="T23" fmla="*/ 29 h 101"/>
                <a:gd name="T24" fmla="*/ 8 w 106"/>
                <a:gd name="T25" fmla="*/ 24 h 101"/>
                <a:gd name="T26" fmla="*/ 12 w 106"/>
                <a:gd name="T27" fmla="*/ 20 h 101"/>
                <a:gd name="T28" fmla="*/ 11 w 106"/>
                <a:gd name="T29" fmla="*/ 8 h 101"/>
                <a:gd name="T30" fmla="*/ 17 w 106"/>
                <a:gd name="T31" fmla="*/ 12 h 101"/>
                <a:gd name="T32" fmla="*/ 36 w 106"/>
                <a:gd name="T33" fmla="*/ 6 h 101"/>
                <a:gd name="T34" fmla="*/ 45 w 106"/>
                <a:gd name="T35" fmla="*/ 10 h 101"/>
                <a:gd name="T36" fmla="*/ 59 w 106"/>
                <a:gd name="T37" fmla="*/ 10 h 101"/>
                <a:gd name="T38" fmla="*/ 78 w 106"/>
                <a:gd name="T39" fmla="*/ 3 h 101"/>
                <a:gd name="T40" fmla="*/ 87 w 106"/>
                <a:gd name="T41" fmla="*/ 3 h 101"/>
                <a:gd name="T42" fmla="*/ 106 w 106"/>
                <a:gd name="T43" fmla="*/ 0 h 101"/>
                <a:gd name="T44" fmla="*/ 99 w 106"/>
                <a:gd name="T45" fmla="*/ 13 h 101"/>
                <a:gd name="T46" fmla="*/ 91 w 106"/>
                <a:gd name="T47" fmla="*/ 18 h 101"/>
                <a:gd name="T48" fmla="*/ 94 w 106"/>
                <a:gd name="T49" fmla="*/ 33 h 101"/>
                <a:gd name="T50" fmla="*/ 91 w 106"/>
                <a:gd name="T51" fmla="*/ 58 h 101"/>
                <a:gd name="T52" fmla="*/ 56 w 106"/>
                <a:gd name="T53" fmla="*/ 7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6" h="101">
                  <a:moveTo>
                    <a:pt x="56" y="79"/>
                  </a:moveTo>
                  <a:lnTo>
                    <a:pt x="24" y="101"/>
                  </a:lnTo>
                  <a:lnTo>
                    <a:pt x="4" y="93"/>
                  </a:lnTo>
                  <a:lnTo>
                    <a:pt x="3" y="93"/>
                  </a:lnTo>
                  <a:lnTo>
                    <a:pt x="5" y="90"/>
                  </a:lnTo>
                  <a:lnTo>
                    <a:pt x="4" y="81"/>
                  </a:lnTo>
                  <a:lnTo>
                    <a:pt x="7" y="70"/>
                  </a:lnTo>
                  <a:lnTo>
                    <a:pt x="16" y="62"/>
                  </a:lnTo>
                  <a:lnTo>
                    <a:pt x="12" y="54"/>
                  </a:lnTo>
                  <a:lnTo>
                    <a:pt x="4" y="53"/>
                  </a:lnTo>
                  <a:lnTo>
                    <a:pt x="0" y="37"/>
                  </a:lnTo>
                  <a:lnTo>
                    <a:pt x="4" y="29"/>
                  </a:lnTo>
                  <a:lnTo>
                    <a:pt x="8" y="24"/>
                  </a:lnTo>
                  <a:lnTo>
                    <a:pt x="12" y="20"/>
                  </a:lnTo>
                  <a:lnTo>
                    <a:pt x="11" y="8"/>
                  </a:lnTo>
                  <a:lnTo>
                    <a:pt x="17" y="12"/>
                  </a:lnTo>
                  <a:lnTo>
                    <a:pt x="36" y="6"/>
                  </a:lnTo>
                  <a:lnTo>
                    <a:pt x="45" y="10"/>
                  </a:lnTo>
                  <a:lnTo>
                    <a:pt x="59" y="10"/>
                  </a:lnTo>
                  <a:lnTo>
                    <a:pt x="78" y="3"/>
                  </a:lnTo>
                  <a:lnTo>
                    <a:pt x="87" y="3"/>
                  </a:lnTo>
                  <a:lnTo>
                    <a:pt x="106" y="0"/>
                  </a:lnTo>
                  <a:lnTo>
                    <a:pt x="99" y="13"/>
                  </a:lnTo>
                  <a:lnTo>
                    <a:pt x="91" y="18"/>
                  </a:lnTo>
                  <a:lnTo>
                    <a:pt x="94" y="33"/>
                  </a:lnTo>
                  <a:lnTo>
                    <a:pt x="91" y="58"/>
                  </a:lnTo>
                  <a:lnTo>
                    <a:pt x="56" y="79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33" name="Freeform 190">
              <a:extLst>
                <a:ext uri="{FF2B5EF4-FFF2-40B4-BE49-F238E27FC236}">
                  <a16:creationId xmlns:a16="http://schemas.microsoft.com/office/drawing/2014/main" id="{B242D33B-3602-4C9E-9B2E-78F20E0A838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231" y="2242311"/>
              <a:ext cx="244862" cy="432417"/>
            </a:xfrm>
            <a:custGeom>
              <a:avLst/>
              <a:gdLst>
                <a:gd name="T0" fmla="*/ 18 w 188"/>
                <a:gd name="T1" fmla="*/ 219 h 332"/>
                <a:gd name="T2" fmla="*/ 19 w 188"/>
                <a:gd name="T3" fmla="*/ 209 h 332"/>
                <a:gd name="T4" fmla="*/ 8 w 188"/>
                <a:gd name="T5" fmla="*/ 209 h 332"/>
                <a:gd name="T6" fmla="*/ 8 w 188"/>
                <a:gd name="T7" fmla="*/ 196 h 332"/>
                <a:gd name="T8" fmla="*/ 0 w 188"/>
                <a:gd name="T9" fmla="*/ 188 h 332"/>
                <a:gd name="T10" fmla="*/ 7 w 188"/>
                <a:gd name="T11" fmla="*/ 161 h 332"/>
                <a:gd name="T12" fmla="*/ 30 w 188"/>
                <a:gd name="T13" fmla="*/ 141 h 332"/>
                <a:gd name="T14" fmla="*/ 30 w 188"/>
                <a:gd name="T15" fmla="*/ 114 h 332"/>
                <a:gd name="T16" fmla="*/ 37 w 188"/>
                <a:gd name="T17" fmla="*/ 72 h 332"/>
                <a:gd name="T18" fmla="*/ 40 w 188"/>
                <a:gd name="T19" fmla="*/ 63 h 332"/>
                <a:gd name="T20" fmla="*/ 33 w 188"/>
                <a:gd name="T21" fmla="*/ 56 h 332"/>
                <a:gd name="T22" fmla="*/ 32 w 188"/>
                <a:gd name="T23" fmla="*/ 49 h 332"/>
                <a:gd name="T24" fmla="*/ 25 w 188"/>
                <a:gd name="T25" fmla="*/ 44 h 332"/>
                <a:gd name="T26" fmla="*/ 20 w 188"/>
                <a:gd name="T27" fmla="*/ 11 h 332"/>
                <a:gd name="T28" fmla="*/ 38 w 188"/>
                <a:gd name="T29" fmla="*/ 0 h 332"/>
                <a:gd name="T30" fmla="*/ 111 w 188"/>
                <a:gd name="T31" fmla="*/ 40 h 332"/>
                <a:gd name="T32" fmla="*/ 184 w 188"/>
                <a:gd name="T33" fmla="*/ 80 h 332"/>
                <a:gd name="T34" fmla="*/ 188 w 188"/>
                <a:gd name="T35" fmla="*/ 162 h 332"/>
                <a:gd name="T36" fmla="*/ 172 w 188"/>
                <a:gd name="T37" fmla="*/ 161 h 332"/>
                <a:gd name="T38" fmla="*/ 164 w 188"/>
                <a:gd name="T39" fmla="*/ 176 h 332"/>
                <a:gd name="T40" fmla="*/ 160 w 188"/>
                <a:gd name="T41" fmla="*/ 189 h 332"/>
                <a:gd name="T42" fmla="*/ 163 w 188"/>
                <a:gd name="T43" fmla="*/ 194 h 332"/>
                <a:gd name="T44" fmla="*/ 158 w 188"/>
                <a:gd name="T45" fmla="*/ 200 h 332"/>
                <a:gd name="T46" fmla="*/ 160 w 188"/>
                <a:gd name="T47" fmla="*/ 209 h 332"/>
                <a:gd name="T48" fmla="*/ 155 w 188"/>
                <a:gd name="T49" fmla="*/ 217 h 332"/>
                <a:gd name="T50" fmla="*/ 154 w 188"/>
                <a:gd name="T51" fmla="*/ 225 h 332"/>
                <a:gd name="T52" fmla="*/ 160 w 188"/>
                <a:gd name="T53" fmla="*/ 224 h 332"/>
                <a:gd name="T54" fmla="*/ 164 w 188"/>
                <a:gd name="T55" fmla="*/ 232 h 332"/>
                <a:gd name="T56" fmla="*/ 164 w 188"/>
                <a:gd name="T57" fmla="*/ 244 h 332"/>
                <a:gd name="T58" fmla="*/ 171 w 188"/>
                <a:gd name="T59" fmla="*/ 250 h 332"/>
                <a:gd name="T60" fmla="*/ 171 w 188"/>
                <a:gd name="T61" fmla="*/ 255 h 332"/>
                <a:gd name="T62" fmla="*/ 160 w 188"/>
                <a:gd name="T63" fmla="*/ 258 h 332"/>
                <a:gd name="T64" fmla="*/ 151 w 188"/>
                <a:gd name="T65" fmla="*/ 267 h 332"/>
                <a:gd name="T66" fmla="*/ 138 w 188"/>
                <a:gd name="T67" fmla="*/ 290 h 332"/>
                <a:gd name="T68" fmla="*/ 121 w 188"/>
                <a:gd name="T69" fmla="*/ 299 h 332"/>
                <a:gd name="T70" fmla="*/ 103 w 188"/>
                <a:gd name="T71" fmla="*/ 298 h 332"/>
                <a:gd name="T72" fmla="*/ 98 w 188"/>
                <a:gd name="T73" fmla="*/ 300 h 332"/>
                <a:gd name="T74" fmla="*/ 100 w 188"/>
                <a:gd name="T75" fmla="*/ 307 h 332"/>
                <a:gd name="T76" fmla="*/ 90 w 188"/>
                <a:gd name="T77" fmla="*/ 314 h 332"/>
                <a:gd name="T78" fmla="*/ 83 w 188"/>
                <a:gd name="T79" fmla="*/ 323 h 332"/>
                <a:gd name="T80" fmla="*/ 59 w 188"/>
                <a:gd name="T81" fmla="*/ 330 h 332"/>
                <a:gd name="T82" fmla="*/ 55 w 188"/>
                <a:gd name="T83" fmla="*/ 326 h 332"/>
                <a:gd name="T84" fmla="*/ 52 w 188"/>
                <a:gd name="T85" fmla="*/ 325 h 332"/>
                <a:gd name="T86" fmla="*/ 48 w 188"/>
                <a:gd name="T87" fmla="*/ 331 h 332"/>
                <a:gd name="T88" fmla="*/ 33 w 188"/>
                <a:gd name="T89" fmla="*/ 332 h 332"/>
                <a:gd name="T90" fmla="*/ 36 w 188"/>
                <a:gd name="T91" fmla="*/ 326 h 332"/>
                <a:gd name="T92" fmla="*/ 30 w 188"/>
                <a:gd name="T93" fmla="*/ 312 h 332"/>
                <a:gd name="T94" fmla="*/ 28 w 188"/>
                <a:gd name="T95" fmla="*/ 304 h 332"/>
                <a:gd name="T96" fmla="*/ 20 w 188"/>
                <a:gd name="T97" fmla="*/ 300 h 332"/>
                <a:gd name="T98" fmla="*/ 9 w 188"/>
                <a:gd name="T99" fmla="*/ 288 h 332"/>
                <a:gd name="T100" fmla="*/ 13 w 188"/>
                <a:gd name="T101" fmla="*/ 278 h 332"/>
                <a:gd name="T102" fmla="*/ 21 w 188"/>
                <a:gd name="T103" fmla="*/ 280 h 332"/>
                <a:gd name="T104" fmla="*/ 26 w 188"/>
                <a:gd name="T105" fmla="*/ 279 h 332"/>
                <a:gd name="T106" fmla="*/ 36 w 188"/>
                <a:gd name="T107" fmla="*/ 279 h 332"/>
                <a:gd name="T108" fmla="*/ 26 w 188"/>
                <a:gd name="T109" fmla="*/ 260 h 332"/>
                <a:gd name="T110" fmla="*/ 27 w 188"/>
                <a:gd name="T111" fmla="*/ 246 h 332"/>
                <a:gd name="T112" fmla="*/ 25 w 188"/>
                <a:gd name="T113" fmla="*/ 233 h 332"/>
                <a:gd name="T114" fmla="*/ 18 w 188"/>
                <a:gd name="T115" fmla="*/ 219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88" h="332">
                  <a:moveTo>
                    <a:pt x="18" y="219"/>
                  </a:moveTo>
                  <a:lnTo>
                    <a:pt x="19" y="209"/>
                  </a:lnTo>
                  <a:lnTo>
                    <a:pt x="8" y="209"/>
                  </a:lnTo>
                  <a:lnTo>
                    <a:pt x="8" y="196"/>
                  </a:lnTo>
                  <a:lnTo>
                    <a:pt x="0" y="188"/>
                  </a:lnTo>
                  <a:lnTo>
                    <a:pt x="7" y="161"/>
                  </a:lnTo>
                  <a:lnTo>
                    <a:pt x="30" y="141"/>
                  </a:lnTo>
                  <a:lnTo>
                    <a:pt x="30" y="114"/>
                  </a:lnTo>
                  <a:lnTo>
                    <a:pt x="37" y="72"/>
                  </a:lnTo>
                  <a:lnTo>
                    <a:pt x="40" y="63"/>
                  </a:lnTo>
                  <a:lnTo>
                    <a:pt x="33" y="56"/>
                  </a:lnTo>
                  <a:lnTo>
                    <a:pt x="32" y="49"/>
                  </a:lnTo>
                  <a:lnTo>
                    <a:pt x="25" y="44"/>
                  </a:lnTo>
                  <a:lnTo>
                    <a:pt x="20" y="11"/>
                  </a:lnTo>
                  <a:lnTo>
                    <a:pt x="38" y="0"/>
                  </a:lnTo>
                  <a:lnTo>
                    <a:pt x="111" y="40"/>
                  </a:lnTo>
                  <a:lnTo>
                    <a:pt x="184" y="80"/>
                  </a:lnTo>
                  <a:lnTo>
                    <a:pt x="188" y="162"/>
                  </a:lnTo>
                  <a:lnTo>
                    <a:pt x="172" y="161"/>
                  </a:lnTo>
                  <a:lnTo>
                    <a:pt x="164" y="176"/>
                  </a:lnTo>
                  <a:lnTo>
                    <a:pt x="160" y="189"/>
                  </a:lnTo>
                  <a:lnTo>
                    <a:pt x="163" y="194"/>
                  </a:lnTo>
                  <a:lnTo>
                    <a:pt x="158" y="200"/>
                  </a:lnTo>
                  <a:lnTo>
                    <a:pt x="160" y="209"/>
                  </a:lnTo>
                  <a:lnTo>
                    <a:pt x="155" y="217"/>
                  </a:lnTo>
                  <a:lnTo>
                    <a:pt x="154" y="225"/>
                  </a:lnTo>
                  <a:lnTo>
                    <a:pt x="160" y="224"/>
                  </a:lnTo>
                  <a:lnTo>
                    <a:pt x="164" y="232"/>
                  </a:lnTo>
                  <a:lnTo>
                    <a:pt x="164" y="244"/>
                  </a:lnTo>
                  <a:lnTo>
                    <a:pt x="171" y="250"/>
                  </a:lnTo>
                  <a:lnTo>
                    <a:pt x="171" y="255"/>
                  </a:lnTo>
                  <a:lnTo>
                    <a:pt x="160" y="258"/>
                  </a:lnTo>
                  <a:lnTo>
                    <a:pt x="151" y="267"/>
                  </a:lnTo>
                  <a:lnTo>
                    <a:pt x="138" y="290"/>
                  </a:lnTo>
                  <a:lnTo>
                    <a:pt x="121" y="299"/>
                  </a:lnTo>
                  <a:lnTo>
                    <a:pt x="103" y="298"/>
                  </a:lnTo>
                  <a:lnTo>
                    <a:pt x="98" y="300"/>
                  </a:lnTo>
                  <a:lnTo>
                    <a:pt x="100" y="307"/>
                  </a:lnTo>
                  <a:lnTo>
                    <a:pt x="90" y="314"/>
                  </a:lnTo>
                  <a:lnTo>
                    <a:pt x="83" y="323"/>
                  </a:lnTo>
                  <a:lnTo>
                    <a:pt x="59" y="330"/>
                  </a:lnTo>
                  <a:lnTo>
                    <a:pt x="55" y="326"/>
                  </a:lnTo>
                  <a:lnTo>
                    <a:pt x="52" y="325"/>
                  </a:lnTo>
                  <a:lnTo>
                    <a:pt x="48" y="331"/>
                  </a:lnTo>
                  <a:lnTo>
                    <a:pt x="33" y="332"/>
                  </a:lnTo>
                  <a:lnTo>
                    <a:pt x="36" y="326"/>
                  </a:lnTo>
                  <a:lnTo>
                    <a:pt x="30" y="312"/>
                  </a:lnTo>
                  <a:lnTo>
                    <a:pt x="28" y="304"/>
                  </a:lnTo>
                  <a:lnTo>
                    <a:pt x="20" y="300"/>
                  </a:lnTo>
                  <a:lnTo>
                    <a:pt x="9" y="288"/>
                  </a:lnTo>
                  <a:lnTo>
                    <a:pt x="13" y="278"/>
                  </a:lnTo>
                  <a:lnTo>
                    <a:pt x="21" y="280"/>
                  </a:lnTo>
                  <a:lnTo>
                    <a:pt x="26" y="279"/>
                  </a:lnTo>
                  <a:lnTo>
                    <a:pt x="36" y="279"/>
                  </a:lnTo>
                  <a:lnTo>
                    <a:pt x="26" y="260"/>
                  </a:lnTo>
                  <a:lnTo>
                    <a:pt x="27" y="246"/>
                  </a:lnTo>
                  <a:lnTo>
                    <a:pt x="25" y="233"/>
                  </a:lnTo>
                  <a:lnTo>
                    <a:pt x="18" y="21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34" name="Freeform 191">
              <a:extLst>
                <a:ext uri="{FF2B5EF4-FFF2-40B4-BE49-F238E27FC236}">
                  <a16:creationId xmlns:a16="http://schemas.microsoft.com/office/drawing/2014/main" id="{83189587-4421-4AE6-BAF3-B947949763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9221" y="2577043"/>
              <a:ext cx="45586" cy="138061"/>
            </a:xfrm>
            <a:custGeom>
              <a:avLst/>
              <a:gdLst>
                <a:gd name="T0" fmla="*/ 35 w 35"/>
                <a:gd name="T1" fmla="*/ 102 h 106"/>
                <a:gd name="T2" fmla="*/ 21 w 35"/>
                <a:gd name="T3" fmla="*/ 106 h 106"/>
                <a:gd name="T4" fmla="*/ 17 w 35"/>
                <a:gd name="T5" fmla="*/ 99 h 106"/>
                <a:gd name="T6" fmla="*/ 12 w 35"/>
                <a:gd name="T7" fmla="*/ 86 h 106"/>
                <a:gd name="T8" fmla="*/ 10 w 35"/>
                <a:gd name="T9" fmla="*/ 75 h 106"/>
                <a:gd name="T10" fmla="*/ 14 w 35"/>
                <a:gd name="T11" fmla="*/ 57 h 106"/>
                <a:gd name="T12" fmla="*/ 10 w 35"/>
                <a:gd name="T13" fmla="*/ 49 h 106"/>
                <a:gd name="T14" fmla="*/ 8 w 35"/>
                <a:gd name="T15" fmla="*/ 33 h 106"/>
                <a:gd name="T16" fmla="*/ 8 w 35"/>
                <a:gd name="T17" fmla="*/ 18 h 106"/>
                <a:gd name="T18" fmla="*/ 0 w 35"/>
                <a:gd name="T19" fmla="*/ 7 h 106"/>
                <a:gd name="T20" fmla="*/ 2 w 35"/>
                <a:gd name="T21" fmla="*/ 0 h 106"/>
                <a:gd name="T22" fmla="*/ 18 w 35"/>
                <a:gd name="T23" fmla="*/ 1 h 106"/>
                <a:gd name="T24" fmla="*/ 15 w 35"/>
                <a:gd name="T25" fmla="*/ 12 h 106"/>
                <a:gd name="T26" fmla="*/ 21 w 35"/>
                <a:gd name="T27" fmla="*/ 18 h 106"/>
                <a:gd name="T28" fmla="*/ 27 w 35"/>
                <a:gd name="T29" fmla="*/ 25 h 106"/>
                <a:gd name="T30" fmla="*/ 28 w 35"/>
                <a:gd name="T31" fmla="*/ 36 h 106"/>
                <a:gd name="T32" fmla="*/ 32 w 35"/>
                <a:gd name="T33" fmla="*/ 40 h 106"/>
                <a:gd name="T34" fmla="*/ 31 w 35"/>
                <a:gd name="T35" fmla="*/ 88 h 106"/>
                <a:gd name="T36" fmla="*/ 35 w 35"/>
                <a:gd name="T37" fmla="*/ 10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106">
                  <a:moveTo>
                    <a:pt x="35" y="102"/>
                  </a:moveTo>
                  <a:lnTo>
                    <a:pt x="21" y="106"/>
                  </a:lnTo>
                  <a:lnTo>
                    <a:pt x="17" y="99"/>
                  </a:lnTo>
                  <a:lnTo>
                    <a:pt x="12" y="86"/>
                  </a:lnTo>
                  <a:lnTo>
                    <a:pt x="10" y="75"/>
                  </a:lnTo>
                  <a:lnTo>
                    <a:pt x="14" y="57"/>
                  </a:lnTo>
                  <a:lnTo>
                    <a:pt x="10" y="49"/>
                  </a:lnTo>
                  <a:lnTo>
                    <a:pt x="8" y="33"/>
                  </a:lnTo>
                  <a:lnTo>
                    <a:pt x="8" y="18"/>
                  </a:lnTo>
                  <a:lnTo>
                    <a:pt x="0" y="7"/>
                  </a:lnTo>
                  <a:lnTo>
                    <a:pt x="2" y="0"/>
                  </a:lnTo>
                  <a:lnTo>
                    <a:pt x="18" y="1"/>
                  </a:lnTo>
                  <a:lnTo>
                    <a:pt x="15" y="12"/>
                  </a:lnTo>
                  <a:lnTo>
                    <a:pt x="21" y="18"/>
                  </a:lnTo>
                  <a:lnTo>
                    <a:pt x="27" y="25"/>
                  </a:lnTo>
                  <a:lnTo>
                    <a:pt x="28" y="36"/>
                  </a:lnTo>
                  <a:lnTo>
                    <a:pt x="32" y="40"/>
                  </a:lnTo>
                  <a:lnTo>
                    <a:pt x="31" y="88"/>
                  </a:lnTo>
                  <a:lnTo>
                    <a:pt x="35" y="10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35" name="Freeform 192">
              <a:extLst>
                <a:ext uri="{FF2B5EF4-FFF2-40B4-BE49-F238E27FC236}">
                  <a16:creationId xmlns:a16="http://schemas.microsoft.com/office/drawing/2014/main" id="{F6C31D31-911E-440B-AEBB-2699321C43E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6760" y="2323063"/>
              <a:ext cx="207091" cy="398553"/>
            </a:xfrm>
            <a:custGeom>
              <a:avLst/>
              <a:gdLst>
                <a:gd name="T0" fmla="*/ 93 w 159"/>
                <a:gd name="T1" fmla="*/ 162 h 306"/>
                <a:gd name="T2" fmla="*/ 78 w 159"/>
                <a:gd name="T3" fmla="*/ 146 h 306"/>
                <a:gd name="T4" fmla="*/ 63 w 159"/>
                <a:gd name="T5" fmla="*/ 169 h 306"/>
                <a:gd name="T6" fmla="*/ 52 w 159"/>
                <a:gd name="T7" fmla="*/ 217 h 306"/>
                <a:gd name="T8" fmla="*/ 66 w 159"/>
                <a:gd name="T9" fmla="*/ 233 h 306"/>
                <a:gd name="T10" fmla="*/ 79 w 159"/>
                <a:gd name="T11" fmla="*/ 270 h 306"/>
                <a:gd name="T12" fmla="*/ 101 w 159"/>
                <a:gd name="T13" fmla="*/ 284 h 306"/>
                <a:gd name="T14" fmla="*/ 106 w 159"/>
                <a:gd name="T15" fmla="*/ 304 h 306"/>
                <a:gd name="T16" fmla="*/ 91 w 159"/>
                <a:gd name="T17" fmla="*/ 295 h 306"/>
                <a:gd name="T18" fmla="*/ 73 w 159"/>
                <a:gd name="T19" fmla="*/ 290 h 306"/>
                <a:gd name="T20" fmla="*/ 62 w 159"/>
                <a:gd name="T21" fmla="*/ 272 h 306"/>
                <a:gd name="T22" fmla="*/ 42 w 159"/>
                <a:gd name="T23" fmla="*/ 250 h 306"/>
                <a:gd name="T24" fmla="*/ 36 w 159"/>
                <a:gd name="T25" fmla="*/ 251 h 306"/>
                <a:gd name="T26" fmla="*/ 41 w 159"/>
                <a:gd name="T27" fmla="*/ 218 h 306"/>
                <a:gd name="T28" fmla="*/ 56 w 159"/>
                <a:gd name="T29" fmla="*/ 177 h 306"/>
                <a:gd name="T30" fmla="*/ 46 w 159"/>
                <a:gd name="T31" fmla="*/ 149 h 306"/>
                <a:gd name="T32" fmla="*/ 29 w 159"/>
                <a:gd name="T33" fmla="*/ 121 h 306"/>
                <a:gd name="T34" fmla="*/ 30 w 159"/>
                <a:gd name="T35" fmla="*/ 106 h 306"/>
                <a:gd name="T36" fmla="*/ 25 w 159"/>
                <a:gd name="T37" fmla="*/ 75 h 306"/>
                <a:gd name="T38" fmla="*/ 0 w 159"/>
                <a:gd name="T39" fmla="*/ 41 h 306"/>
                <a:gd name="T40" fmla="*/ 12 w 159"/>
                <a:gd name="T41" fmla="*/ 15 h 306"/>
                <a:gd name="T42" fmla="*/ 34 w 159"/>
                <a:gd name="T43" fmla="*/ 5 h 306"/>
                <a:gd name="T44" fmla="*/ 52 w 159"/>
                <a:gd name="T45" fmla="*/ 7 h 306"/>
                <a:gd name="T46" fmla="*/ 67 w 159"/>
                <a:gd name="T47" fmla="*/ 20 h 306"/>
                <a:gd name="T48" fmla="*/ 69 w 159"/>
                <a:gd name="T49" fmla="*/ 61 h 306"/>
                <a:gd name="T50" fmla="*/ 93 w 159"/>
                <a:gd name="T51" fmla="*/ 52 h 306"/>
                <a:gd name="T52" fmla="*/ 106 w 159"/>
                <a:gd name="T53" fmla="*/ 44 h 306"/>
                <a:gd name="T54" fmla="*/ 136 w 159"/>
                <a:gd name="T55" fmla="*/ 62 h 306"/>
                <a:gd name="T56" fmla="*/ 157 w 159"/>
                <a:gd name="T57" fmla="*/ 101 h 306"/>
                <a:gd name="T58" fmla="*/ 154 w 159"/>
                <a:gd name="T59" fmla="*/ 128 h 306"/>
                <a:gd name="T60" fmla="*/ 113 w 159"/>
                <a:gd name="T61" fmla="*/ 129 h 306"/>
                <a:gd name="T62" fmla="*/ 110 w 159"/>
                <a:gd name="T63" fmla="*/ 171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9" h="306">
                  <a:moveTo>
                    <a:pt x="110" y="171"/>
                  </a:moveTo>
                  <a:lnTo>
                    <a:pt x="93" y="162"/>
                  </a:lnTo>
                  <a:lnTo>
                    <a:pt x="78" y="162"/>
                  </a:lnTo>
                  <a:lnTo>
                    <a:pt x="78" y="146"/>
                  </a:lnTo>
                  <a:lnTo>
                    <a:pt x="62" y="146"/>
                  </a:lnTo>
                  <a:lnTo>
                    <a:pt x="63" y="169"/>
                  </a:lnTo>
                  <a:lnTo>
                    <a:pt x="56" y="199"/>
                  </a:lnTo>
                  <a:lnTo>
                    <a:pt x="52" y="217"/>
                  </a:lnTo>
                  <a:lnTo>
                    <a:pt x="54" y="233"/>
                  </a:lnTo>
                  <a:lnTo>
                    <a:pt x="66" y="233"/>
                  </a:lnTo>
                  <a:lnTo>
                    <a:pt x="75" y="252"/>
                  </a:lnTo>
                  <a:lnTo>
                    <a:pt x="79" y="270"/>
                  </a:lnTo>
                  <a:lnTo>
                    <a:pt x="90" y="282"/>
                  </a:lnTo>
                  <a:lnTo>
                    <a:pt x="101" y="284"/>
                  </a:lnTo>
                  <a:lnTo>
                    <a:pt x="111" y="295"/>
                  </a:lnTo>
                  <a:lnTo>
                    <a:pt x="106" y="304"/>
                  </a:lnTo>
                  <a:lnTo>
                    <a:pt x="93" y="306"/>
                  </a:lnTo>
                  <a:lnTo>
                    <a:pt x="91" y="295"/>
                  </a:lnTo>
                  <a:lnTo>
                    <a:pt x="76" y="286"/>
                  </a:lnTo>
                  <a:lnTo>
                    <a:pt x="73" y="290"/>
                  </a:lnTo>
                  <a:lnTo>
                    <a:pt x="66" y="282"/>
                  </a:lnTo>
                  <a:lnTo>
                    <a:pt x="62" y="272"/>
                  </a:lnTo>
                  <a:lnTo>
                    <a:pt x="51" y="260"/>
                  </a:lnTo>
                  <a:lnTo>
                    <a:pt x="42" y="250"/>
                  </a:lnTo>
                  <a:lnTo>
                    <a:pt x="40" y="263"/>
                  </a:lnTo>
                  <a:lnTo>
                    <a:pt x="36" y="251"/>
                  </a:lnTo>
                  <a:lnTo>
                    <a:pt x="37" y="238"/>
                  </a:lnTo>
                  <a:lnTo>
                    <a:pt x="41" y="218"/>
                  </a:lnTo>
                  <a:lnTo>
                    <a:pt x="48" y="197"/>
                  </a:lnTo>
                  <a:lnTo>
                    <a:pt x="56" y="177"/>
                  </a:lnTo>
                  <a:lnTo>
                    <a:pt x="47" y="158"/>
                  </a:lnTo>
                  <a:lnTo>
                    <a:pt x="46" y="149"/>
                  </a:lnTo>
                  <a:lnTo>
                    <a:pt x="43" y="137"/>
                  </a:lnTo>
                  <a:lnTo>
                    <a:pt x="29" y="121"/>
                  </a:lnTo>
                  <a:lnTo>
                    <a:pt x="24" y="110"/>
                  </a:lnTo>
                  <a:lnTo>
                    <a:pt x="30" y="106"/>
                  </a:lnTo>
                  <a:lnTo>
                    <a:pt x="34" y="88"/>
                  </a:lnTo>
                  <a:lnTo>
                    <a:pt x="25" y="75"/>
                  </a:lnTo>
                  <a:lnTo>
                    <a:pt x="11" y="60"/>
                  </a:lnTo>
                  <a:lnTo>
                    <a:pt x="0" y="41"/>
                  </a:lnTo>
                  <a:lnTo>
                    <a:pt x="7" y="37"/>
                  </a:lnTo>
                  <a:lnTo>
                    <a:pt x="12" y="15"/>
                  </a:lnTo>
                  <a:lnTo>
                    <a:pt x="25" y="14"/>
                  </a:lnTo>
                  <a:lnTo>
                    <a:pt x="34" y="5"/>
                  </a:lnTo>
                  <a:lnTo>
                    <a:pt x="43" y="0"/>
                  </a:lnTo>
                  <a:lnTo>
                    <a:pt x="52" y="7"/>
                  </a:lnTo>
                  <a:lnTo>
                    <a:pt x="55" y="19"/>
                  </a:lnTo>
                  <a:lnTo>
                    <a:pt x="67" y="20"/>
                  </a:lnTo>
                  <a:lnTo>
                    <a:pt x="66" y="42"/>
                  </a:lnTo>
                  <a:lnTo>
                    <a:pt x="69" y="61"/>
                  </a:lnTo>
                  <a:lnTo>
                    <a:pt x="87" y="48"/>
                  </a:lnTo>
                  <a:lnTo>
                    <a:pt x="93" y="52"/>
                  </a:lnTo>
                  <a:lnTo>
                    <a:pt x="103" y="51"/>
                  </a:lnTo>
                  <a:lnTo>
                    <a:pt x="106" y="44"/>
                  </a:lnTo>
                  <a:lnTo>
                    <a:pt x="120" y="45"/>
                  </a:lnTo>
                  <a:lnTo>
                    <a:pt x="136" y="62"/>
                  </a:lnTo>
                  <a:lnTo>
                    <a:pt x="140" y="83"/>
                  </a:lnTo>
                  <a:lnTo>
                    <a:pt x="157" y="101"/>
                  </a:lnTo>
                  <a:lnTo>
                    <a:pt x="159" y="119"/>
                  </a:lnTo>
                  <a:lnTo>
                    <a:pt x="154" y="128"/>
                  </a:lnTo>
                  <a:lnTo>
                    <a:pt x="136" y="125"/>
                  </a:lnTo>
                  <a:lnTo>
                    <a:pt x="113" y="129"/>
                  </a:lnTo>
                  <a:lnTo>
                    <a:pt x="103" y="146"/>
                  </a:lnTo>
                  <a:lnTo>
                    <a:pt x="110" y="17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36" name="Freeform 193">
              <a:extLst>
                <a:ext uri="{FF2B5EF4-FFF2-40B4-BE49-F238E27FC236}">
                  <a16:creationId xmlns:a16="http://schemas.microsoft.com/office/drawing/2014/main" id="{64CDD3A7-0633-4D2E-8C37-C08C829170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4445" y="1768215"/>
              <a:ext cx="179739" cy="114616"/>
            </a:xfrm>
            <a:custGeom>
              <a:avLst/>
              <a:gdLst>
                <a:gd name="T0" fmla="*/ 54 w 138"/>
                <a:gd name="T1" fmla="*/ 15 h 88"/>
                <a:gd name="T2" fmla="*/ 50 w 138"/>
                <a:gd name="T3" fmla="*/ 22 h 88"/>
                <a:gd name="T4" fmla="*/ 30 w 138"/>
                <a:gd name="T5" fmla="*/ 18 h 88"/>
                <a:gd name="T6" fmla="*/ 32 w 138"/>
                <a:gd name="T7" fmla="*/ 30 h 88"/>
                <a:gd name="T8" fmla="*/ 50 w 138"/>
                <a:gd name="T9" fmla="*/ 29 h 88"/>
                <a:gd name="T10" fmla="*/ 73 w 138"/>
                <a:gd name="T11" fmla="*/ 35 h 88"/>
                <a:gd name="T12" fmla="*/ 104 w 138"/>
                <a:gd name="T13" fmla="*/ 32 h 88"/>
                <a:gd name="T14" fmla="*/ 113 w 138"/>
                <a:gd name="T15" fmla="*/ 51 h 88"/>
                <a:gd name="T16" fmla="*/ 119 w 138"/>
                <a:gd name="T17" fmla="*/ 49 h 88"/>
                <a:gd name="T18" fmla="*/ 130 w 138"/>
                <a:gd name="T19" fmla="*/ 54 h 88"/>
                <a:gd name="T20" fmla="*/ 132 w 138"/>
                <a:gd name="T21" fmla="*/ 62 h 88"/>
                <a:gd name="T22" fmla="*/ 138 w 138"/>
                <a:gd name="T23" fmla="*/ 74 h 88"/>
                <a:gd name="T24" fmla="*/ 120 w 138"/>
                <a:gd name="T25" fmla="*/ 74 h 88"/>
                <a:gd name="T26" fmla="*/ 108 w 138"/>
                <a:gd name="T27" fmla="*/ 72 h 88"/>
                <a:gd name="T28" fmla="*/ 99 w 138"/>
                <a:gd name="T29" fmla="*/ 81 h 88"/>
                <a:gd name="T30" fmla="*/ 92 w 138"/>
                <a:gd name="T31" fmla="*/ 83 h 88"/>
                <a:gd name="T32" fmla="*/ 88 w 138"/>
                <a:gd name="T33" fmla="*/ 88 h 88"/>
                <a:gd name="T34" fmla="*/ 79 w 138"/>
                <a:gd name="T35" fmla="*/ 81 h 88"/>
                <a:gd name="T36" fmla="*/ 76 w 138"/>
                <a:gd name="T37" fmla="*/ 64 h 88"/>
                <a:gd name="T38" fmla="*/ 71 w 138"/>
                <a:gd name="T39" fmla="*/ 63 h 88"/>
                <a:gd name="T40" fmla="*/ 71 w 138"/>
                <a:gd name="T41" fmla="*/ 56 h 88"/>
                <a:gd name="T42" fmla="*/ 60 w 138"/>
                <a:gd name="T43" fmla="*/ 51 h 88"/>
                <a:gd name="T44" fmla="*/ 55 w 138"/>
                <a:gd name="T45" fmla="*/ 59 h 88"/>
                <a:gd name="T46" fmla="*/ 55 w 138"/>
                <a:gd name="T47" fmla="*/ 67 h 88"/>
                <a:gd name="T48" fmla="*/ 53 w 138"/>
                <a:gd name="T49" fmla="*/ 70 h 88"/>
                <a:gd name="T50" fmla="*/ 43 w 138"/>
                <a:gd name="T51" fmla="*/ 70 h 88"/>
                <a:gd name="T52" fmla="*/ 40 w 138"/>
                <a:gd name="T53" fmla="*/ 79 h 88"/>
                <a:gd name="T54" fmla="*/ 33 w 138"/>
                <a:gd name="T55" fmla="*/ 75 h 88"/>
                <a:gd name="T56" fmla="*/ 22 w 138"/>
                <a:gd name="T57" fmla="*/ 82 h 88"/>
                <a:gd name="T58" fmla="*/ 16 w 138"/>
                <a:gd name="T59" fmla="*/ 79 h 88"/>
                <a:gd name="T60" fmla="*/ 21 w 138"/>
                <a:gd name="T61" fmla="*/ 58 h 88"/>
                <a:gd name="T62" fmla="*/ 13 w 138"/>
                <a:gd name="T63" fmla="*/ 43 h 88"/>
                <a:gd name="T64" fmla="*/ 0 w 138"/>
                <a:gd name="T65" fmla="*/ 38 h 88"/>
                <a:gd name="T66" fmla="*/ 2 w 138"/>
                <a:gd name="T67" fmla="*/ 29 h 88"/>
                <a:gd name="T68" fmla="*/ 16 w 138"/>
                <a:gd name="T69" fmla="*/ 30 h 88"/>
                <a:gd name="T70" fmla="*/ 21 w 138"/>
                <a:gd name="T71" fmla="*/ 19 h 88"/>
                <a:gd name="T72" fmla="*/ 23 w 138"/>
                <a:gd name="T73" fmla="*/ 5 h 88"/>
                <a:gd name="T74" fmla="*/ 44 w 138"/>
                <a:gd name="T75" fmla="*/ 0 h 88"/>
                <a:gd name="T76" fmla="*/ 43 w 138"/>
                <a:gd name="T77" fmla="*/ 10 h 88"/>
                <a:gd name="T78" fmla="*/ 47 w 138"/>
                <a:gd name="T79" fmla="*/ 16 h 88"/>
                <a:gd name="T80" fmla="*/ 54 w 138"/>
                <a:gd name="T81" fmla="*/ 15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8" h="88">
                  <a:moveTo>
                    <a:pt x="54" y="15"/>
                  </a:moveTo>
                  <a:lnTo>
                    <a:pt x="50" y="22"/>
                  </a:lnTo>
                  <a:lnTo>
                    <a:pt x="30" y="18"/>
                  </a:lnTo>
                  <a:lnTo>
                    <a:pt x="32" y="30"/>
                  </a:lnTo>
                  <a:lnTo>
                    <a:pt x="50" y="29"/>
                  </a:lnTo>
                  <a:lnTo>
                    <a:pt x="73" y="35"/>
                  </a:lnTo>
                  <a:lnTo>
                    <a:pt x="104" y="32"/>
                  </a:lnTo>
                  <a:lnTo>
                    <a:pt x="113" y="51"/>
                  </a:lnTo>
                  <a:lnTo>
                    <a:pt x="119" y="49"/>
                  </a:lnTo>
                  <a:lnTo>
                    <a:pt x="130" y="54"/>
                  </a:lnTo>
                  <a:lnTo>
                    <a:pt x="132" y="62"/>
                  </a:lnTo>
                  <a:lnTo>
                    <a:pt x="138" y="74"/>
                  </a:lnTo>
                  <a:lnTo>
                    <a:pt x="120" y="74"/>
                  </a:lnTo>
                  <a:lnTo>
                    <a:pt x="108" y="72"/>
                  </a:lnTo>
                  <a:lnTo>
                    <a:pt x="99" y="81"/>
                  </a:lnTo>
                  <a:lnTo>
                    <a:pt x="92" y="83"/>
                  </a:lnTo>
                  <a:lnTo>
                    <a:pt x="88" y="88"/>
                  </a:lnTo>
                  <a:lnTo>
                    <a:pt x="79" y="81"/>
                  </a:lnTo>
                  <a:lnTo>
                    <a:pt x="76" y="64"/>
                  </a:lnTo>
                  <a:lnTo>
                    <a:pt x="71" y="63"/>
                  </a:lnTo>
                  <a:lnTo>
                    <a:pt x="71" y="56"/>
                  </a:lnTo>
                  <a:lnTo>
                    <a:pt x="60" y="51"/>
                  </a:lnTo>
                  <a:lnTo>
                    <a:pt x="55" y="59"/>
                  </a:lnTo>
                  <a:lnTo>
                    <a:pt x="55" y="67"/>
                  </a:lnTo>
                  <a:lnTo>
                    <a:pt x="53" y="70"/>
                  </a:lnTo>
                  <a:lnTo>
                    <a:pt x="43" y="70"/>
                  </a:lnTo>
                  <a:lnTo>
                    <a:pt x="40" y="79"/>
                  </a:lnTo>
                  <a:lnTo>
                    <a:pt x="33" y="75"/>
                  </a:lnTo>
                  <a:lnTo>
                    <a:pt x="22" y="82"/>
                  </a:lnTo>
                  <a:lnTo>
                    <a:pt x="16" y="79"/>
                  </a:lnTo>
                  <a:lnTo>
                    <a:pt x="21" y="58"/>
                  </a:lnTo>
                  <a:lnTo>
                    <a:pt x="13" y="43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16" y="30"/>
                  </a:lnTo>
                  <a:lnTo>
                    <a:pt x="21" y="19"/>
                  </a:lnTo>
                  <a:lnTo>
                    <a:pt x="23" y="5"/>
                  </a:lnTo>
                  <a:lnTo>
                    <a:pt x="44" y="0"/>
                  </a:lnTo>
                  <a:lnTo>
                    <a:pt x="43" y="10"/>
                  </a:lnTo>
                  <a:lnTo>
                    <a:pt x="47" y="16"/>
                  </a:lnTo>
                  <a:lnTo>
                    <a:pt x="54" y="15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37" name="Freeform 194">
              <a:extLst>
                <a:ext uri="{FF2B5EF4-FFF2-40B4-BE49-F238E27FC236}">
                  <a16:creationId xmlns:a16="http://schemas.microsoft.com/office/drawing/2014/main" id="{A6C15B5D-F14B-4C5E-8142-F6D852B66E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7991" y="1721327"/>
              <a:ext cx="337337" cy="200579"/>
            </a:xfrm>
            <a:custGeom>
              <a:avLst/>
              <a:gdLst>
                <a:gd name="T0" fmla="*/ 176 w 259"/>
                <a:gd name="T1" fmla="*/ 146 h 154"/>
                <a:gd name="T2" fmla="*/ 170 w 259"/>
                <a:gd name="T3" fmla="*/ 129 h 154"/>
                <a:gd name="T4" fmla="*/ 157 w 259"/>
                <a:gd name="T5" fmla="*/ 128 h 154"/>
                <a:gd name="T6" fmla="*/ 134 w 259"/>
                <a:gd name="T7" fmla="*/ 110 h 154"/>
                <a:gd name="T8" fmla="*/ 120 w 259"/>
                <a:gd name="T9" fmla="*/ 107 h 154"/>
                <a:gd name="T10" fmla="*/ 99 w 259"/>
                <a:gd name="T11" fmla="*/ 97 h 154"/>
                <a:gd name="T12" fmla="*/ 86 w 259"/>
                <a:gd name="T13" fmla="*/ 95 h 154"/>
                <a:gd name="T14" fmla="*/ 79 w 259"/>
                <a:gd name="T15" fmla="*/ 99 h 154"/>
                <a:gd name="T16" fmla="*/ 68 w 259"/>
                <a:gd name="T17" fmla="*/ 98 h 154"/>
                <a:gd name="T18" fmla="*/ 58 w 259"/>
                <a:gd name="T19" fmla="*/ 110 h 154"/>
                <a:gd name="T20" fmla="*/ 44 w 259"/>
                <a:gd name="T21" fmla="*/ 114 h 154"/>
                <a:gd name="T22" fmla="*/ 38 w 259"/>
                <a:gd name="T23" fmla="*/ 100 h 154"/>
                <a:gd name="T24" fmla="*/ 36 w 259"/>
                <a:gd name="T25" fmla="*/ 78 h 154"/>
                <a:gd name="T26" fmla="*/ 21 w 259"/>
                <a:gd name="T27" fmla="*/ 71 h 154"/>
                <a:gd name="T28" fmla="*/ 23 w 259"/>
                <a:gd name="T29" fmla="*/ 57 h 154"/>
                <a:gd name="T30" fmla="*/ 11 w 259"/>
                <a:gd name="T31" fmla="*/ 56 h 154"/>
                <a:gd name="T32" fmla="*/ 11 w 259"/>
                <a:gd name="T33" fmla="*/ 38 h 154"/>
                <a:gd name="T34" fmla="*/ 28 w 259"/>
                <a:gd name="T35" fmla="*/ 43 h 154"/>
                <a:gd name="T36" fmla="*/ 41 w 259"/>
                <a:gd name="T37" fmla="*/ 37 h 154"/>
                <a:gd name="T38" fmla="*/ 27 w 259"/>
                <a:gd name="T39" fmla="*/ 25 h 154"/>
                <a:gd name="T40" fmla="*/ 19 w 259"/>
                <a:gd name="T41" fmla="*/ 13 h 154"/>
                <a:gd name="T42" fmla="*/ 7 w 259"/>
                <a:gd name="T43" fmla="*/ 18 h 154"/>
                <a:gd name="T44" fmla="*/ 8 w 259"/>
                <a:gd name="T45" fmla="*/ 33 h 154"/>
                <a:gd name="T46" fmla="*/ 0 w 259"/>
                <a:gd name="T47" fmla="*/ 20 h 154"/>
                <a:gd name="T48" fmla="*/ 6 w 259"/>
                <a:gd name="T49" fmla="*/ 13 h 154"/>
                <a:gd name="T50" fmla="*/ 24 w 259"/>
                <a:gd name="T51" fmla="*/ 9 h 154"/>
                <a:gd name="T52" fmla="*/ 37 w 259"/>
                <a:gd name="T53" fmla="*/ 14 h 154"/>
                <a:gd name="T54" fmla="*/ 52 w 259"/>
                <a:gd name="T55" fmla="*/ 30 h 154"/>
                <a:gd name="T56" fmla="*/ 61 w 259"/>
                <a:gd name="T57" fmla="*/ 29 h 154"/>
                <a:gd name="T58" fmla="*/ 80 w 259"/>
                <a:gd name="T59" fmla="*/ 29 h 154"/>
                <a:gd name="T60" fmla="*/ 74 w 259"/>
                <a:gd name="T61" fmla="*/ 19 h 154"/>
                <a:gd name="T62" fmla="*/ 87 w 259"/>
                <a:gd name="T63" fmla="*/ 12 h 154"/>
                <a:gd name="T64" fmla="*/ 98 w 259"/>
                <a:gd name="T65" fmla="*/ 0 h 154"/>
                <a:gd name="T66" fmla="*/ 123 w 259"/>
                <a:gd name="T67" fmla="*/ 11 h 154"/>
                <a:gd name="T68" fmla="*/ 129 w 259"/>
                <a:gd name="T69" fmla="*/ 27 h 154"/>
                <a:gd name="T70" fmla="*/ 137 w 259"/>
                <a:gd name="T71" fmla="*/ 31 h 154"/>
                <a:gd name="T72" fmla="*/ 155 w 259"/>
                <a:gd name="T73" fmla="*/ 30 h 154"/>
                <a:gd name="T74" fmla="*/ 161 w 259"/>
                <a:gd name="T75" fmla="*/ 34 h 154"/>
                <a:gd name="T76" fmla="*/ 175 w 259"/>
                <a:gd name="T77" fmla="*/ 55 h 154"/>
                <a:gd name="T78" fmla="*/ 198 w 259"/>
                <a:gd name="T79" fmla="*/ 69 h 154"/>
                <a:gd name="T80" fmla="*/ 211 w 259"/>
                <a:gd name="T81" fmla="*/ 79 h 154"/>
                <a:gd name="T82" fmla="*/ 231 w 259"/>
                <a:gd name="T83" fmla="*/ 89 h 154"/>
                <a:gd name="T84" fmla="*/ 256 w 259"/>
                <a:gd name="T85" fmla="*/ 98 h 154"/>
                <a:gd name="T86" fmla="*/ 259 w 259"/>
                <a:gd name="T87" fmla="*/ 111 h 154"/>
                <a:gd name="T88" fmla="*/ 254 w 259"/>
                <a:gd name="T89" fmla="*/ 110 h 154"/>
                <a:gd name="T90" fmla="*/ 244 w 259"/>
                <a:gd name="T91" fmla="*/ 105 h 154"/>
                <a:gd name="T92" fmla="*/ 243 w 259"/>
                <a:gd name="T93" fmla="*/ 112 h 154"/>
                <a:gd name="T94" fmla="*/ 230 w 259"/>
                <a:gd name="T95" fmla="*/ 116 h 154"/>
                <a:gd name="T96" fmla="*/ 230 w 259"/>
                <a:gd name="T97" fmla="*/ 133 h 154"/>
                <a:gd name="T98" fmla="*/ 222 w 259"/>
                <a:gd name="T99" fmla="*/ 139 h 154"/>
                <a:gd name="T100" fmla="*/ 209 w 259"/>
                <a:gd name="T101" fmla="*/ 142 h 154"/>
                <a:gd name="T102" fmla="*/ 207 w 259"/>
                <a:gd name="T103" fmla="*/ 151 h 154"/>
                <a:gd name="T104" fmla="*/ 195 w 259"/>
                <a:gd name="T105" fmla="*/ 154 h 154"/>
                <a:gd name="T106" fmla="*/ 176 w 259"/>
                <a:gd name="T107" fmla="*/ 14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9" h="154">
                  <a:moveTo>
                    <a:pt x="176" y="146"/>
                  </a:moveTo>
                  <a:lnTo>
                    <a:pt x="170" y="129"/>
                  </a:lnTo>
                  <a:lnTo>
                    <a:pt x="157" y="128"/>
                  </a:lnTo>
                  <a:lnTo>
                    <a:pt x="134" y="110"/>
                  </a:lnTo>
                  <a:lnTo>
                    <a:pt x="120" y="107"/>
                  </a:lnTo>
                  <a:lnTo>
                    <a:pt x="99" y="97"/>
                  </a:lnTo>
                  <a:lnTo>
                    <a:pt x="86" y="95"/>
                  </a:lnTo>
                  <a:lnTo>
                    <a:pt x="79" y="99"/>
                  </a:lnTo>
                  <a:lnTo>
                    <a:pt x="68" y="98"/>
                  </a:lnTo>
                  <a:lnTo>
                    <a:pt x="58" y="110"/>
                  </a:lnTo>
                  <a:lnTo>
                    <a:pt x="44" y="114"/>
                  </a:lnTo>
                  <a:lnTo>
                    <a:pt x="38" y="100"/>
                  </a:lnTo>
                  <a:lnTo>
                    <a:pt x="36" y="78"/>
                  </a:lnTo>
                  <a:lnTo>
                    <a:pt x="21" y="71"/>
                  </a:lnTo>
                  <a:lnTo>
                    <a:pt x="23" y="57"/>
                  </a:lnTo>
                  <a:lnTo>
                    <a:pt x="11" y="56"/>
                  </a:lnTo>
                  <a:lnTo>
                    <a:pt x="11" y="38"/>
                  </a:lnTo>
                  <a:lnTo>
                    <a:pt x="28" y="43"/>
                  </a:lnTo>
                  <a:lnTo>
                    <a:pt x="41" y="37"/>
                  </a:lnTo>
                  <a:lnTo>
                    <a:pt x="27" y="25"/>
                  </a:lnTo>
                  <a:lnTo>
                    <a:pt x="19" y="13"/>
                  </a:lnTo>
                  <a:lnTo>
                    <a:pt x="7" y="18"/>
                  </a:lnTo>
                  <a:lnTo>
                    <a:pt x="8" y="33"/>
                  </a:lnTo>
                  <a:lnTo>
                    <a:pt x="0" y="20"/>
                  </a:lnTo>
                  <a:lnTo>
                    <a:pt x="6" y="13"/>
                  </a:lnTo>
                  <a:lnTo>
                    <a:pt x="24" y="9"/>
                  </a:lnTo>
                  <a:lnTo>
                    <a:pt x="37" y="14"/>
                  </a:lnTo>
                  <a:lnTo>
                    <a:pt x="52" y="30"/>
                  </a:lnTo>
                  <a:lnTo>
                    <a:pt x="61" y="29"/>
                  </a:lnTo>
                  <a:lnTo>
                    <a:pt x="80" y="29"/>
                  </a:lnTo>
                  <a:lnTo>
                    <a:pt x="74" y="19"/>
                  </a:lnTo>
                  <a:lnTo>
                    <a:pt x="87" y="12"/>
                  </a:lnTo>
                  <a:lnTo>
                    <a:pt x="98" y="0"/>
                  </a:lnTo>
                  <a:lnTo>
                    <a:pt x="123" y="11"/>
                  </a:lnTo>
                  <a:lnTo>
                    <a:pt x="129" y="27"/>
                  </a:lnTo>
                  <a:lnTo>
                    <a:pt x="137" y="31"/>
                  </a:lnTo>
                  <a:lnTo>
                    <a:pt x="155" y="30"/>
                  </a:lnTo>
                  <a:lnTo>
                    <a:pt x="161" y="34"/>
                  </a:lnTo>
                  <a:lnTo>
                    <a:pt x="175" y="55"/>
                  </a:lnTo>
                  <a:lnTo>
                    <a:pt x="198" y="69"/>
                  </a:lnTo>
                  <a:lnTo>
                    <a:pt x="211" y="79"/>
                  </a:lnTo>
                  <a:lnTo>
                    <a:pt x="231" y="89"/>
                  </a:lnTo>
                  <a:lnTo>
                    <a:pt x="256" y="98"/>
                  </a:lnTo>
                  <a:lnTo>
                    <a:pt x="259" y="111"/>
                  </a:lnTo>
                  <a:lnTo>
                    <a:pt x="254" y="110"/>
                  </a:lnTo>
                  <a:lnTo>
                    <a:pt x="244" y="105"/>
                  </a:lnTo>
                  <a:lnTo>
                    <a:pt x="243" y="112"/>
                  </a:lnTo>
                  <a:lnTo>
                    <a:pt x="230" y="116"/>
                  </a:lnTo>
                  <a:lnTo>
                    <a:pt x="230" y="133"/>
                  </a:lnTo>
                  <a:lnTo>
                    <a:pt x="222" y="139"/>
                  </a:lnTo>
                  <a:lnTo>
                    <a:pt x="209" y="142"/>
                  </a:lnTo>
                  <a:lnTo>
                    <a:pt x="207" y="151"/>
                  </a:lnTo>
                  <a:lnTo>
                    <a:pt x="195" y="154"/>
                  </a:lnTo>
                  <a:lnTo>
                    <a:pt x="176" y="146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38" name="Freeform 195">
              <a:extLst>
                <a:ext uri="{FF2B5EF4-FFF2-40B4-BE49-F238E27FC236}">
                  <a16:creationId xmlns:a16="http://schemas.microsoft.com/office/drawing/2014/main" id="{CF071EF4-47C2-4F3B-8725-4B2619E47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1854" y="3099329"/>
              <a:ext cx="57308" cy="29957"/>
            </a:xfrm>
            <a:custGeom>
              <a:avLst/>
              <a:gdLst>
                <a:gd name="T0" fmla="*/ 0 w 44"/>
                <a:gd name="T1" fmla="*/ 13 h 23"/>
                <a:gd name="T2" fmla="*/ 2 w 44"/>
                <a:gd name="T3" fmla="*/ 8 h 23"/>
                <a:gd name="T4" fmla="*/ 19 w 44"/>
                <a:gd name="T5" fmla="*/ 4 h 23"/>
                <a:gd name="T6" fmla="*/ 32 w 44"/>
                <a:gd name="T7" fmla="*/ 3 h 23"/>
                <a:gd name="T8" fmla="*/ 37 w 44"/>
                <a:gd name="T9" fmla="*/ 0 h 23"/>
                <a:gd name="T10" fmla="*/ 44 w 44"/>
                <a:gd name="T11" fmla="*/ 3 h 23"/>
                <a:gd name="T12" fmla="*/ 37 w 44"/>
                <a:gd name="T13" fmla="*/ 9 h 23"/>
                <a:gd name="T14" fmla="*/ 17 w 44"/>
                <a:gd name="T15" fmla="*/ 18 h 23"/>
                <a:gd name="T16" fmla="*/ 1 w 44"/>
                <a:gd name="T17" fmla="*/ 23 h 23"/>
                <a:gd name="T18" fmla="*/ 1 w 44"/>
                <a:gd name="T19" fmla="*/ 17 h 23"/>
                <a:gd name="T20" fmla="*/ 0 w 44"/>
                <a:gd name="T21" fmla="*/ 1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4" h="23">
                  <a:moveTo>
                    <a:pt x="0" y="13"/>
                  </a:moveTo>
                  <a:lnTo>
                    <a:pt x="2" y="8"/>
                  </a:lnTo>
                  <a:lnTo>
                    <a:pt x="19" y="4"/>
                  </a:lnTo>
                  <a:lnTo>
                    <a:pt x="32" y="3"/>
                  </a:lnTo>
                  <a:lnTo>
                    <a:pt x="37" y="0"/>
                  </a:lnTo>
                  <a:lnTo>
                    <a:pt x="44" y="3"/>
                  </a:lnTo>
                  <a:lnTo>
                    <a:pt x="37" y="9"/>
                  </a:lnTo>
                  <a:lnTo>
                    <a:pt x="17" y="18"/>
                  </a:lnTo>
                  <a:lnTo>
                    <a:pt x="1" y="23"/>
                  </a:lnTo>
                  <a:lnTo>
                    <a:pt x="1" y="17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39" name="Freeform 196">
              <a:extLst>
                <a:ext uri="{FF2B5EF4-FFF2-40B4-BE49-F238E27FC236}">
                  <a16:creationId xmlns:a16="http://schemas.microsoft.com/office/drawing/2014/main" id="{2981A312-5D90-4BC3-B58E-2D5740A2261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4837" y="2580950"/>
              <a:ext cx="26049" cy="24747"/>
            </a:xfrm>
            <a:custGeom>
              <a:avLst/>
              <a:gdLst>
                <a:gd name="T0" fmla="*/ 6 w 20"/>
                <a:gd name="T1" fmla="*/ 3 h 19"/>
                <a:gd name="T2" fmla="*/ 16 w 20"/>
                <a:gd name="T3" fmla="*/ 0 h 19"/>
                <a:gd name="T4" fmla="*/ 20 w 20"/>
                <a:gd name="T5" fmla="*/ 1 h 19"/>
                <a:gd name="T6" fmla="*/ 19 w 20"/>
                <a:gd name="T7" fmla="*/ 16 h 19"/>
                <a:gd name="T8" fmla="*/ 3 w 20"/>
                <a:gd name="T9" fmla="*/ 19 h 19"/>
                <a:gd name="T10" fmla="*/ 0 w 20"/>
                <a:gd name="T11" fmla="*/ 17 h 19"/>
                <a:gd name="T12" fmla="*/ 6 w 20"/>
                <a:gd name="T13" fmla="*/ 11 h 19"/>
                <a:gd name="T14" fmla="*/ 6 w 20"/>
                <a:gd name="T15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19">
                  <a:moveTo>
                    <a:pt x="6" y="3"/>
                  </a:moveTo>
                  <a:lnTo>
                    <a:pt x="16" y="0"/>
                  </a:lnTo>
                  <a:lnTo>
                    <a:pt x="20" y="1"/>
                  </a:lnTo>
                  <a:lnTo>
                    <a:pt x="19" y="16"/>
                  </a:lnTo>
                  <a:lnTo>
                    <a:pt x="3" y="19"/>
                  </a:lnTo>
                  <a:lnTo>
                    <a:pt x="0" y="17"/>
                  </a:lnTo>
                  <a:lnTo>
                    <a:pt x="6" y="11"/>
                  </a:lnTo>
                  <a:lnTo>
                    <a:pt x="6" y="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40" name="Freeform 197">
              <a:extLst>
                <a:ext uri="{FF2B5EF4-FFF2-40B4-BE49-F238E27FC236}">
                  <a16:creationId xmlns:a16="http://schemas.microsoft.com/office/drawing/2014/main" id="{81021609-1DCD-44D1-B8A4-80388ADD96B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1146" y="1865899"/>
              <a:ext cx="91172" cy="190159"/>
            </a:xfrm>
            <a:custGeom>
              <a:avLst/>
              <a:gdLst>
                <a:gd name="T0" fmla="*/ 36 w 70"/>
                <a:gd name="T1" fmla="*/ 146 h 146"/>
                <a:gd name="T2" fmla="*/ 28 w 70"/>
                <a:gd name="T3" fmla="*/ 109 h 146"/>
                <a:gd name="T4" fmla="*/ 17 w 70"/>
                <a:gd name="T5" fmla="*/ 100 h 146"/>
                <a:gd name="T6" fmla="*/ 17 w 70"/>
                <a:gd name="T7" fmla="*/ 95 h 146"/>
                <a:gd name="T8" fmla="*/ 2 w 70"/>
                <a:gd name="T9" fmla="*/ 83 h 146"/>
                <a:gd name="T10" fmla="*/ 0 w 70"/>
                <a:gd name="T11" fmla="*/ 67 h 146"/>
                <a:gd name="T12" fmla="*/ 10 w 70"/>
                <a:gd name="T13" fmla="*/ 56 h 146"/>
                <a:gd name="T14" fmla="*/ 14 w 70"/>
                <a:gd name="T15" fmla="*/ 39 h 146"/>
                <a:gd name="T16" fmla="*/ 11 w 70"/>
                <a:gd name="T17" fmla="*/ 19 h 146"/>
                <a:gd name="T18" fmla="*/ 14 w 70"/>
                <a:gd name="T19" fmla="*/ 8 h 146"/>
                <a:gd name="T20" fmla="*/ 32 w 70"/>
                <a:gd name="T21" fmla="*/ 0 h 146"/>
                <a:gd name="T22" fmla="*/ 44 w 70"/>
                <a:gd name="T23" fmla="*/ 3 h 146"/>
                <a:gd name="T24" fmla="*/ 44 w 70"/>
                <a:gd name="T25" fmla="*/ 13 h 146"/>
                <a:gd name="T26" fmla="*/ 59 w 70"/>
                <a:gd name="T27" fmla="*/ 6 h 146"/>
                <a:gd name="T28" fmla="*/ 60 w 70"/>
                <a:gd name="T29" fmla="*/ 9 h 146"/>
                <a:gd name="T30" fmla="*/ 52 w 70"/>
                <a:gd name="T31" fmla="*/ 19 h 146"/>
                <a:gd name="T32" fmla="*/ 52 w 70"/>
                <a:gd name="T33" fmla="*/ 29 h 146"/>
                <a:gd name="T34" fmla="*/ 58 w 70"/>
                <a:gd name="T35" fmla="*/ 34 h 146"/>
                <a:gd name="T36" fmla="*/ 56 w 70"/>
                <a:gd name="T37" fmla="*/ 52 h 146"/>
                <a:gd name="T38" fmla="*/ 45 w 70"/>
                <a:gd name="T39" fmla="*/ 63 h 146"/>
                <a:gd name="T40" fmla="*/ 49 w 70"/>
                <a:gd name="T41" fmla="*/ 74 h 146"/>
                <a:gd name="T42" fmla="*/ 58 w 70"/>
                <a:gd name="T43" fmla="*/ 74 h 146"/>
                <a:gd name="T44" fmla="*/ 63 w 70"/>
                <a:gd name="T45" fmla="*/ 84 h 146"/>
                <a:gd name="T46" fmla="*/ 70 w 70"/>
                <a:gd name="T47" fmla="*/ 87 h 146"/>
                <a:gd name="T48" fmla="*/ 69 w 70"/>
                <a:gd name="T49" fmla="*/ 103 h 146"/>
                <a:gd name="T50" fmla="*/ 61 w 70"/>
                <a:gd name="T51" fmla="*/ 109 h 146"/>
                <a:gd name="T52" fmla="*/ 56 w 70"/>
                <a:gd name="T53" fmla="*/ 116 h 146"/>
                <a:gd name="T54" fmla="*/ 44 w 70"/>
                <a:gd name="T55" fmla="*/ 124 h 146"/>
                <a:gd name="T56" fmla="*/ 46 w 70"/>
                <a:gd name="T57" fmla="*/ 132 h 146"/>
                <a:gd name="T58" fmla="*/ 45 w 70"/>
                <a:gd name="T59" fmla="*/ 141 h 146"/>
                <a:gd name="T60" fmla="*/ 36 w 70"/>
                <a:gd name="T61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0" h="146">
                  <a:moveTo>
                    <a:pt x="36" y="146"/>
                  </a:moveTo>
                  <a:lnTo>
                    <a:pt x="28" y="109"/>
                  </a:lnTo>
                  <a:lnTo>
                    <a:pt x="17" y="100"/>
                  </a:lnTo>
                  <a:lnTo>
                    <a:pt x="17" y="95"/>
                  </a:lnTo>
                  <a:lnTo>
                    <a:pt x="2" y="83"/>
                  </a:lnTo>
                  <a:lnTo>
                    <a:pt x="0" y="67"/>
                  </a:lnTo>
                  <a:lnTo>
                    <a:pt x="10" y="56"/>
                  </a:lnTo>
                  <a:lnTo>
                    <a:pt x="14" y="39"/>
                  </a:lnTo>
                  <a:lnTo>
                    <a:pt x="11" y="19"/>
                  </a:lnTo>
                  <a:lnTo>
                    <a:pt x="14" y="8"/>
                  </a:lnTo>
                  <a:lnTo>
                    <a:pt x="32" y="0"/>
                  </a:lnTo>
                  <a:lnTo>
                    <a:pt x="44" y="3"/>
                  </a:lnTo>
                  <a:lnTo>
                    <a:pt x="44" y="13"/>
                  </a:lnTo>
                  <a:lnTo>
                    <a:pt x="59" y="6"/>
                  </a:lnTo>
                  <a:lnTo>
                    <a:pt x="60" y="9"/>
                  </a:lnTo>
                  <a:lnTo>
                    <a:pt x="52" y="19"/>
                  </a:lnTo>
                  <a:lnTo>
                    <a:pt x="52" y="29"/>
                  </a:lnTo>
                  <a:lnTo>
                    <a:pt x="58" y="34"/>
                  </a:lnTo>
                  <a:lnTo>
                    <a:pt x="56" y="52"/>
                  </a:lnTo>
                  <a:lnTo>
                    <a:pt x="45" y="63"/>
                  </a:lnTo>
                  <a:lnTo>
                    <a:pt x="49" y="74"/>
                  </a:lnTo>
                  <a:lnTo>
                    <a:pt x="58" y="74"/>
                  </a:lnTo>
                  <a:lnTo>
                    <a:pt x="63" y="84"/>
                  </a:lnTo>
                  <a:lnTo>
                    <a:pt x="70" y="87"/>
                  </a:lnTo>
                  <a:lnTo>
                    <a:pt x="69" y="103"/>
                  </a:lnTo>
                  <a:lnTo>
                    <a:pt x="61" y="109"/>
                  </a:lnTo>
                  <a:lnTo>
                    <a:pt x="56" y="116"/>
                  </a:lnTo>
                  <a:lnTo>
                    <a:pt x="44" y="124"/>
                  </a:lnTo>
                  <a:lnTo>
                    <a:pt x="46" y="132"/>
                  </a:lnTo>
                  <a:lnTo>
                    <a:pt x="45" y="141"/>
                  </a:lnTo>
                  <a:lnTo>
                    <a:pt x="36" y="146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41" name="Freeform 198">
              <a:extLst>
                <a:ext uri="{FF2B5EF4-FFF2-40B4-BE49-F238E27FC236}">
                  <a16:creationId xmlns:a16="http://schemas.microsoft.com/office/drawing/2014/main" id="{31599374-5F5E-4D46-BC8A-E23D730EA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8816" y="1739561"/>
              <a:ext cx="421997" cy="168018"/>
            </a:xfrm>
            <a:custGeom>
              <a:avLst/>
              <a:gdLst>
                <a:gd name="T0" fmla="*/ 177 w 324"/>
                <a:gd name="T1" fmla="*/ 15 h 129"/>
                <a:gd name="T2" fmla="*/ 202 w 324"/>
                <a:gd name="T3" fmla="*/ 23 h 129"/>
                <a:gd name="T4" fmla="*/ 222 w 324"/>
                <a:gd name="T5" fmla="*/ 20 h 129"/>
                <a:gd name="T6" fmla="*/ 236 w 324"/>
                <a:gd name="T7" fmla="*/ 22 h 129"/>
                <a:gd name="T8" fmla="*/ 254 w 324"/>
                <a:gd name="T9" fmla="*/ 11 h 129"/>
                <a:gd name="T10" fmla="*/ 272 w 324"/>
                <a:gd name="T11" fmla="*/ 10 h 129"/>
                <a:gd name="T12" fmla="*/ 290 w 324"/>
                <a:gd name="T13" fmla="*/ 20 h 129"/>
                <a:gd name="T14" fmla="*/ 294 w 324"/>
                <a:gd name="T15" fmla="*/ 27 h 129"/>
                <a:gd name="T16" fmla="*/ 294 w 324"/>
                <a:gd name="T17" fmla="*/ 37 h 129"/>
                <a:gd name="T18" fmla="*/ 308 w 324"/>
                <a:gd name="T19" fmla="*/ 42 h 129"/>
                <a:gd name="T20" fmla="*/ 316 w 324"/>
                <a:gd name="T21" fmla="*/ 48 h 129"/>
                <a:gd name="T22" fmla="*/ 305 w 324"/>
                <a:gd name="T23" fmla="*/ 54 h 129"/>
                <a:gd name="T24" fmla="*/ 314 w 324"/>
                <a:gd name="T25" fmla="*/ 78 h 129"/>
                <a:gd name="T26" fmla="*/ 312 w 324"/>
                <a:gd name="T27" fmla="*/ 84 h 129"/>
                <a:gd name="T28" fmla="*/ 324 w 324"/>
                <a:gd name="T29" fmla="*/ 101 h 129"/>
                <a:gd name="T30" fmla="*/ 316 w 324"/>
                <a:gd name="T31" fmla="*/ 104 h 129"/>
                <a:gd name="T32" fmla="*/ 310 w 324"/>
                <a:gd name="T33" fmla="*/ 99 h 129"/>
                <a:gd name="T34" fmla="*/ 289 w 324"/>
                <a:gd name="T35" fmla="*/ 96 h 129"/>
                <a:gd name="T36" fmla="*/ 282 w 324"/>
                <a:gd name="T37" fmla="*/ 100 h 129"/>
                <a:gd name="T38" fmla="*/ 263 w 324"/>
                <a:gd name="T39" fmla="*/ 103 h 129"/>
                <a:gd name="T40" fmla="*/ 254 w 324"/>
                <a:gd name="T41" fmla="*/ 103 h 129"/>
                <a:gd name="T42" fmla="*/ 235 w 324"/>
                <a:gd name="T43" fmla="*/ 110 h 129"/>
                <a:gd name="T44" fmla="*/ 221 w 324"/>
                <a:gd name="T45" fmla="*/ 110 h 129"/>
                <a:gd name="T46" fmla="*/ 212 w 324"/>
                <a:gd name="T47" fmla="*/ 106 h 129"/>
                <a:gd name="T48" fmla="*/ 193 w 324"/>
                <a:gd name="T49" fmla="*/ 112 h 129"/>
                <a:gd name="T50" fmla="*/ 187 w 324"/>
                <a:gd name="T51" fmla="*/ 108 h 129"/>
                <a:gd name="T52" fmla="*/ 188 w 324"/>
                <a:gd name="T53" fmla="*/ 120 h 129"/>
                <a:gd name="T54" fmla="*/ 184 w 324"/>
                <a:gd name="T55" fmla="*/ 124 h 129"/>
                <a:gd name="T56" fmla="*/ 180 w 324"/>
                <a:gd name="T57" fmla="*/ 129 h 129"/>
                <a:gd name="T58" fmla="*/ 172 w 324"/>
                <a:gd name="T59" fmla="*/ 119 h 129"/>
                <a:gd name="T60" fmla="*/ 178 w 324"/>
                <a:gd name="T61" fmla="*/ 112 h 129"/>
                <a:gd name="T62" fmla="*/ 167 w 324"/>
                <a:gd name="T63" fmla="*/ 113 h 129"/>
                <a:gd name="T64" fmla="*/ 153 w 324"/>
                <a:gd name="T65" fmla="*/ 109 h 129"/>
                <a:gd name="T66" fmla="*/ 142 w 324"/>
                <a:gd name="T67" fmla="*/ 120 h 129"/>
                <a:gd name="T68" fmla="*/ 116 w 324"/>
                <a:gd name="T69" fmla="*/ 123 h 129"/>
                <a:gd name="T70" fmla="*/ 101 w 324"/>
                <a:gd name="T71" fmla="*/ 112 h 129"/>
                <a:gd name="T72" fmla="*/ 82 w 324"/>
                <a:gd name="T73" fmla="*/ 111 h 129"/>
                <a:gd name="T74" fmla="*/ 80 w 324"/>
                <a:gd name="T75" fmla="*/ 120 h 129"/>
                <a:gd name="T76" fmla="*/ 68 w 324"/>
                <a:gd name="T77" fmla="*/ 122 h 129"/>
                <a:gd name="T78" fmla="*/ 50 w 324"/>
                <a:gd name="T79" fmla="*/ 111 h 129"/>
                <a:gd name="T80" fmla="*/ 31 w 324"/>
                <a:gd name="T81" fmla="*/ 111 h 129"/>
                <a:gd name="T82" fmla="*/ 19 w 324"/>
                <a:gd name="T83" fmla="*/ 91 h 129"/>
                <a:gd name="T84" fmla="*/ 6 w 324"/>
                <a:gd name="T85" fmla="*/ 79 h 129"/>
                <a:gd name="T86" fmla="*/ 12 w 324"/>
                <a:gd name="T87" fmla="*/ 63 h 129"/>
                <a:gd name="T88" fmla="*/ 0 w 324"/>
                <a:gd name="T89" fmla="*/ 53 h 129"/>
                <a:gd name="T90" fmla="*/ 17 w 324"/>
                <a:gd name="T91" fmla="*/ 34 h 129"/>
                <a:gd name="T92" fmla="*/ 43 w 324"/>
                <a:gd name="T93" fmla="*/ 33 h 129"/>
                <a:gd name="T94" fmla="*/ 48 w 324"/>
                <a:gd name="T95" fmla="*/ 17 h 129"/>
                <a:gd name="T96" fmla="*/ 81 w 324"/>
                <a:gd name="T97" fmla="*/ 20 h 129"/>
                <a:gd name="T98" fmla="*/ 99 w 324"/>
                <a:gd name="T99" fmla="*/ 7 h 129"/>
                <a:gd name="T100" fmla="*/ 118 w 324"/>
                <a:gd name="T101" fmla="*/ 1 h 129"/>
                <a:gd name="T102" fmla="*/ 145 w 324"/>
                <a:gd name="T103" fmla="*/ 0 h 129"/>
                <a:gd name="T104" fmla="*/ 177 w 324"/>
                <a:gd name="T105" fmla="*/ 1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24" h="129">
                  <a:moveTo>
                    <a:pt x="177" y="15"/>
                  </a:moveTo>
                  <a:lnTo>
                    <a:pt x="202" y="23"/>
                  </a:lnTo>
                  <a:lnTo>
                    <a:pt x="222" y="20"/>
                  </a:lnTo>
                  <a:lnTo>
                    <a:pt x="236" y="22"/>
                  </a:lnTo>
                  <a:lnTo>
                    <a:pt x="254" y="11"/>
                  </a:lnTo>
                  <a:lnTo>
                    <a:pt x="272" y="10"/>
                  </a:lnTo>
                  <a:lnTo>
                    <a:pt x="290" y="20"/>
                  </a:lnTo>
                  <a:lnTo>
                    <a:pt x="294" y="27"/>
                  </a:lnTo>
                  <a:lnTo>
                    <a:pt x="294" y="37"/>
                  </a:lnTo>
                  <a:lnTo>
                    <a:pt x="308" y="42"/>
                  </a:lnTo>
                  <a:lnTo>
                    <a:pt x="316" y="48"/>
                  </a:lnTo>
                  <a:lnTo>
                    <a:pt x="305" y="54"/>
                  </a:lnTo>
                  <a:lnTo>
                    <a:pt x="314" y="78"/>
                  </a:lnTo>
                  <a:lnTo>
                    <a:pt x="312" y="84"/>
                  </a:lnTo>
                  <a:lnTo>
                    <a:pt x="324" y="101"/>
                  </a:lnTo>
                  <a:lnTo>
                    <a:pt x="316" y="104"/>
                  </a:lnTo>
                  <a:lnTo>
                    <a:pt x="310" y="99"/>
                  </a:lnTo>
                  <a:lnTo>
                    <a:pt x="289" y="96"/>
                  </a:lnTo>
                  <a:lnTo>
                    <a:pt x="282" y="100"/>
                  </a:lnTo>
                  <a:lnTo>
                    <a:pt x="263" y="103"/>
                  </a:lnTo>
                  <a:lnTo>
                    <a:pt x="254" y="103"/>
                  </a:lnTo>
                  <a:lnTo>
                    <a:pt x="235" y="110"/>
                  </a:lnTo>
                  <a:lnTo>
                    <a:pt x="221" y="110"/>
                  </a:lnTo>
                  <a:lnTo>
                    <a:pt x="212" y="106"/>
                  </a:lnTo>
                  <a:lnTo>
                    <a:pt x="193" y="112"/>
                  </a:lnTo>
                  <a:lnTo>
                    <a:pt x="187" y="108"/>
                  </a:lnTo>
                  <a:lnTo>
                    <a:pt x="188" y="120"/>
                  </a:lnTo>
                  <a:lnTo>
                    <a:pt x="184" y="124"/>
                  </a:lnTo>
                  <a:lnTo>
                    <a:pt x="180" y="129"/>
                  </a:lnTo>
                  <a:lnTo>
                    <a:pt x="172" y="119"/>
                  </a:lnTo>
                  <a:lnTo>
                    <a:pt x="178" y="112"/>
                  </a:lnTo>
                  <a:lnTo>
                    <a:pt x="167" y="113"/>
                  </a:lnTo>
                  <a:lnTo>
                    <a:pt x="153" y="109"/>
                  </a:lnTo>
                  <a:lnTo>
                    <a:pt x="142" y="120"/>
                  </a:lnTo>
                  <a:lnTo>
                    <a:pt x="116" y="123"/>
                  </a:lnTo>
                  <a:lnTo>
                    <a:pt x="101" y="112"/>
                  </a:lnTo>
                  <a:lnTo>
                    <a:pt x="82" y="111"/>
                  </a:lnTo>
                  <a:lnTo>
                    <a:pt x="80" y="120"/>
                  </a:lnTo>
                  <a:lnTo>
                    <a:pt x="68" y="122"/>
                  </a:lnTo>
                  <a:lnTo>
                    <a:pt x="50" y="111"/>
                  </a:lnTo>
                  <a:lnTo>
                    <a:pt x="31" y="111"/>
                  </a:lnTo>
                  <a:lnTo>
                    <a:pt x="19" y="91"/>
                  </a:lnTo>
                  <a:lnTo>
                    <a:pt x="6" y="79"/>
                  </a:lnTo>
                  <a:lnTo>
                    <a:pt x="12" y="63"/>
                  </a:lnTo>
                  <a:lnTo>
                    <a:pt x="0" y="53"/>
                  </a:lnTo>
                  <a:lnTo>
                    <a:pt x="17" y="34"/>
                  </a:lnTo>
                  <a:lnTo>
                    <a:pt x="43" y="33"/>
                  </a:lnTo>
                  <a:lnTo>
                    <a:pt x="48" y="17"/>
                  </a:lnTo>
                  <a:lnTo>
                    <a:pt x="81" y="20"/>
                  </a:lnTo>
                  <a:lnTo>
                    <a:pt x="99" y="7"/>
                  </a:lnTo>
                  <a:lnTo>
                    <a:pt x="118" y="1"/>
                  </a:lnTo>
                  <a:lnTo>
                    <a:pt x="145" y="0"/>
                  </a:lnTo>
                  <a:lnTo>
                    <a:pt x="177" y="15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42" name="Freeform 199">
              <a:extLst>
                <a:ext uri="{FF2B5EF4-FFF2-40B4-BE49-F238E27FC236}">
                  <a16:creationId xmlns:a16="http://schemas.microsoft.com/office/drawing/2014/main" id="{564A37A8-D1E7-45FD-B7E8-6DD9D15F7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1002" y="1736956"/>
              <a:ext cx="65123" cy="53401"/>
            </a:xfrm>
            <a:custGeom>
              <a:avLst/>
              <a:gdLst>
                <a:gd name="T0" fmla="*/ 21 w 50"/>
                <a:gd name="T1" fmla="*/ 30 h 41"/>
                <a:gd name="T2" fmla="*/ 8 w 50"/>
                <a:gd name="T3" fmla="*/ 41 h 41"/>
                <a:gd name="T4" fmla="*/ 2 w 50"/>
                <a:gd name="T5" fmla="*/ 32 h 41"/>
                <a:gd name="T6" fmla="*/ 2 w 50"/>
                <a:gd name="T7" fmla="*/ 27 h 41"/>
                <a:gd name="T8" fmla="*/ 5 w 50"/>
                <a:gd name="T9" fmla="*/ 25 h 41"/>
                <a:gd name="T10" fmla="*/ 9 w 50"/>
                <a:gd name="T11" fmla="*/ 12 h 41"/>
                <a:gd name="T12" fmla="*/ 0 w 50"/>
                <a:gd name="T13" fmla="*/ 7 h 41"/>
                <a:gd name="T14" fmla="*/ 17 w 50"/>
                <a:gd name="T15" fmla="*/ 0 h 41"/>
                <a:gd name="T16" fmla="*/ 32 w 50"/>
                <a:gd name="T17" fmla="*/ 3 h 41"/>
                <a:gd name="T18" fmla="*/ 35 w 50"/>
                <a:gd name="T19" fmla="*/ 11 h 41"/>
                <a:gd name="T20" fmla="*/ 50 w 50"/>
                <a:gd name="T21" fmla="*/ 18 h 41"/>
                <a:gd name="T22" fmla="*/ 47 w 50"/>
                <a:gd name="T23" fmla="*/ 23 h 41"/>
                <a:gd name="T24" fmla="*/ 28 w 50"/>
                <a:gd name="T25" fmla="*/ 24 h 41"/>
                <a:gd name="T26" fmla="*/ 21 w 50"/>
                <a:gd name="T27" fmla="*/ 3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0" h="41">
                  <a:moveTo>
                    <a:pt x="21" y="30"/>
                  </a:moveTo>
                  <a:lnTo>
                    <a:pt x="8" y="41"/>
                  </a:lnTo>
                  <a:lnTo>
                    <a:pt x="2" y="32"/>
                  </a:lnTo>
                  <a:lnTo>
                    <a:pt x="2" y="27"/>
                  </a:lnTo>
                  <a:lnTo>
                    <a:pt x="5" y="25"/>
                  </a:lnTo>
                  <a:lnTo>
                    <a:pt x="9" y="12"/>
                  </a:lnTo>
                  <a:lnTo>
                    <a:pt x="0" y="7"/>
                  </a:lnTo>
                  <a:lnTo>
                    <a:pt x="17" y="0"/>
                  </a:lnTo>
                  <a:lnTo>
                    <a:pt x="32" y="3"/>
                  </a:lnTo>
                  <a:lnTo>
                    <a:pt x="35" y="11"/>
                  </a:lnTo>
                  <a:lnTo>
                    <a:pt x="50" y="18"/>
                  </a:lnTo>
                  <a:lnTo>
                    <a:pt x="47" y="23"/>
                  </a:lnTo>
                  <a:lnTo>
                    <a:pt x="28" y="24"/>
                  </a:lnTo>
                  <a:lnTo>
                    <a:pt x="21" y="30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43" name="Freeform 200">
              <a:extLst>
                <a:ext uri="{FF2B5EF4-FFF2-40B4-BE49-F238E27FC236}">
                  <a16:creationId xmlns:a16="http://schemas.microsoft.com/office/drawing/2014/main" id="{7477D09E-2011-4518-BAA2-C31C39E9DB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4719" y="2191514"/>
              <a:ext cx="32562" cy="89870"/>
            </a:xfrm>
            <a:custGeom>
              <a:avLst/>
              <a:gdLst>
                <a:gd name="T0" fmla="*/ 25 w 25"/>
                <a:gd name="T1" fmla="*/ 19 h 69"/>
                <a:gd name="T2" fmla="*/ 22 w 25"/>
                <a:gd name="T3" fmla="*/ 52 h 69"/>
                <a:gd name="T4" fmla="*/ 19 w 25"/>
                <a:gd name="T5" fmla="*/ 69 h 69"/>
                <a:gd name="T6" fmla="*/ 5 w 25"/>
                <a:gd name="T7" fmla="*/ 51 h 69"/>
                <a:gd name="T8" fmla="*/ 0 w 25"/>
                <a:gd name="T9" fmla="*/ 36 h 69"/>
                <a:gd name="T10" fmla="*/ 5 w 25"/>
                <a:gd name="T11" fmla="*/ 16 h 69"/>
                <a:gd name="T12" fmla="*/ 15 w 25"/>
                <a:gd name="T13" fmla="*/ 0 h 69"/>
                <a:gd name="T14" fmla="*/ 25 w 25"/>
                <a:gd name="T15" fmla="*/ 6 h 69"/>
                <a:gd name="T16" fmla="*/ 25 w 25"/>
                <a:gd name="T17" fmla="*/ 1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69">
                  <a:moveTo>
                    <a:pt x="25" y="19"/>
                  </a:moveTo>
                  <a:lnTo>
                    <a:pt x="22" y="52"/>
                  </a:lnTo>
                  <a:lnTo>
                    <a:pt x="19" y="69"/>
                  </a:lnTo>
                  <a:lnTo>
                    <a:pt x="5" y="51"/>
                  </a:lnTo>
                  <a:lnTo>
                    <a:pt x="0" y="36"/>
                  </a:lnTo>
                  <a:lnTo>
                    <a:pt x="5" y="16"/>
                  </a:lnTo>
                  <a:lnTo>
                    <a:pt x="15" y="0"/>
                  </a:lnTo>
                  <a:lnTo>
                    <a:pt x="25" y="6"/>
                  </a:lnTo>
                  <a:lnTo>
                    <a:pt x="25" y="19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44" name="Freeform 201">
              <a:extLst>
                <a:ext uri="{FF2B5EF4-FFF2-40B4-BE49-F238E27FC236}">
                  <a16:creationId xmlns:a16="http://schemas.microsoft.com/office/drawing/2014/main" id="{74155D4B-E014-4962-A1FF-FF16262686B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7120" y="2905925"/>
              <a:ext cx="259190" cy="291751"/>
            </a:xfrm>
            <a:custGeom>
              <a:avLst/>
              <a:gdLst>
                <a:gd name="T0" fmla="*/ 84 w 199"/>
                <a:gd name="T1" fmla="*/ 0 h 224"/>
                <a:gd name="T2" fmla="*/ 87 w 199"/>
                <a:gd name="T3" fmla="*/ 2 h 224"/>
                <a:gd name="T4" fmla="*/ 154 w 199"/>
                <a:gd name="T5" fmla="*/ 45 h 224"/>
                <a:gd name="T6" fmla="*/ 155 w 199"/>
                <a:gd name="T7" fmla="*/ 57 h 224"/>
                <a:gd name="T8" fmla="*/ 181 w 199"/>
                <a:gd name="T9" fmla="*/ 78 h 224"/>
                <a:gd name="T10" fmla="*/ 172 w 199"/>
                <a:gd name="T11" fmla="*/ 103 h 224"/>
                <a:gd name="T12" fmla="*/ 173 w 199"/>
                <a:gd name="T13" fmla="*/ 115 h 224"/>
                <a:gd name="T14" fmla="*/ 184 w 199"/>
                <a:gd name="T15" fmla="*/ 123 h 224"/>
                <a:gd name="T16" fmla="*/ 185 w 199"/>
                <a:gd name="T17" fmla="*/ 128 h 224"/>
                <a:gd name="T18" fmla="*/ 180 w 199"/>
                <a:gd name="T19" fmla="*/ 141 h 224"/>
                <a:gd name="T20" fmla="*/ 181 w 199"/>
                <a:gd name="T21" fmla="*/ 147 h 224"/>
                <a:gd name="T22" fmla="*/ 179 w 199"/>
                <a:gd name="T23" fmla="*/ 157 h 224"/>
                <a:gd name="T24" fmla="*/ 185 w 199"/>
                <a:gd name="T25" fmla="*/ 170 h 224"/>
                <a:gd name="T26" fmla="*/ 192 w 199"/>
                <a:gd name="T27" fmla="*/ 190 h 224"/>
                <a:gd name="T28" fmla="*/ 199 w 199"/>
                <a:gd name="T29" fmla="*/ 195 h 224"/>
                <a:gd name="T30" fmla="*/ 184 w 199"/>
                <a:gd name="T31" fmla="*/ 207 h 224"/>
                <a:gd name="T32" fmla="*/ 164 w 199"/>
                <a:gd name="T33" fmla="*/ 215 h 224"/>
                <a:gd name="T34" fmla="*/ 153 w 199"/>
                <a:gd name="T35" fmla="*/ 215 h 224"/>
                <a:gd name="T36" fmla="*/ 146 w 199"/>
                <a:gd name="T37" fmla="*/ 221 h 224"/>
                <a:gd name="T38" fmla="*/ 133 w 199"/>
                <a:gd name="T39" fmla="*/ 221 h 224"/>
                <a:gd name="T40" fmla="*/ 128 w 199"/>
                <a:gd name="T41" fmla="*/ 224 h 224"/>
                <a:gd name="T42" fmla="*/ 107 w 199"/>
                <a:gd name="T43" fmla="*/ 218 h 224"/>
                <a:gd name="T44" fmla="*/ 93 w 199"/>
                <a:gd name="T45" fmla="*/ 220 h 224"/>
                <a:gd name="T46" fmla="*/ 89 w 199"/>
                <a:gd name="T47" fmla="*/ 192 h 224"/>
                <a:gd name="T48" fmla="*/ 82 w 199"/>
                <a:gd name="T49" fmla="*/ 182 h 224"/>
                <a:gd name="T50" fmla="*/ 79 w 199"/>
                <a:gd name="T51" fmla="*/ 176 h 224"/>
                <a:gd name="T52" fmla="*/ 61 w 199"/>
                <a:gd name="T53" fmla="*/ 172 h 224"/>
                <a:gd name="T54" fmla="*/ 51 w 199"/>
                <a:gd name="T55" fmla="*/ 166 h 224"/>
                <a:gd name="T56" fmla="*/ 39 w 199"/>
                <a:gd name="T57" fmla="*/ 163 h 224"/>
                <a:gd name="T58" fmla="*/ 32 w 199"/>
                <a:gd name="T59" fmla="*/ 159 h 224"/>
                <a:gd name="T60" fmla="*/ 25 w 199"/>
                <a:gd name="T61" fmla="*/ 154 h 224"/>
                <a:gd name="T62" fmla="*/ 15 w 199"/>
                <a:gd name="T63" fmla="*/ 127 h 224"/>
                <a:gd name="T64" fmla="*/ 5 w 199"/>
                <a:gd name="T65" fmla="*/ 116 h 224"/>
                <a:gd name="T66" fmla="*/ 1 w 199"/>
                <a:gd name="T67" fmla="*/ 104 h 224"/>
                <a:gd name="T68" fmla="*/ 3 w 199"/>
                <a:gd name="T69" fmla="*/ 93 h 224"/>
                <a:gd name="T70" fmla="*/ 0 w 199"/>
                <a:gd name="T71" fmla="*/ 74 h 224"/>
                <a:gd name="T72" fmla="*/ 7 w 199"/>
                <a:gd name="T73" fmla="*/ 73 h 224"/>
                <a:gd name="T74" fmla="*/ 14 w 199"/>
                <a:gd name="T75" fmla="*/ 65 h 224"/>
                <a:gd name="T76" fmla="*/ 22 w 199"/>
                <a:gd name="T77" fmla="*/ 54 h 224"/>
                <a:gd name="T78" fmla="*/ 26 w 199"/>
                <a:gd name="T79" fmla="*/ 50 h 224"/>
                <a:gd name="T80" fmla="*/ 26 w 199"/>
                <a:gd name="T81" fmla="*/ 43 h 224"/>
                <a:gd name="T82" fmla="*/ 22 w 199"/>
                <a:gd name="T83" fmla="*/ 39 h 224"/>
                <a:gd name="T84" fmla="*/ 21 w 199"/>
                <a:gd name="T85" fmla="*/ 31 h 224"/>
                <a:gd name="T86" fmla="*/ 26 w 199"/>
                <a:gd name="T87" fmla="*/ 28 h 224"/>
                <a:gd name="T88" fmla="*/ 28 w 199"/>
                <a:gd name="T89" fmla="*/ 16 h 224"/>
                <a:gd name="T90" fmla="*/ 20 w 199"/>
                <a:gd name="T91" fmla="*/ 4 h 224"/>
                <a:gd name="T92" fmla="*/ 27 w 199"/>
                <a:gd name="T93" fmla="*/ 2 h 224"/>
                <a:gd name="T94" fmla="*/ 47 w 199"/>
                <a:gd name="T95" fmla="*/ 2 h 224"/>
                <a:gd name="T96" fmla="*/ 84 w 199"/>
                <a:gd name="T97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99" h="224">
                  <a:moveTo>
                    <a:pt x="84" y="0"/>
                  </a:moveTo>
                  <a:lnTo>
                    <a:pt x="87" y="2"/>
                  </a:lnTo>
                  <a:lnTo>
                    <a:pt x="154" y="45"/>
                  </a:lnTo>
                  <a:lnTo>
                    <a:pt x="155" y="57"/>
                  </a:lnTo>
                  <a:lnTo>
                    <a:pt x="181" y="78"/>
                  </a:lnTo>
                  <a:lnTo>
                    <a:pt x="172" y="103"/>
                  </a:lnTo>
                  <a:lnTo>
                    <a:pt x="173" y="115"/>
                  </a:lnTo>
                  <a:lnTo>
                    <a:pt x="184" y="123"/>
                  </a:lnTo>
                  <a:lnTo>
                    <a:pt x="185" y="128"/>
                  </a:lnTo>
                  <a:lnTo>
                    <a:pt x="180" y="141"/>
                  </a:lnTo>
                  <a:lnTo>
                    <a:pt x="181" y="147"/>
                  </a:lnTo>
                  <a:lnTo>
                    <a:pt x="179" y="157"/>
                  </a:lnTo>
                  <a:lnTo>
                    <a:pt x="185" y="170"/>
                  </a:lnTo>
                  <a:lnTo>
                    <a:pt x="192" y="190"/>
                  </a:lnTo>
                  <a:lnTo>
                    <a:pt x="199" y="195"/>
                  </a:lnTo>
                  <a:lnTo>
                    <a:pt x="184" y="207"/>
                  </a:lnTo>
                  <a:lnTo>
                    <a:pt x="164" y="215"/>
                  </a:lnTo>
                  <a:lnTo>
                    <a:pt x="153" y="215"/>
                  </a:lnTo>
                  <a:lnTo>
                    <a:pt x="146" y="221"/>
                  </a:lnTo>
                  <a:lnTo>
                    <a:pt x="133" y="221"/>
                  </a:lnTo>
                  <a:lnTo>
                    <a:pt x="128" y="224"/>
                  </a:lnTo>
                  <a:lnTo>
                    <a:pt x="107" y="218"/>
                  </a:lnTo>
                  <a:lnTo>
                    <a:pt x="93" y="220"/>
                  </a:lnTo>
                  <a:lnTo>
                    <a:pt x="89" y="192"/>
                  </a:lnTo>
                  <a:lnTo>
                    <a:pt x="82" y="182"/>
                  </a:lnTo>
                  <a:lnTo>
                    <a:pt x="79" y="176"/>
                  </a:lnTo>
                  <a:lnTo>
                    <a:pt x="61" y="172"/>
                  </a:lnTo>
                  <a:lnTo>
                    <a:pt x="51" y="166"/>
                  </a:lnTo>
                  <a:lnTo>
                    <a:pt x="39" y="163"/>
                  </a:lnTo>
                  <a:lnTo>
                    <a:pt x="32" y="159"/>
                  </a:lnTo>
                  <a:lnTo>
                    <a:pt x="25" y="154"/>
                  </a:lnTo>
                  <a:lnTo>
                    <a:pt x="15" y="127"/>
                  </a:lnTo>
                  <a:lnTo>
                    <a:pt x="5" y="116"/>
                  </a:lnTo>
                  <a:lnTo>
                    <a:pt x="1" y="104"/>
                  </a:lnTo>
                  <a:lnTo>
                    <a:pt x="3" y="93"/>
                  </a:lnTo>
                  <a:lnTo>
                    <a:pt x="0" y="74"/>
                  </a:lnTo>
                  <a:lnTo>
                    <a:pt x="7" y="73"/>
                  </a:lnTo>
                  <a:lnTo>
                    <a:pt x="14" y="65"/>
                  </a:lnTo>
                  <a:lnTo>
                    <a:pt x="22" y="54"/>
                  </a:lnTo>
                  <a:lnTo>
                    <a:pt x="26" y="50"/>
                  </a:lnTo>
                  <a:lnTo>
                    <a:pt x="26" y="43"/>
                  </a:lnTo>
                  <a:lnTo>
                    <a:pt x="22" y="39"/>
                  </a:lnTo>
                  <a:lnTo>
                    <a:pt x="21" y="31"/>
                  </a:lnTo>
                  <a:lnTo>
                    <a:pt x="26" y="28"/>
                  </a:lnTo>
                  <a:lnTo>
                    <a:pt x="28" y="16"/>
                  </a:lnTo>
                  <a:lnTo>
                    <a:pt x="20" y="4"/>
                  </a:lnTo>
                  <a:lnTo>
                    <a:pt x="27" y="2"/>
                  </a:lnTo>
                  <a:lnTo>
                    <a:pt x="47" y="2"/>
                  </a:lnTo>
                  <a:lnTo>
                    <a:pt x="84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45" name="Freeform 202">
              <a:extLst>
                <a:ext uri="{FF2B5EF4-FFF2-40B4-BE49-F238E27FC236}">
                  <a16:creationId xmlns:a16="http://schemas.microsoft.com/office/drawing/2014/main" id="{BABAA916-860A-4BFC-9375-F3F0CA83B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9062" y="2760690"/>
              <a:ext cx="130246" cy="153690"/>
            </a:xfrm>
            <a:custGeom>
              <a:avLst/>
              <a:gdLst>
                <a:gd name="T0" fmla="*/ 42 w 100"/>
                <a:gd name="T1" fmla="*/ 110 h 118"/>
                <a:gd name="T2" fmla="*/ 22 w 100"/>
                <a:gd name="T3" fmla="*/ 110 h 118"/>
                <a:gd name="T4" fmla="*/ 15 w 100"/>
                <a:gd name="T5" fmla="*/ 112 h 118"/>
                <a:gd name="T6" fmla="*/ 4 w 100"/>
                <a:gd name="T7" fmla="*/ 118 h 118"/>
                <a:gd name="T8" fmla="*/ 0 w 100"/>
                <a:gd name="T9" fmla="*/ 116 h 118"/>
                <a:gd name="T10" fmla="*/ 0 w 100"/>
                <a:gd name="T11" fmla="*/ 101 h 118"/>
                <a:gd name="T12" fmla="*/ 4 w 100"/>
                <a:gd name="T13" fmla="*/ 93 h 118"/>
                <a:gd name="T14" fmla="*/ 5 w 100"/>
                <a:gd name="T15" fmla="*/ 76 h 118"/>
                <a:gd name="T16" fmla="*/ 9 w 100"/>
                <a:gd name="T17" fmla="*/ 66 h 118"/>
                <a:gd name="T18" fmla="*/ 16 w 100"/>
                <a:gd name="T19" fmla="*/ 56 h 118"/>
                <a:gd name="T20" fmla="*/ 23 w 100"/>
                <a:gd name="T21" fmla="*/ 50 h 118"/>
                <a:gd name="T22" fmla="*/ 29 w 100"/>
                <a:gd name="T23" fmla="*/ 43 h 118"/>
                <a:gd name="T24" fmla="*/ 22 w 100"/>
                <a:gd name="T25" fmla="*/ 40 h 118"/>
                <a:gd name="T26" fmla="*/ 23 w 100"/>
                <a:gd name="T27" fmla="*/ 16 h 118"/>
                <a:gd name="T28" fmla="*/ 30 w 100"/>
                <a:gd name="T29" fmla="*/ 10 h 118"/>
                <a:gd name="T30" fmla="*/ 42 w 100"/>
                <a:gd name="T31" fmla="*/ 14 h 118"/>
                <a:gd name="T32" fmla="*/ 57 w 100"/>
                <a:gd name="T33" fmla="*/ 10 h 118"/>
                <a:gd name="T34" fmla="*/ 69 w 100"/>
                <a:gd name="T35" fmla="*/ 10 h 118"/>
                <a:gd name="T36" fmla="*/ 81 w 100"/>
                <a:gd name="T37" fmla="*/ 0 h 118"/>
                <a:gd name="T38" fmla="*/ 90 w 100"/>
                <a:gd name="T39" fmla="*/ 15 h 118"/>
                <a:gd name="T40" fmla="*/ 92 w 100"/>
                <a:gd name="T41" fmla="*/ 25 h 118"/>
                <a:gd name="T42" fmla="*/ 100 w 100"/>
                <a:gd name="T43" fmla="*/ 49 h 118"/>
                <a:gd name="T44" fmla="*/ 93 w 100"/>
                <a:gd name="T45" fmla="*/ 64 h 118"/>
                <a:gd name="T46" fmla="*/ 84 w 100"/>
                <a:gd name="T47" fmla="*/ 78 h 118"/>
                <a:gd name="T48" fmla="*/ 79 w 100"/>
                <a:gd name="T49" fmla="*/ 86 h 118"/>
                <a:gd name="T50" fmla="*/ 79 w 100"/>
                <a:gd name="T51" fmla="*/ 108 h 118"/>
                <a:gd name="T52" fmla="*/ 42 w 100"/>
                <a:gd name="T53" fmla="*/ 11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0" h="118">
                  <a:moveTo>
                    <a:pt x="42" y="110"/>
                  </a:moveTo>
                  <a:lnTo>
                    <a:pt x="22" y="110"/>
                  </a:lnTo>
                  <a:lnTo>
                    <a:pt x="15" y="112"/>
                  </a:lnTo>
                  <a:lnTo>
                    <a:pt x="4" y="118"/>
                  </a:lnTo>
                  <a:lnTo>
                    <a:pt x="0" y="116"/>
                  </a:lnTo>
                  <a:lnTo>
                    <a:pt x="0" y="101"/>
                  </a:lnTo>
                  <a:lnTo>
                    <a:pt x="4" y="93"/>
                  </a:lnTo>
                  <a:lnTo>
                    <a:pt x="5" y="76"/>
                  </a:lnTo>
                  <a:lnTo>
                    <a:pt x="9" y="66"/>
                  </a:lnTo>
                  <a:lnTo>
                    <a:pt x="16" y="56"/>
                  </a:lnTo>
                  <a:lnTo>
                    <a:pt x="23" y="50"/>
                  </a:lnTo>
                  <a:lnTo>
                    <a:pt x="29" y="43"/>
                  </a:lnTo>
                  <a:lnTo>
                    <a:pt x="22" y="40"/>
                  </a:lnTo>
                  <a:lnTo>
                    <a:pt x="23" y="16"/>
                  </a:lnTo>
                  <a:lnTo>
                    <a:pt x="30" y="10"/>
                  </a:lnTo>
                  <a:lnTo>
                    <a:pt x="42" y="14"/>
                  </a:lnTo>
                  <a:lnTo>
                    <a:pt x="57" y="10"/>
                  </a:lnTo>
                  <a:lnTo>
                    <a:pt x="69" y="10"/>
                  </a:lnTo>
                  <a:lnTo>
                    <a:pt x="81" y="0"/>
                  </a:lnTo>
                  <a:lnTo>
                    <a:pt x="90" y="15"/>
                  </a:lnTo>
                  <a:lnTo>
                    <a:pt x="92" y="25"/>
                  </a:lnTo>
                  <a:lnTo>
                    <a:pt x="100" y="49"/>
                  </a:lnTo>
                  <a:lnTo>
                    <a:pt x="93" y="64"/>
                  </a:lnTo>
                  <a:lnTo>
                    <a:pt x="84" y="78"/>
                  </a:lnTo>
                  <a:lnTo>
                    <a:pt x="79" y="86"/>
                  </a:lnTo>
                  <a:lnTo>
                    <a:pt x="79" y="108"/>
                  </a:lnTo>
                  <a:lnTo>
                    <a:pt x="42" y="11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46" name="Freeform 203">
              <a:extLst>
                <a:ext uri="{FF2B5EF4-FFF2-40B4-BE49-F238E27FC236}">
                  <a16:creationId xmlns:a16="http://schemas.microsoft.com/office/drawing/2014/main" id="{FF2DB0F5-4F56-432F-865C-985BA4AD43B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5502" y="1467347"/>
              <a:ext cx="375108" cy="210999"/>
            </a:xfrm>
            <a:custGeom>
              <a:avLst/>
              <a:gdLst>
                <a:gd name="T0" fmla="*/ 149 w 288"/>
                <a:gd name="T1" fmla="*/ 6 h 162"/>
                <a:gd name="T2" fmla="*/ 157 w 288"/>
                <a:gd name="T3" fmla="*/ 2 h 162"/>
                <a:gd name="T4" fmla="*/ 186 w 288"/>
                <a:gd name="T5" fmla="*/ 11 h 162"/>
                <a:gd name="T6" fmla="*/ 185 w 288"/>
                <a:gd name="T7" fmla="*/ 22 h 162"/>
                <a:gd name="T8" fmla="*/ 205 w 288"/>
                <a:gd name="T9" fmla="*/ 31 h 162"/>
                <a:gd name="T10" fmla="*/ 227 w 288"/>
                <a:gd name="T11" fmla="*/ 42 h 162"/>
                <a:gd name="T12" fmla="*/ 251 w 288"/>
                <a:gd name="T13" fmla="*/ 49 h 162"/>
                <a:gd name="T14" fmla="*/ 285 w 288"/>
                <a:gd name="T15" fmla="*/ 55 h 162"/>
                <a:gd name="T16" fmla="*/ 282 w 288"/>
                <a:gd name="T17" fmla="*/ 72 h 162"/>
                <a:gd name="T18" fmla="*/ 287 w 288"/>
                <a:gd name="T19" fmla="*/ 89 h 162"/>
                <a:gd name="T20" fmla="*/ 264 w 288"/>
                <a:gd name="T21" fmla="*/ 97 h 162"/>
                <a:gd name="T22" fmla="*/ 253 w 288"/>
                <a:gd name="T23" fmla="*/ 107 h 162"/>
                <a:gd name="T24" fmla="*/ 228 w 288"/>
                <a:gd name="T25" fmla="*/ 115 h 162"/>
                <a:gd name="T26" fmla="*/ 218 w 288"/>
                <a:gd name="T27" fmla="*/ 135 h 162"/>
                <a:gd name="T28" fmla="*/ 244 w 288"/>
                <a:gd name="T29" fmla="*/ 139 h 162"/>
                <a:gd name="T30" fmla="*/ 224 w 288"/>
                <a:gd name="T31" fmla="*/ 150 h 162"/>
                <a:gd name="T32" fmla="*/ 194 w 288"/>
                <a:gd name="T33" fmla="*/ 158 h 162"/>
                <a:gd name="T34" fmla="*/ 177 w 288"/>
                <a:gd name="T35" fmla="*/ 142 h 162"/>
                <a:gd name="T36" fmla="*/ 194 w 288"/>
                <a:gd name="T37" fmla="*/ 131 h 162"/>
                <a:gd name="T38" fmla="*/ 162 w 288"/>
                <a:gd name="T39" fmla="*/ 121 h 162"/>
                <a:gd name="T40" fmla="*/ 145 w 288"/>
                <a:gd name="T41" fmla="*/ 116 h 162"/>
                <a:gd name="T42" fmla="*/ 130 w 288"/>
                <a:gd name="T43" fmla="*/ 143 h 162"/>
                <a:gd name="T44" fmla="*/ 115 w 288"/>
                <a:gd name="T45" fmla="*/ 142 h 162"/>
                <a:gd name="T46" fmla="*/ 111 w 288"/>
                <a:gd name="T47" fmla="*/ 137 h 162"/>
                <a:gd name="T48" fmla="*/ 117 w 288"/>
                <a:gd name="T49" fmla="*/ 123 h 162"/>
                <a:gd name="T50" fmla="*/ 118 w 288"/>
                <a:gd name="T51" fmla="*/ 118 h 162"/>
                <a:gd name="T52" fmla="*/ 130 w 288"/>
                <a:gd name="T53" fmla="*/ 121 h 162"/>
                <a:gd name="T54" fmla="*/ 131 w 288"/>
                <a:gd name="T55" fmla="*/ 118 h 162"/>
                <a:gd name="T56" fmla="*/ 125 w 288"/>
                <a:gd name="T57" fmla="*/ 109 h 162"/>
                <a:gd name="T58" fmla="*/ 115 w 288"/>
                <a:gd name="T59" fmla="*/ 98 h 162"/>
                <a:gd name="T60" fmla="*/ 107 w 288"/>
                <a:gd name="T61" fmla="*/ 85 h 162"/>
                <a:gd name="T62" fmla="*/ 87 w 288"/>
                <a:gd name="T63" fmla="*/ 78 h 162"/>
                <a:gd name="T64" fmla="*/ 74 w 288"/>
                <a:gd name="T65" fmla="*/ 83 h 162"/>
                <a:gd name="T66" fmla="*/ 63 w 288"/>
                <a:gd name="T67" fmla="*/ 88 h 162"/>
                <a:gd name="T68" fmla="*/ 46 w 288"/>
                <a:gd name="T69" fmla="*/ 93 h 162"/>
                <a:gd name="T70" fmla="*/ 28 w 288"/>
                <a:gd name="T71" fmla="*/ 88 h 162"/>
                <a:gd name="T72" fmla="*/ 11 w 288"/>
                <a:gd name="T73" fmla="*/ 90 h 162"/>
                <a:gd name="T74" fmla="*/ 0 w 288"/>
                <a:gd name="T75" fmla="*/ 79 h 162"/>
                <a:gd name="T76" fmla="*/ 6 w 288"/>
                <a:gd name="T77" fmla="*/ 66 h 162"/>
                <a:gd name="T78" fmla="*/ 4 w 288"/>
                <a:gd name="T79" fmla="*/ 58 h 162"/>
                <a:gd name="T80" fmla="*/ 24 w 288"/>
                <a:gd name="T81" fmla="*/ 39 h 162"/>
                <a:gd name="T82" fmla="*/ 15 w 288"/>
                <a:gd name="T83" fmla="*/ 15 h 162"/>
                <a:gd name="T84" fmla="*/ 30 w 288"/>
                <a:gd name="T85" fmla="*/ 9 h 162"/>
                <a:gd name="T86" fmla="*/ 58 w 288"/>
                <a:gd name="T87" fmla="*/ 10 h 162"/>
                <a:gd name="T88" fmla="*/ 89 w 288"/>
                <a:gd name="T89" fmla="*/ 15 h 162"/>
                <a:gd name="T90" fmla="*/ 101 w 288"/>
                <a:gd name="T91" fmla="*/ 15 h 162"/>
                <a:gd name="T92" fmla="*/ 120 w 288"/>
                <a:gd name="T93" fmla="*/ 19 h 162"/>
                <a:gd name="T94" fmla="*/ 126 w 288"/>
                <a:gd name="T95" fmla="*/ 10 h 162"/>
                <a:gd name="T96" fmla="*/ 143 w 288"/>
                <a:gd name="T97" fmla="*/ 5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88" h="162">
                  <a:moveTo>
                    <a:pt x="143" y="5"/>
                  </a:moveTo>
                  <a:lnTo>
                    <a:pt x="149" y="6"/>
                  </a:lnTo>
                  <a:lnTo>
                    <a:pt x="152" y="1"/>
                  </a:lnTo>
                  <a:lnTo>
                    <a:pt x="157" y="2"/>
                  </a:lnTo>
                  <a:lnTo>
                    <a:pt x="173" y="0"/>
                  </a:lnTo>
                  <a:lnTo>
                    <a:pt x="186" y="11"/>
                  </a:lnTo>
                  <a:lnTo>
                    <a:pt x="182" y="15"/>
                  </a:lnTo>
                  <a:lnTo>
                    <a:pt x="185" y="22"/>
                  </a:lnTo>
                  <a:lnTo>
                    <a:pt x="198" y="23"/>
                  </a:lnTo>
                  <a:lnTo>
                    <a:pt x="205" y="31"/>
                  </a:lnTo>
                  <a:lnTo>
                    <a:pt x="206" y="35"/>
                  </a:lnTo>
                  <a:lnTo>
                    <a:pt x="227" y="42"/>
                  </a:lnTo>
                  <a:lnTo>
                    <a:pt x="239" y="39"/>
                  </a:lnTo>
                  <a:lnTo>
                    <a:pt x="251" y="49"/>
                  </a:lnTo>
                  <a:lnTo>
                    <a:pt x="260" y="49"/>
                  </a:lnTo>
                  <a:lnTo>
                    <a:pt x="285" y="55"/>
                  </a:lnTo>
                  <a:lnTo>
                    <a:pt x="286" y="61"/>
                  </a:lnTo>
                  <a:lnTo>
                    <a:pt x="282" y="72"/>
                  </a:lnTo>
                  <a:lnTo>
                    <a:pt x="288" y="83"/>
                  </a:lnTo>
                  <a:lnTo>
                    <a:pt x="287" y="89"/>
                  </a:lnTo>
                  <a:lnTo>
                    <a:pt x="271" y="91"/>
                  </a:lnTo>
                  <a:lnTo>
                    <a:pt x="264" y="97"/>
                  </a:lnTo>
                  <a:lnTo>
                    <a:pt x="265" y="106"/>
                  </a:lnTo>
                  <a:lnTo>
                    <a:pt x="253" y="107"/>
                  </a:lnTo>
                  <a:lnTo>
                    <a:pt x="243" y="114"/>
                  </a:lnTo>
                  <a:lnTo>
                    <a:pt x="228" y="115"/>
                  </a:lnTo>
                  <a:lnTo>
                    <a:pt x="215" y="123"/>
                  </a:lnTo>
                  <a:lnTo>
                    <a:pt x="218" y="135"/>
                  </a:lnTo>
                  <a:lnTo>
                    <a:pt x="227" y="140"/>
                  </a:lnTo>
                  <a:lnTo>
                    <a:pt x="244" y="139"/>
                  </a:lnTo>
                  <a:lnTo>
                    <a:pt x="242" y="146"/>
                  </a:lnTo>
                  <a:lnTo>
                    <a:pt x="224" y="150"/>
                  </a:lnTo>
                  <a:lnTo>
                    <a:pt x="204" y="162"/>
                  </a:lnTo>
                  <a:lnTo>
                    <a:pt x="194" y="158"/>
                  </a:lnTo>
                  <a:lnTo>
                    <a:pt x="196" y="148"/>
                  </a:lnTo>
                  <a:lnTo>
                    <a:pt x="177" y="142"/>
                  </a:lnTo>
                  <a:lnTo>
                    <a:pt x="179" y="138"/>
                  </a:lnTo>
                  <a:lnTo>
                    <a:pt x="194" y="131"/>
                  </a:lnTo>
                  <a:lnTo>
                    <a:pt x="189" y="127"/>
                  </a:lnTo>
                  <a:lnTo>
                    <a:pt x="162" y="121"/>
                  </a:lnTo>
                  <a:lnTo>
                    <a:pt x="160" y="114"/>
                  </a:lnTo>
                  <a:lnTo>
                    <a:pt x="145" y="116"/>
                  </a:lnTo>
                  <a:lnTo>
                    <a:pt x="141" y="128"/>
                  </a:lnTo>
                  <a:lnTo>
                    <a:pt x="130" y="143"/>
                  </a:lnTo>
                  <a:lnTo>
                    <a:pt x="123" y="139"/>
                  </a:lnTo>
                  <a:lnTo>
                    <a:pt x="115" y="142"/>
                  </a:lnTo>
                  <a:lnTo>
                    <a:pt x="107" y="139"/>
                  </a:lnTo>
                  <a:lnTo>
                    <a:pt x="111" y="137"/>
                  </a:lnTo>
                  <a:lnTo>
                    <a:pt x="113" y="130"/>
                  </a:lnTo>
                  <a:lnTo>
                    <a:pt x="117" y="123"/>
                  </a:lnTo>
                  <a:lnTo>
                    <a:pt x="115" y="119"/>
                  </a:lnTo>
                  <a:lnTo>
                    <a:pt x="118" y="118"/>
                  </a:lnTo>
                  <a:lnTo>
                    <a:pt x="120" y="120"/>
                  </a:lnTo>
                  <a:lnTo>
                    <a:pt x="130" y="121"/>
                  </a:lnTo>
                  <a:lnTo>
                    <a:pt x="134" y="120"/>
                  </a:lnTo>
                  <a:lnTo>
                    <a:pt x="131" y="118"/>
                  </a:lnTo>
                  <a:lnTo>
                    <a:pt x="131" y="115"/>
                  </a:lnTo>
                  <a:lnTo>
                    <a:pt x="125" y="109"/>
                  </a:lnTo>
                  <a:lnTo>
                    <a:pt x="121" y="101"/>
                  </a:lnTo>
                  <a:lnTo>
                    <a:pt x="115" y="98"/>
                  </a:lnTo>
                  <a:lnTo>
                    <a:pt x="115" y="90"/>
                  </a:lnTo>
                  <a:lnTo>
                    <a:pt x="107" y="85"/>
                  </a:lnTo>
                  <a:lnTo>
                    <a:pt x="100" y="84"/>
                  </a:lnTo>
                  <a:lnTo>
                    <a:pt x="87" y="78"/>
                  </a:lnTo>
                  <a:lnTo>
                    <a:pt x="77" y="80"/>
                  </a:lnTo>
                  <a:lnTo>
                    <a:pt x="74" y="83"/>
                  </a:lnTo>
                  <a:lnTo>
                    <a:pt x="67" y="83"/>
                  </a:lnTo>
                  <a:lnTo>
                    <a:pt x="63" y="88"/>
                  </a:lnTo>
                  <a:lnTo>
                    <a:pt x="52" y="90"/>
                  </a:lnTo>
                  <a:lnTo>
                    <a:pt x="46" y="93"/>
                  </a:lnTo>
                  <a:lnTo>
                    <a:pt x="38" y="88"/>
                  </a:lnTo>
                  <a:lnTo>
                    <a:pt x="28" y="88"/>
                  </a:lnTo>
                  <a:lnTo>
                    <a:pt x="18" y="86"/>
                  </a:lnTo>
                  <a:lnTo>
                    <a:pt x="11" y="90"/>
                  </a:lnTo>
                  <a:lnTo>
                    <a:pt x="9" y="84"/>
                  </a:lnTo>
                  <a:lnTo>
                    <a:pt x="0" y="79"/>
                  </a:lnTo>
                  <a:lnTo>
                    <a:pt x="2" y="71"/>
                  </a:lnTo>
                  <a:lnTo>
                    <a:pt x="6" y="66"/>
                  </a:lnTo>
                  <a:lnTo>
                    <a:pt x="9" y="67"/>
                  </a:lnTo>
                  <a:lnTo>
                    <a:pt x="4" y="58"/>
                  </a:lnTo>
                  <a:lnTo>
                    <a:pt x="17" y="41"/>
                  </a:lnTo>
                  <a:lnTo>
                    <a:pt x="24" y="39"/>
                  </a:lnTo>
                  <a:lnTo>
                    <a:pt x="25" y="33"/>
                  </a:lnTo>
                  <a:lnTo>
                    <a:pt x="15" y="15"/>
                  </a:lnTo>
                  <a:lnTo>
                    <a:pt x="22" y="14"/>
                  </a:lnTo>
                  <a:lnTo>
                    <a:pt x="30" y="9"/>
                  </a:lnTo>
                  <a:lnTo>
                    <a:pt x="42" y="8"/>
                  </a:lnTo>
                  <a:lnTo>
                    <a:pt x="58" y="10"/>
                  </a:lnTo>
                  <a:lnTo>
                    <a:pt x="77" y="15"/>
                  </a:lnTo>
                  <a:lnTo>
                    <a:pt x="89" y="15"/>
                  </a:lnTo>
                  <a:lnTo>
                    <a:pt x="95" y="18"/>
                  </a:lnTo>
                  <a:lnTo>
                    <a:pt x="101" y="15"/>
                  </a:lnTo>
                  <a:lnTo>
                    <a:pt x="106" y="19"/>
                  </a:lnTo>
                  <a:lnTo>
                    <a:pt x="120" y="19"/>
                  </a:lnTo>
                  <a:lnTo>
                    <a:pt x="126" y="20"/>
                  </a:lnTo>
                  <a:lnTo>
                    <a:pt x="126" y="10"/>
                  </a:lnTo>
                  <a:lnTo>
                    <a:pt x="130" y="6"/>
                  </a:lnTo>
                  <a:lnTo>
                    <a:pt x="143" y="5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47" name="Freeform 204">
              <a:extLst>
                <a:ext uri="{FF2B5EF4-FFF2-40B4-BE49-F238E27FC236}">
                  <a16:creationId xmlns:a16="http://schemas.microsoft.com/office/drawing/2014/main" id="{DA72FA58-6015-4C7E-B08D-D0DCAF39170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5922" y="3690646"/>
              <a:ext cx="117221" cy="130246"/>
            </a:xfrm>
            <a:custGeom>
              <a:avLst/>
              <a:gdLst>
                <a:gd name="T0" fmla="*/ 3 w 90"/>
                <a:gd name="T1" fmla="*/ 2 h 100"/>
                <a:gd name="T2" fmla="*/ 14 w 90"/>
                <a:gd name="T3" fmla="*/ 0 h 100"/>
                <a:gd name="T4" fmla="*/ 35 w 90"/>
                <a:gd name="T5" fmla="*/ 16 h 100"/>
                <a:gd name="T6" fmla="*/ 41 w 90"/>
                <a:gd name="T7" fmla="*/ 15 h 100"/>
                <a:gd name="T8" fmla="*/ 61 w 90"/>
                <a:gd name="T9" fmla="*/ 29 h 100"/>
                <a:gd name="T10" fmla="*/ 77 w 90"/>
                <a:gd name="T11" fmla="*/ 40 h 100"/>
                <a:gd name="T12" fmla="*/ 89 w 90"/>
                <a:gd name="T13" fmla="*/ 54 h 100"/>
                <a:gd name="T14" fmla="*/ 83 w 90"/>
                <a:gd name="T15" fmla="*/ 64 h 100"/>
                <a:gd name="T16" fmla="*/ 90 w 90"/>
                <a:gd name="T17" fmla="*/ 76 h 100"/>
                <a:gd name="T18" fmla="*/ 84 w 90"/>
                <a:gd name="T19" fmla="*/ 89 h 100"/>
                <a:gd name="T20" fmla="*/ 67 w 90"/>
                <a:gd name="T21" fmla="*/ 100 h 100"/>
                <a:gd name="T22" fmla="*/ 53 w 90"/>
                <a:gd name="T23" fmla="*/ 96 h 100"/>
                <a:gd name="T24" fmla="*/ 44 w 90"/>
                <a:gd name="T25" fmla="*/ 98 h 100"/>
                <a:gd name="T26" fmla="*/ 27 w 90"/>
                <a:gd name="T27" fmla="*/ 89 h 100"/>
                <a:gd name="T28" fmla="*/ 15 w 90"/>
                <a:gd name="T29" fmla="*/ 90 h 100"/>
                <a:gd name="T30" fmla="*/ 2 w 90"/>
                <a:gd name="T31" fmla="*/ 79 h 100"/>
                <a:gd name="T32" fmla="*/ 1 w 90"/>
                <a:gd name="T33" fmla="*/ 65 h 100"/>
                <a:gd name="T34" fmla="*/ 4 w 90"/>
                <a:gd name="T35" fmla="*/ 61 h 100"/>
                <a:gd name="T36" fmla="*/ 0 w 90"/>
                <a:gd name="T37" fmla="*/ 40 h 100"/>
                <a:gd name="T38" fmla="*/ 2 w 90"/>
                <a:gd name="T39" fmla="*/ 19 h 100"/>
                <a:gd name="T40" fmla="*/ 3 w 90"/>
                <a:gd name="T41" fmla="*/ 2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0">
                  <a:moveTo>
                    <a:pt x="3" y="2"/>
                  </a:moveTo>
                  <a:lnTo>
                    <a:pt x="14" y="0"/>
                  </a:lnTo>
                  <a:lnTo>
                    <a:pt x="35" y="16"/>
                  </a:lnTo>
                  <a:lnTo>
                    <a:pt x="41" y="15"/>
                  </a:lnTo>
                  <a:lnTo>
                    <a:pt x="61" y="29"/>
                  </a:lnTo>
                  <a:lnTo>
                    <a:pt x="77" y="40"/>
                  </a:lnTo>
                  <a:lnTo>
                    <a:pt x="89" y="54"/>
                  </a:lnTo>
                  <a:lnTo>
                    <a:pt x="83" y="64"/>
                  </a:lnTo>
                  <a:lnTo>
                    <a:pt x="90" y="76"/>
                  </a:lnTo>
                  <a:lnTo>
                    <a:pt x="84" y="89"/>
                  </a:lnTo>
                  <a:lnTo>
                    <a:pt x="67" y="100"/>
                  </a:lnTo>
                  <a:lnTo>
                    <a:pt x="53" y="96"/>
                  </a:lnTo>
                  <a:lnTo>
                    <a:pt x="44" y="98"/>
                  </a:lnTo>
                  <a:lnTo>
                    <a:pt x="27" y="89"/>
                  </a:lnTo>
                  <a:lnTo>
                    <a:pt x="15" y="90"/>
                  </a:lnTo>
                  <a:lnTo>
                    <a:pt x="2" y="79"/>
                  </a:lnTo>
                  <a:lnTo>
                    <a:pt x="1" y="65"/>
                  </a:lnTo>
                  <a:lnTo>
                    <a:pt x="4" y="61"/>
                  </a:lnTo>
                  <a:lnTo>
                    <a:pt x="0" y="40"/>
                  </a:lnTo>
                  <a:lnTo>
                    <a:pt x="2" y="19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48" name="Freeform 205">
              <a:extLst>
                <a:ext uri="{FF2B5EF4-FFF2-40B4-BE49-F238E27FC236}">
                  <a16:creationId xmlns:a16="http://schemas.microsoft.com/office/drawing/2014/main" id="{90B9AFAB-702A-4F29-AF1D-5818C2018C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9281" y="1321471"/>
              <a:ext cx="62518" cy="32562"/>
            </a:xfrm>
            <a:custGeom>
              <a:avLst/>
              <a:gdLst>
                <a:gd name="T0" fmla="*/ 25 w 48"/>
                <a:gd name="T1" fmla="*/ 17 h 25"/>
                <a:gd name="T2" fmla="*/ 3 w 48"/>
                <a:gd name="T3" fmla="*/ 25 h 25"/>
                <a:gd name="T4" fmla="*/ 0 w 48"/>
                <a:gd name="T5" fmla="*/ 19 h 25"/>
                <a:gd name="T6" fmla="*/ 7 w 48"/>
                <a:gd name="T7" fmla="*/ 10 h 25"/>
                <a:gd name="T8" fmla="*/ 28 w 48"/>
                <a:gd name="T9" fmla="*/ 3 h 25"/>
                <a:gd name="T10" fmla="*/ 40 w 48"/>
                <a:gd name="T11" fmla="*/ 0 h 25"/>
                <a:gd name="T12" fmla="*/ 48 w 48"/>
                <a:gd name="T13" fmla="*/ 2 h 25"/>
                <a:gd name="T14" fmla="*/ 48 w 48"/>
                <a:gd name="T15" fmla="*/ 8 h 25"/>
                <a:gd name="T16" fmla="*/ 25 w 48"/>
                <a:gd name="T17" fmla="*/ 1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25">
                  <a:moveTo>
                    <a:pt x="25" y="17"/>
                  </a:moveTo>
                  <a:lnTo>
                    <a:pt x="3" y="25"/>
                  </a:lnTo>
                  <a:lnTo>
                    <a:pt x="0" y="19"/>
                  </a:lnTo>
                  <a:lnTo>
                    <a:pt x="7" y="10"/>
                  </a:lnTo>
                  <a:lnTo>
                    <a:pt x="28" y="3"/>
                  </a:lnTo>
                  <a:lnTo>
                    <a:pt x="40" y="0"/>
                  </a:lnTo>
                  <a:lnTo>
                    <a:pt x="48" y="2"/>
                  </a:lnTo>
                  <a:lnTo>
                    <a:pt x="48" y="8"/>
                  </a:lnTo>
                  <a:lnTo>
                    <a:pt x="25" y="17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49" name="Freeform 202">
              <a:extLst>
                <a:ext uri="{FF2B5EF4-FFF2-40B4-BE49-F238E27FC236}">
                  <a16:creationId xmlns:a16="http://schemas.microsoft.com/office/drawing/2014/main" id="{3051C20C-E29E-4CF1-9005-3528A8AE6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0380" y="1261558"/>
              <a:ext cx="36469" cy="15630"/>
            </a:xfrm>
            <a:custGeom>
              <a:avLst/>
              <a:gdLst>
                <a:gd name="T0" fmla="*/ 21 w 28"/>
                <a:gd name="T1" fmla="*/ 9 h 12"/>
                <a:gd name="T2" fmla="*/ 8 w 28"/>
                <a:gd name="T3" fmla="*/ 12 h 12"/>
                <a:gd name="T4" fmla="*/ 3 w 28"/>
                <a:gd name="T5" fmla="*/ 8 h 12"/>
                <a:gd name="T6" fmla="*/ 0 w 28"/>
                <a:gd name="T7" fmla="*/ 3 h 12"/>
                <a:gd name="T8" fmla="*/ 19 w 28"/>
                <a:gd name="T9" fmla="*/ 0 h 12"/>
                <a:gd name="T10" fmla="*/ 28 w 28"/>
                <a:gd name="T11" fmla="*/ 1 h 12"/>
                <a:gd name="T12" fmla="*/ 21 w 28"/>
                <a:gd name="T13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12">
                  <a:moveTo>
                    <a:pt x="21" y="9"/>
                  </a:moveTo>
                  <a:lnTo>
                    <a:pt x="8" y="12"/>
                  </a:lnTo>
                  <a:lnTo>
                    <a:pt x="3" y="8"/>
                  </a:lnTo>
                  <a:lnTo>
                    <a:pt x="0" y="3"/>
                  </a:lnTo>
                  <a:lnTo>
                    <a:pt x="19" y="0"/>
                  </a:lnTo>
                  <a:lnTo>
                    <a:pt x="28" y="1"/>
                  </a:lnTo>
                  <a:lnTo>
                    <a:pt x="21" y="9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50" name="Freeform 203">
              <a:extLst>
                <a:ext uri="{FF2B5EF4-FFF2-40B4-BE49-F238E27FC236}">
                  <a16:creationId xmlns:a16="http://schemas.microsoft.com/office/drawing/2014/main" id="{1B09D5FC-9326-49BE-8D84-CF9A4AA0C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523" y="1176898"/>
              <a:ext cx="53401" cy="19537"/>
            </a:xfrm>
            <a:custGeom>
              <a:avLst/>
              <a:gdLst>
                <a:gd name="T0" fmla="*/ 10 w 41"/>
                <a:gd name="T1" fmla="*/ 0 h 15"/>
                <a:gd name="T2" fmla="*/ 14 w 41"/>
                <a:gd name="T3" fmla="*/ 4 h 15"/>
                <a:gd name="T4" fmla="*/ 26 w 41"/>
                <a:gd name="T5" fmla="*/ 2 h 15"/>
                <a:gd name="T6" fmla="*/ 30 w 41"/>
                <a:gd name="T7" fmla="*/ 7 h 15"/>
                <a:gd name="T8" fmla="*/ 41 w 41"/>
                <a:gd name="T9" fmla="*/ 9 h 15"/>
                <a:gd name="T10" fmla="*/ 37 w 41"/>
                <a:gd name="T11" fmla="*/ 11 h 15"/>
                <a:gd name="T12" fmla="*/ 21 w 41"/>
                <a:gd name="T13" fmla="*/ 15 h 15"/>
                <a:gd name="T14" fmla="*/ 16 w 41"/>
                <a:gd name="T15" fmla="*/ 11 h 15"/>
                <a:gd name="T16" fmla="*/ 15 w 41"/>
                <a:gd name="T17" fmla="*/ 8 h 15"/>
                <a:gd name="T18" fmla="*/ 1 w 41"/>
                <a:gd name="T19" fmla="*/ 9 h 15"/>
                <a:gd name="T20" fmla="*/ 0 w 41"/>
                <a:gd name="T21" fmla="*/ 7 h 15"/>
                <a:gd name="T22" fmla="*/ 10 w 41"/>
                <a:gd name="T2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" h="15">
                  <a:moveTo>
                    <a:pt x="10" y="0"/>
                  </a:moveTo>
                  <a:lnTo>
                    <a:pt x="14" y="4"/>
                  </a:lnTo>
                  <a:lnTo>
                    <a:pt x="26" y="2"/>
                  </a:lnTo>
                  <a:lnTo>
                    <a:pt x="30" y="7"/>
                  </a:lnTo>
                  <a:lnTo>
                    <a:pt x="41" y="9"/>
                  </a:lnTo>
                  <a:lnTo>
                    <a:pt x="37" y="11"/>
                  </a:lnTo>
                  <a:lnTo>
                    <a:pt x="21" y="15"/>
                  </a:lnTo>
                  <a:lnTo>
                    <a:pt x="16" y="11"/>
                  </a:lnTo>
                  <a:lnTo>
                    <a:pt x="15" y="8"/>
                  </a:lnTo>
                  <a:lnTo>
                    <a:pt x="1" y="9"/>
                  </a:lnTo>
                  <a:lnTo>
                    <a:pt x="0" y="7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51" name="Freeform 204">
              <a:extLst>
                <a:ext uri="{FF2B5EF4-FFF2-40B4-BE49-F238E27FC236}">
                  <a16:creationId xmlns:a16="http://schemas.microsoft.com/office/drawing/2014/main" id="{0A181923-A0A0-4B50-9AFC-476FB29442A7}"/>
                </a:ext>
              </a:extLst>
            </p:cNvPr>
            <p:cNvSpPr>
              <a:spLocks/>
            </p:cNvSpPr>
            <p:nvPr/>
          </p:nvSpPr>
          <p:spPr bwMode="auto">
            <a:xfrm>
              <a:off x="925764" y="1001066"/>
              <a:ext cx="888277" cy="412880"/>
            </a:xfrm>
            <a:custGeom>
              <a:avLst/>
              <a:gdLst>
                <a:gd name="T0" fmla="*/ 542 w 682"/>
                <a:gd name="T1" fmla="*/ 8 h 317"/>
                <a:gd name="T2" fmla="*/ 572 w 682"/>
                <a:gd name="T3" fmla="*/ 16 h 317"/>
                <a:gd name="T4" fmla="*/ 630 w 682"/>
                <a:gd name="T5" fmla="*/ 21 h 317"/>
                <a:gd name="T6" fmla="*/ 671 w 682"/>
                <a:gd name="T7" fmla="*/ 26 h 317"/>
                <a:gd name="T8" fmla="*/ 598 w 682"/>
                <a:gd name="T9" fmla="*/ 94 h 317"/>
                <a:gd name="T10" fmla="*/ 501 w 682"/>
                <a:gd name="T11" fmla="*/ 207 h 317"/>
                <a:gd name="T12" fmla="*/ 529 w 682"/>
                <a:gd name="T13" fmla="*/ 217 h 317"/>
                <a:gd name="T14" fmla="*/ 550 w 682"/>
                <a:gd name="T15" fmla="*/ 229 h 317"/>
                <a:gd name="T16" fmla="*/ 547 w 682"/>
                <a:gd name="T17" fmla="*/ 274 h 317"/>
                <a:gd name="T18" fmla="*/ 536 w 682"/>
                <a:gd name="T19" fmla="*/ 309 h 317"/>
                <a:gd name="T20" fmla="*/ 536 w 682"/>
                <a:gd name="T21" fmla="*/ 278 h 317"/>
                <a:gd name="T22" fmla="*/ 526 w 682"/>
                <a:gd name="T23" fmla="*/ 242 h 317"/>
                <a:gd name="T24" fmla="*/ 480 w 682"/>
                <a:gd name="T25" fmla="*/ 216 h 317"/>
                <a:gd name="T26" fmla="*/ 429 w 682"/>
                <a:gd name="T27" fmla="*/ 207 h 317"/>
                <a:gd name="T28" fmla="*/ 380 w 682"/>
                <a:gd name="T29" fmla="*/ 194 h 317"/>
                <a:gd name="T30" fmla="*/ 338 w 682"/>
                <a:gd name="T31" fmla="*/ 213 h 317"/>
                <a:gd name="T32" fmla="*/ 307 w 682"/>
                <a:gd name="T33" fmla="*/ 212 h 317"/>
                <a:gd name="T34" fmla="*/ 358 w 682"/>
                <a:gd name="T35" fmla="*/ 183 h 317"/>
                <a:gd name="T36" fmla="*/ 267 w 682"/>
                <a:gd name="T37" fmla="*/ 220 h 317"/>
                <a:gd name="T38" fmla="*/ 213 w 682"/>
                <a:gd name="T39" fmla="*/ 251 h 317"/>
                <a:gd name="T40" fmla="*/ 145 w 682"/>
                <a:gd name="T41" fmla="*/ 276 h 317"/>
                <a:gd name="T42" fmla="*/ 95 w 682"/>
                <a:gd name="T43" fmla="*/ 292 h 317"/>
                <a:gd name="T44" fmla="*/ 32 w 682"/>
                <a:gd name="T45" fmla="*/ 311 h 317"/>
                <a:gd name="T46" fmla="*/ 28 w 682"/>
                <a:gd name="T47" fmla="*/ 304 h 317"/>
                <a:gd name="T48" fmla="*/ 98 w 682"/>
                <a:gd name="T49" fmla="*/ 285 h 317"/>
                <a:gd name="T50" fmla="*/ 155 w 682"/>
                <a:gd name="T51" fmla="*/ 261 h 317"/>
                <a:gd name="T52" fmla="*/ 213 w 682"/>
                <a:gd name="T53" fmla="*/ 228 h 317"/>
                <a:gd name="T54" fmla="*/ 172 w 682"/>
                <a:gd name="T55" fmla="*/ 238 h 317"/>
                <a:gd name="T56" fmla="*/ 167 w 682"/>
                <a:gd name="T57" fmla="*/ 225 h 317"/>
                <a:gd name="T58" fmla="*/ 146 w 682"/>
                <a:gd name="T59" fmla="*/ 221 h 317"/>
                <a:gd name="T60" fmla="*/ 132 w 682"/>
                <a:gd name="T61" fmla="*/ 211 h 317"/>
                <a:gd name="T62" fmla="*/ 139 w 682"/>
                <a:gd name="T63" fmla="*/ 186 h 317"/>
                <a:gd name="T64" fmla="*/ 183 w 682"/>
                <a:gd name="T65" fmla="*/ 157 h 317"/>
                <a:gd name="T66" fmla="*/ 220 w 682"/>
                <a:gd name="T67" fmla="*/ 149 h 317"/>
                <a:gd name="T68" fmla="*/ 270 w 682"/>
                <a:gd name="T69" fmla="*/ 136 h 317"/>
                <a:gd name="T70" fmla="*/ 295 w 682"/>
                <a:gd name="T71" fmla="*/ 117 h 317"/>
                <a:gd name="T72" fmla="*/ 256 w 682"/>
                <a:gd name="T73" fmla="*/ 125 h 317"/>
                <a:gd name="T74" fmla="*/ 213 w 682"/>
                <a:gd name="T75" fmla="*/ 119 h 317"/>
                <a:gd name="T76" fmla="*/ 246 w 682"/>
                <a:gd name="T77" fmla="*/ 93 h 317"/>
                <a:gd name="T78" fmla="*/ 286 w 682"/>
                <a:gd name="T79" fmla="*/ 93 h 317"/>
                <a:gd name="T80" fmla="*/ 313 w 682"/>
                <a:gd name="T81" fmla="*/ 74 h 317"/>
                <a:gd name="T82" fmla="*/ 305 w 682"/>
                <a:gd name="T83" fmla="*/ 52 h 317"/>
                <a:gd name="T84" fmla="*/ 380 w 682"/>
                <a:gd name="T85" fmla="*/ 34 h 317"/>
                <a:gd name="T86" fmla="*/ 439 w 682"/>
                <a:gd name="T87" fmla="*/ 16 h 317"/>
                <a:gd name="T88" fmla="*/ 519 w 682"/>
                <a:gd name="T89" fmla="*/ 0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82" h="317">
                  <a:moveTo>
                    <a:pt x="533" y="4"/>
                  </a:moveTo>
                  <a:lnTo>
                    <a:pt x="531" y="12"/>
                  </a:lnTo>
                  <a:lnTo>
                    <a:pt x="542" y="8"/>
                  </a:lnTo>
                  <a:lnTo>
                    <a:pt x="562" y="9"/>
                  </a:lnTo>
                  <a:lnTo>
                    <a:pt x="556" y="13"/>
                  </a:lnTo>
                  <a:lnTo>
                    <a:pt x="572" y="16"/>
                  </a:lnTo>
                  <a:lnTo>
                    <a:pt x="587" y="14"/>
                  </a:lnTo>
                  <a:lnTo>
                    <a:pt x="607" y="20"/>
                  </a:lnTo>
                  <a:lnTo>
                    <a:pt x="630" y="21"/>
                  </a:lnTo>
                  <a:lnTo>
                    <a:pt x="637" y="23"/>
                  </a:lnTo>
                  <a:lnTo>
                    <a:pt x="658" y="21"/>
                  </a:lnTo>
                  <a:lnTo>
                    <a:pt x="671" y="26"/>
                  </a:lnTo>
                  <a:lnTo>
                    <a:pt x="682" y="28"/>
                  </a:lnTo>
                  <a:lnTo>
                    <a:pt x="682" y="28"/>
                  </a:lnTo>
                  <a:lnTo>
                    <a:pt x="598" y="94"/>
                  </a:lnTo>
                  <a:lnTo>
                    <a:pt x="478" y="201"/>
                  </a:lnTo>
                  <a:lnTo>
                    <a:pt x="492" y="202"/>
                  </a:lnTo>
                  <a:lnTo>
                    <a:pt x="501" y="207"/>
                  </a:lnTo>
                  <a:lnTo>
                    <a:pt x="503" y="215"/>
                  </a:lnTo>
                  <a:lnTo>
                    <a:pt x="503" y="228"/>
                  </a:lnTo>
                  <a:lnTo>
                    <a:pt x="529" y="217"/>
                  </a:lnTo>
                  <a:lnTo>
                    <a:pt x="549" y="211"/>
                  </a:lnTo>
                  <a:lnTo>
                    <a:pt x="548" y="221"/>
                  </a:lnTo>
                  <a:lnTo>
                    <a:pt x="550" y="229"/>
                  </a:lnTo>
                  <a:lnTo>
                    <a:pt x="555" y="238"/>
                  </a:lnTo>
                  <a:lnTo>
                    <a:pt x="552" y="252"/>
                  </a:lnTo>
                  <a:lnTo>
                    <a:pt x="547" y="274"/>
                  </a:lnTo>
                  <a:lnTo>
                    <a:pt x="562" y="287"/>
                  </a:lnTo>
                  <a:lnTo>
                    <a:pt x="552" y="299"/>
                  </a:lnTo>
                  <a:lnTo>
                    <a:pt x="536" y="309"/>
                  </a:lnTo>
                  <a:lnTo>
                    <a:pt x="533" y="301"/>
                  </a:lnTo>
                  <a:lnTo>
                    <a:pt x="525" y="295"/>
                  </a:lnTo>
                  <a:lnTo>
                    <a:pt x="536" y="278"/>
                  </a:lnTo>
                  <a:lnTo>
                    <a:pt x="530" y="262"/>
                  </a:lnTo>
                  <a:lnTo>
                    <a:pt x="539" y="244"/>
                  </a:lnTo>
                  <a:lnTo>
                    <a:pt x="526" y="242"/>
                  </a:lnTo>
                  <a:lnTo>
                    <a:pt x="503" y="242"/>
                  </a:lnTo>
                  <a:lnTo>
                    <a:pt x="491" y="236"/>
                  </a:lnTo>
                  <a:lnTo>
                    <a:pt x="480" y="216"/>
                  </a:lnTo>
                  <a:lnTo>
                    <a:pt x="470" y="212"/>
                  </a:lnTo>
                  <a:lnTo>
                    <a:pt x="451" y="205"/>
                  </a:lnTo>
                  <a:lnTo>
                    <a:pt x="429" y="207"/>
                  </a:lnTo>
                  <a:lnTo>
                    <a:pt x="409" y="198"/>
                  </a:lnTo>
                  <a:lnTo>
                    <a:pt x="401" y="190"/>
                  </a:lnTo>
                  <a:lnTo>
                    <a:pt x="380" y="194"/>
                  </a:lnTo>
                  <a:lnTo>
                    <a:pt x="369" y="207"/>
                  </a:lnTo>
                  <a:lnTo>
                    <a:pt x="359" y="209"/>
                  </a:lnTo>
                  <a:lnTo>
                    <a:pt x="338" y="213"/>
                  </a:lnTo>
                  <a:lnTo>
                    <a:pt x="318" y="219"/>
                  </a:lnTo>
                  <a:lnTo>
                    <a:pt x="297" y="223"/>
                  </a:lnTo>
                  <a:lnTo>
                    <a:pt x="307" y="212"/>
                  </a:lnTo>
                  <a:lnTo>
                    <a:pt x="335" y="193"/>
                  </a:lnTo>
                  <a:lnTo>
                    <a:pt x="357" y="187"/>
                  </a:lnTo>
                  <a:lnTo>
                    <a:pt x="358" y="183"/>
                  </a:lnTo>
                  <a:lnTo>
                    <a:pt x="328" y="193"/>
                  </a:lnTo>
                  <a:lnTo>
                    <a:pt x="303" y="206"/>
                  </a:lnTo>
                  <a:lnTo>
                    <a:pt x="267" y="220"/>
                  </a:lnTo>
                  <a:lnTo>
                    <a:pt x="267" y="229"/>
                  </a:lnTo>
                  <a:lnTo>
                    <a:pt x="238" y="243"/>
                  </a:lnTo>
                  <a:lnTo>
                    <a:pt x="213" y="251"/>
                  </a:lnTo>
                  <a:lnTo>
                    <a:pt x="192" y="257"/>
                  </a:lnTo>
                  <a:lnTo>
                    <a:pt x="179" y="266"/>
                  </a:lnTo>
                  <a:lnTo>
                    <a:pt x="145" y="276"/>
                  </a:lnTo>
                  <a:lnTo>
                    <a:pt x="130" y="285"/>
                  </a:lnTo>
                  <a:lnTo>
                    <a:pt x="104" y="294"/>
                  </a:lnTo>
                  <a:lnTo>
                    <a:pt x="95" y="292"/>
                  </a:lnTo>
                  <a:lnTo>
                    <a:pt x="75" y="298"/>
                  </a:lnTo>
                  <a:lnTo>
                    <a:pt x="52" y="304"/>
                  </a:lnTo>
                  <a:lnTo>
                    <a:pt x="32" y="311"/>
                  </a:lnTo>
                  <a:lnTo>
                    <a:pt x="0" y="317"/>
                  </a:lnTo>
                  <a:lnTo>
                    <a:pt x="1" y="313"/>
                  </a:lnTo>
                  <a:lnTo>
                    <a:pt x="28" y="304"/>
                  </a:lnTo>
                  <a:lnTo>
                    <a:pt x="49" y="298"/>
                  </a:lnTo>
                  <a:lnTo>
                    <a:pt x="77" y="287"/>
                  </a:lnTo>
                  <a:lnTo>
                    <a:pt x="98" y="285"/>
                  </a:lnTo>
                  <a:lnTo>
                    <a:pt x="114" y="277"/>
                  </a:lnTo>
                  <a:lnTo>
                    <a:pt x="148" y="265"/>
                  </a:lnTo>
                  <a:lnTo>
                    <a:pt x="155" y="261"/>
                  </a:lnTo>
                  <a:lnTo>
                    <a:pt x="174" y="254"/>
                  </a:lnTo>
                  <a:lnTo>
                    <a:pt x="192" y="239"/>
                  </a:lnTo>
                  <a:lnTo>
                    <a:pt x="213" y="228"/>
                  </a:lnTo>
                  <a:lnTo>
                    <a:pt x="189" y="234"/>
                  </a:lnTo>
                  <a:lnTo>
                    <a:pt x="188" y="231"/>
                  </a:lnTo>
                  <a:lnTo>
                    <a:pt x="172" y="238"/>
                  </a:lnTo>
                  <a:lnTo>
                    <a:pt x="173" y="228"/>
                  </a:lnTo>
                  <a:lnTo>
                    <a:pt x="161" y="235"/>
                  </a:lnTo>
                  <a:lnTo>
                    <a:pt x="167" y="225"/>
                  </a:lnTo>
                  <a:lnTo>
                    <a:pt x="143" y="233"/>
                  </a:lnTo>
                  <a:lnTo>
                    <a:pt x="134" y="233"/>
                  </a:lnTo>
                  <a:lnTo>
                    <a:pt x="146" y="221"/>
                  </a:lnTo>
                  <a:lnTo>
                    <a:pt x="157" y="214"/>
                  </a:lnTo>
                  <a:lnTo>
                    <a:pt x="156" y="207"/>
                  </a:lnTo>
                  <a:lnTo>
                    <a:pt x="132" y="211"/>
                  </a:lnTo>
                  <a:lnTo>
                    <a:pt x="131" y="202"/>
                  </a:lnTo>
                  <a:lnTo>
                    <a:pt x="126" y="197"/>
                  </a:lnTo>
                  <a:lnTo>
                    <a:pt x="139" y="186"/>
                  </a:lnTo>
                  <a:lnTo>
                    <a:pt x="138" y="178"/>
                  </a:lnTo>
                  <a:lnTo>
                    <a:pt x="158" y="167"/>
                  </a:lnTo>
                  <a:lnTo>
                    <a:pt x="183" y="157"/>
                  </a:lnTo>
                  <a:lnTo>
                    <a:pt x="201" y="147"/>
                  </a:lnTo>
                  <a:lnTo>
                    <a:pt x="214" y="146"/>
                  </a:lnTo>
                  <a:lnTo>
                    <a:pt x="220" y="149"/>
                  </a:lnTo>
                  <a:lnTo>
                    <a:pt x="243" y="140"/>
                  </a:lnTo>
                  <a:lnTo>
                    <a:pt x="252" y="142"/>
                  </a:lnTo>
                  <a:lnTo>
                    <a:pt x="270" y="136"/>
                  </a:lnTo>
                  <a:lnTo>
                    <a:pt x="279" y="127"/>
                  </a:lnTo>
                  <a:lnTo>
                    <a:pt x="275" y="124"/>
                  </a:lnTo>
                  <a:lnTo>
                    <a:pt x="295" y="117"/>
                  </a:lnTo>
                  <a:lnTo>
                    <a:pt x="286" y="117"/>
                  </a:lnTo>
                  <a:lnTo>
                    <a:pt x="266" y="121"/>
                  </a:lnTo>
                  <a:lnTo>
                    <a:pt x="256" y="125"/>
                  </a:lnTo>
                  <a:lnTo>
                    <a:pt x="251" y="121"/>
                  </a:lnTo>
                  <a:lnTo>
                    <a:pt x="228" y="123"/>
                  </a:lnTo>
                  <a:lnTo>
                    <a:pt x="213" y="119"/>
                  </a:lnTo>
                  <a:lnTo>
                    <a:pt x="218" y="111"/>
                  </a:lnTo>
                  <a:lnTo>
                    <a:pt x="215" y="101"/>
                  </a:lnTo>
                  <a:lnTo>
                    <a:pt x="246" y="93"/>
                  </a:lnTo>
                  <a:lnTo>
                    <a:pt x="289" y="84"/>
                  </a:lnTo>
                  <a:lnTo>
                    <a:pt x="300" y="84"/>
                  </a:lnTo>
                  <a:lnTo>
                    <a:pt x="286" y="93"/>
                  </a:lnTo>
                  <a:lnTo>
                    <a:pt x="316" y="92"/>
                  </a:lnTo>
                  <a:lnTo>
                    <a:pt x="320" y="81"/>
                  </a:lnTo>
                  <a:lnTo>
                    <a:pt x="313" y="74"/>
                  </a:lnTo>
                  <a:lnTo>
                    <a:pt x="317" y="65"/>
                  </a:lnTo>
                  <a:lnTo>
                    <a:pt x="315" y="58"/>
                  </a:lnTo>
                  <a:lnTo>
                    <a:pt x="305" y="52"/>
                  </a:lnTo>
                  <a:lnTo>
                    <a:pt x="327" y="43"/>
                  </a:lnTo>
                  <a:lnTo>
                    <a:pt x="351" y="42"/>
                  </a:lnTo>
                  <a:lnTo>
                    <a:pt x="380" y="34"/>
                  </a:lnTo>
                  <a:lnTo>
                    <a:pt x="397" y="26"/>
                  </a:lnTo>
                  <a:lnTo>
                    <a:pt x="423" y="18"/>
                  </a:lnTo>
                  <a:lnTo>
                    <a:pt x="439" y="16"/>
                  </a:lnTo>
                  <a:lnTo>
                    <a:pt x="475" y="8"/>
                  </a:lnTo>
                  <a:lnTo>
                    <a:pt x="485" y="9"/>
                  </a:lnTo>
                  <a:lnTo>
                    <a:pt x="519" y="0"/>
                  </a:lnTo>
                  <a:lnTo>
                    <a:pt x="533" y="4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52" name="Freeform 205">
              <a:extLst>
                <a:ext uri="{FF2B5EF4-FFF2-40B4-BE49-F238E27FC236}">
                  <a16:creationId xmlns:a16="http://schemas.microsoft.com/office/drawing/2014/main" id="{BB7178DA-DA4E-4E50-9D64-0AA6D764A0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0149" y="1544192"/>
              <a:ext cx="1303763" cy="652533"/>
            </a:xfrm>
            <a:custGeom>
              <a:avLst/>
              <a:gdLst>
                <a:gd name="T0" fmla="*/ 595 w 1001"/>
                <a:gd name="T1" fmla="*/ 16 h 501"/>
                <a:gd name="T2" fmla="*/ 655 w 1001"/>
                <a:gd name="T3" fmla="*/ 28 h 501"/>
                <a:gd name="T4" fmla="*/ 701 w 1001"/>
                <a:gd name="T5" fmla="*/ 38 h 501"/>
                <a:gd name="T6" fmla="*/ 724 w 1001"/>
                <a:gd name="T7" fmla="*/ 58 h 501"/>
                <a:gd name="T8" fmla="*/ 729 w 1001"/>
                <a:gd name="T9" fmla="*/ 64 h 501"/>
                <a:gd name="T10" fmla="*/ 733 w 1001"/>
                <a:gd name="T11" fmla="*/ 73 h 501"/>
                <a:gd name="T12" fmla="*/ 730 w 1001"/>
                <a:gd name="T13" fmla="*/ 131 h 501"/>
                <a:gd name="T14" fmla="*/ 712 w 1001"/>
                <a:gd name="T15" fmla="*/ 155 h 501"/>
                <a:gd name="T16" fmla="*/ 762 w 1001"/>
                <a:gd name="T17" fmla="*/ 144 h 501"/>
                <a:gd name="T18" fmla="*/ 788 w 1001"/>
                <a:gd name="T19" fmla="*/ 121 h 501"/>
                <a:gd name="T20" fmla="*/ 836 w 1001"/>
                <a:gd name="T21" fmla="*/ 110 h 501"/>
                <a:gd name="T22" fmla="*/ 896 w 1001"/>
                <a:gd name="T23" fmla="*/ 90 h 501"/>
                <a:gd name="T24" fmla="*/ 943 w 1001"/>
                <a:gd name="T25" fmla="*/ 80 h 501"/>
                <a:gd name="T26" fmla="*/ 984 w 1001"/>
                <a:gd name="T27" fmla="*/ 45 h 501"/>
                <a:gd name="T28" fmla="*/ 999 w 1001"/>
                <a:gd name="T29" fmla="*/ 87 h 501"/>
                <a:gd name="T30" fmla="*/ 940 w 1001"/>
                <a:gd name="T31" fmla="*/ 117 h 501"/>
                <a:gd name="T32" fmla="*/ 922 w 1001"/>
                <a:gd name="T33" fmla="*/ 155 h 501"/>
                <a:gd name="T34" fmla="*/ 930 w 1001"/>
                <a:gd name="T35" fmla="*/ 159 h 501"/>
                <a:gd name="T36" fmla="*/ 888 w 1001"/>
                <a:gd name="T37" fmla="*/ 166 h 501"/>
                <a:gd name="T38" fmla="*/ 892 w 1001"/>
                <a:gd name="T39" fmla="*/ 173 h 501"/>
                <a:gd name="T40" fmla="*/ 850 w 1001"/>
                <a:gd name="T41" fmla="*/ 183 h 501"/>
                <a:gd name="T42" fmla="*/ 830 w 1001"/>
                <a:gd name="T43" fmla="*/ 209 h 501"/>
                <a:gd name="T44" fmla="*/ 826 w 1001"/>
                <a:gd name="T45" fmla="*/ 217 h 501"/>
                <a:gd name="T46" fmla="*/ 801 w 1001"/>
                <a:gd name="T47" fmla="*/ 249 h 501"/>
                <a:gd name="T48" fmla="*/ 801 w 1001"/>
                <a:gd name="T49" fmla="*/ 219 h 501"/>
                <a:gd name="T50" fmla="*/ 796 w 1001"/>
                <a:gd name="T51" fmla="*/ 255 h 501"/>
                <a:gd name="T52" fmla="*/ 782 w 1001"/>
                <a:gd name="T53" fmla="*/ 300 h 501"/>
                <a:gd name="T54" fmla="*/ 729 w 1001"/>
                <a:gd name="T55" fmla="*/ 327 h 501"/>
                <a:gd name="T56" fmla="*/ 679 w 1001"/>
                <a:gd name="T57" fmla="*/ 369 h 501"/>
                <a:gd name="T58" fmla="*/ 680 w 1001"/>
                <a:gd name="T59" fmla="*/ 431 h 501"/>
                <a:gd name="T60" fmla="*/ 676 w 1001"/>
                <a:gd name="T61" fmla="*/ 486 h 501"/>
                <a:gd name="T62" fmla="*/ 654 w 1001"/>
                <a:gd name="T63" fmla="*/ 490 h 501"/>
                <a:gd name="T64" fmla="*/ 636 w 1001"/>
                <a:gd name="T65" fmla="*/ 443 h 501"/>
                <a:gd name="T66" fmla="*/ 624 w 1001"/>
                <a:gd name="T67" fmla="*/ 397 h 501"/>
                <a:gd name="T68" fmla="*/ 585 w 1001"/>
                <a:gd name="T69" fmla="*/ 391 h 501"/>
                <a:gd name="T70" fmla="*/ 528 w 1001"/>
                <a:gd name="T71" fmla="*/ 396 h 501"/>
                <a:gd name="T72" fmla="*/ 526 w 1001"/>
                <a:gd name="T73" fmla="*/ 417 h 501"/>
                <a:gd name="T74" fmla="*/ 489 w 1001"/>
                <a:gd name="T75" fmla="*/ 406 h 501"/>
                <a:gd name="T76" fmla="*/ 434 w 1001"/>
                <a:gd name="T77" fmla="*/ 410 h 501"/>
                <a:gd name="T78" fmla="*/ 376 w 1001"/>
                <a:gd name="T79" fmla="*/ 454 h 501"/>
                <a:gd name="T80" fmla="*/ 366 w 1001"/>
                <a:gd name="T81" fmla="*/ 486 h 501"/>
                <a:gd name="T82" fmla="*/ 339 w 1001"/>
                <a:gd name="T83" fmla="*/ 450 h 501"/>
                <a:gd name="T84" fmla="*/ 313 w 1001"/>
                <a:gd name="T85" fmla="*/ 404 h 501"/>
                <a:gd name="T86" fmla="*/ 262 w 1001"/>
                <a:gd name="T87" fmla="*/ 408 h 501"/>
                <a:gd name="T88" fmla="*/ 244 w 1001"/>
                <a:gd name="T89" fmla="*/ 370 h 501"/>
                <a:gd name="T90" fmla="*/ 193 w 1001"/>
                <a:gd name="T91" fmla="*/ 371 h 501"/>
                <a:gd name="T92" fmla="*/ 102 w 1001"/>
                <a:gd name="T93" fmla="*/ 343 h 501"/>
                <a:gd name="T94" fmla="*/ 53 w 1001"/>
                <a:gd name="T95" fmla="*/ 324 h 501"/>
                <a:gd name="T96" fmla="*/ 33 w 1001"/>
                <a:gd name="T97" fmla="*/ 309 h 501"/>
                <a:gd name="T98" fmla="*/ 8 w 1001"/>
                <a:gd name="T99" fmla="*/ 272 h 501"/>
                <a:gd name="T100" fmla="*/ 0 w 1001"/>
                <a:gd name="T101" fmla="*/ 214 h 501"/>
                <a:gd name="T102" fmla="*/ 23 w 1001"/>
                <a:gd name="T103" fmla="*/ 151 h 501"/>
                <a:gd name="T104" fmla="*/ 69 w 1001"/>
                <a:gd name="T105" fmla="*/ 79 h 501"/>
                <a:gd name="T106" fmla="*/ 94 w 1001"/>
                <a:gd name="T107" fmla="*/ 21 h 501"/>
                <a:gd name="T108" fmla="*/ 124 w 1001"/>
                <a:gd name="T109" fmla="*/ 25 h 501"/>
                <a:gd name="T110" fmla="*/ 239 w 1001"/>
                <a:gd name="T111" fmla="*/ 8 h 501"/>
                <a:gd name="T112" fmla="*/ 432 w 1001"/>
                <a:gd name="T113" fmla="*/ 8 h 501"/>
                <a:gd name="T114" fmla="*/ 579 w 1001"/>
                <a:gd name="T115" fmla="*/ 0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001" h="501">
                  <a:moveTo>
                    <a:pt x="584" y="0"/>
                  </a:moveTo>
                  <a:lnTo>
                    <a:pt x="582" y="11"/>
                  </a:lnTo>
                  <a:lnTo>
                    <a:pt x="585" y="15"/>
                  </a:lnTo>
                  <a:lnTo>
                    <a:pt x="595" y="16"/>
                  </a:lnTo>
                  <a:lnTo>
                    <a:pt x="610" y="19"/>
                  </a:lnTo>
                  <a:lnTo>
                    <a:pt x="623" y="26"/>
                  </a:lnTo>
                  <a:lnTo>
                    <a:pt x="637" y="23"/>
                  </a:lnTo>
                  <a:lnTo>
                    <a:pt x="655" y="28"/>
                  </a:lnTo>
                  <a:lnTo>
                    <a:pt x="660" y="28"/>
                  </a:lnTo>
                  <a:lnTo>
                    <a:pt x="677" y="22"/>
                  </a:lnTo>
                  <a:lnTo>
                    <a:pt x="689" y="30"/>
                  </a:lnTo>
                  <a:lnTo>
                    <a:pt x="701" y="38"/>
                  </a:lnTo>
                  <a:lnTo>
                    <a:pt x="711" y="44"/>
                  </a:lnTo>
                  <a:lnTo>
                    <a:pt x="721" y="51"/>
                  </a:lnTo>
                  <a:lnTo>
                    <a:pt x="721" y="56"/>
                  </a:lnTo>
                  <a:lnTo>
                    <a:pt x="724" y="58"/>
                  </a:lnTo>
                  <a:lnTo>
                    <a:pt x="722" y="60"/>
                  </a:lnTo>
                  <a:lnTo>
                    <a:pt x="726" y="61"/>
                  </a:lnTo>
                  <a:lnTo>
                    <a:pt x="730" y="59"/>
                  </a:lnTo>
                  <a:lnTo>
                    <a:pt x="729" y="64"/>
                  </a:lnTo>
                  <a:lnTo>
                    <a:pt x="731" y="67"/>
                  </a:lnTo>
                  <a:lnTo>
                    <a:pt x="735" y="67"/>
                  </a:lnTo>
                  <a:lnTo>
                    <a:pt x="737" y="69"/>
                  </a:lnTo>
                  <a:lnTo>
                    <a:pt x="733" y="73"/>
                  </a:lnTo>
                  <a:lnTo>
                    <a:pt x="747" y="83"/>
                  </a:lnTo>
                  <a:lnTo>
                    <a:pt x="743" y="101"/>
                  </a:lnTo>
                  <a:lnTo>
                    <a:pt x="739" y="119"/>
                  </a:lnTo>
                  <a:lnTo>
                    <a:pt x="730" y="131"/>
                  </a:lnTo>
                  <a:lnTo>
                    <a:pt x="718" y="142"/>
                  </a:lnTo>
                  <a:lnTo>
                    <a:pt x="712" y="150"/>
                  </a:lnTo>
                  <a:lnTo>
                    <a:pt x="711" y="152"/>
                  </a:lnTo>
                  <a:lnTo>
                    <a:pt x="712" y="155"/>
                  </a:lnTo>
                  <a:lnTo>
                    <a:pt x="716" y="158"/>
                  </a:lnTo>
                  <a:lnTo>
                    <a:pt x="720" y="158"/>
                  </a:lnTo>
                  <a:lnTo>
                    <a:pt x="744" y="147"/>
                  </a:lnTo>
                  <a:lnTo>
                    <a:pt x="762" y="144"/>
                  </a:lnTo>
                  <a:lnTo>
                    <a:pt x="788" y="133"/>
                  </a:lnTo>
                  <a:lnTo>
                    <a:pt x="789" y="132"/>
                  </a:lnTo>
                  <a:lnTo>
                    <a:pt x="789" y="125"/>
                  </a:lnTo>
                  <a:lnTo>
                    <a:pt x="788" y="121"/>
                  </a:lnTo>
                  <a:lnTo>
                    <a:pt x="797" y="118"/>
                  </a:lnTo>
                  <a:lnTo>
                    <a:pt x="813" y="118"/>
                  </a:lnTo>
                  <a:lnTo>
                    <a:pt x="828" y="118"/>
                  </a:lnTo>
                  <a:lnTo>
                    <a:pt x="836" y="110"/>
                  </a:lnTo>
                  <a:lnTo>
                    <a:pt x="839" y="108"/>
                  </a:lnTo>
                  <a:lnTo>
                    <a:pt x="862" y="93"/>
                  </a:lnTo>
                  <a:lnTo>
                    <a:pt x="870" y="90"/>
                  </a:lnTo>
                  <a:lnTo>
                    <a:pt x="896" y="90"/>
                  </a:lnTo>
                  <a:lnTo>
                    <a:pt x="926" y="90"/>
                  </a:lnTo>
                  <a:lnTo>
                    <a:pt x="929" y="84"/>
                  </a:lnTo>
                  <a:lnTo>
                    <a:pt x="935" y="83"/>
                  </a:lnTo>
                  <a:lnTo>
                    <a:pt x="943" y="80"/>
                  </a:lnTo>
                  <a:lnTo>
                    <a:pt x="952" y="71"/>
                  </a:lnTo>
                  <a:lnTo>
                    <a:pt x="962" y="55"/>
                  </a:lnTo>
                  <a:lnTo>
                    <a:pt x="980" y="40"/>
                  </a:lnTo>
                  <a:lnTo>
                    <a:pt x="984" y="45"/>
                  </a:lnTo>
                  <a:lnTo>
                    <a:pt x="996" y="42"/>
                  </a:lnTo>
                  <a:lnTo>
                    <a:pt x="1001" y="48"/>
                  </a:lnTo>
                  <a:lnTo>
                    <a:pt x="992" y="75"/>
                  </a:lnTo>
                  <a:lnTo>
                    <a:pt x="999" y="87"/>
                  </a:lnTo>
                  <a:lnTo>
                    <a:pt x="999" y="94"/>
                  </a:lnTo>
                  <a:lnTo>
                    <a:pt x="979" y="103"/>
                  </a:lnTo>
                  <a:lnTo>
                    <a:pt x="959" y="111"/>
                  </a:lnTo>
                  <a:lnTo>
                    <a:pt x="940" y="117"/>
                  </a:lnTo>
                  <a:lnTo>
                    <a:pt x="927" y="129"/>
                  </a:lnTo>
                  <a:lnTo>
                    <a:pt x="923" y="133"/>
                  </a:lnTo>
                  <a:lnTo>
                    <a:pt x="920" y="144"/>
                  </a:lnTo>
                  <a:lnTo>
                    <a:pt x="922" y="155"/>
                  </a:lnTo>
                  <a:lnTo>
                    <a:pt x="929" y="156"/>
                  </a:lnTo>
                  <a:lnTo>
                    <a:pt x="929" y="148"/>
                  </a:lnTo>
                  <a:lnTo>
                    <a:pt x="933" y="153"/>
                  </a:lnTo>
                  <a:lnTo>
                    <a:pt x="930" y="159"/>
                  </a:lnTo>
                  <a:lnTo>
                    <a:pt x="917" y="162"/>
                  </a:lnTo>
                  <a:lnTo>
                    <a:pt x="909" y="162"/>
                  </a:lnTo>
                  <a:lnTo>
                    <a:pt x="896" y="165"/>
                  </a:lnTo>
                  <a:lnTo>
                    <a:pt x="888" y="166"/>
                  </a:lnTo>
                  <a:lnTo>
                    <a:pt x="878" y="167"/>
                  </a:lnTo>
                  <a:lnTo>
                    <a:pt x="862" y="173"/>
                  </a:lnTo>
                  <a:lnTo>
                    <a:pt x="888" y="169"/>
                  </a:lnTo>
                  <a:lnTo>
                    <a:pt x="892" y="173"/>
                  </a:lnTo>
                  <a:lnTo>
                    <a:pt x="867" y="179"/>
                  </a:lnTo>
                  <a:lnTo>
                    <a:pt x="856" y="179"/>
                  </a:lnTo>
                  <a:lnTo>
                    <a:pt x="857" y="177"/>
                  </a:lnTo>
                  <a:lnTo>
                    <a:pt x="850" y="183"/>
                  </a:lnTo>
                  <a:lnTo>
                    <a:pt x="855" y="183"/>
                  </a:lnTo>
                  <a:lnTo>
                    <a:pt x="847" y="198"/>
                  </a:lnTo>
                  <a:lnTo>
                    <a:pt x="830" y="214"/>
                  </a:lnTo>
                  <a:lnTo>
                    <a:pt x="830" y="209"/>
                  </a:lnTo>
                  <a:lnTo>
                    <a:pt x="827" y="208"/>
                  </a:lnTo>
                  <a:lnTo>
                    <a:pt x="823" y="203"/>
                  </a:lnTo>
                  <a:lnTo>
                    <a:pt x="823" y="214"/>
                  </a:lnTo>
                  <a:lnTo>
                    <a:pt x="826" y="217"/>
                  </a:lnTo>
                  <a:lnTo>
                    <a:pt x="824" y="225"/>
                  </a:lnTo>
                  <a:lnTo>
                    <a:pt x="817" y="233"/>
                  </a:lnTo>
                  <a:lnTo>
                    <a:pt x="802" y="250"/>
                  </a:lnTo>
                  <a:lnTo>
                    <a:pt x="801" y="249"/>
                  </a:lnTo>
                  <a:lnTo>
                    <a:pt x="810" y="235"/>
                  </a:lnTo>
                  <a:lnTo>
                    <a:pt x="804" y="227"/>
                  </a:lnTo>
                  <a:lnTo>
                    <a:pt x="807" y="210"/>
                  </a:lnTo>
                  <a:lnTo>
                    <a:pt x="801" y="219"/>
                  </a:lnTo>
                  <a:lnTo>
                    <a:pt x="801" y="232"/>
                  </a:lnTo>
                  <a:lnTo>
                    <a:pt x="791" y="229"/>
                  </a:lnTo>
                  <a:lnTo>
                    <a:pt x="800" y="235"/>
                  </a:lnTo>
                  <a:lnTo>
                    <a:pt x="796" y="255"/>
                  </a:lnTo>
                  <a:lnTo>
                    <a:pt x="800" y="256"/>
                  </a:lnTo>
                  <a:lnTo>
                    <a:pt x="800" y="264"/>
                  </a:lnTo>
                  <a:lnTo>
                    <a:pt x="797" y="284"/>
                  </a:lnTo>
                  <a:lnTo>
                    <a:pt x="782" y="300"/>
                  </a:lnTo>
                  <a:lnTo>
                    <a:pt x="763" y="306"/>
                  </a:lnTo>
                  <a:lnTo>
                    <a:pt x="748" y="318"/>
                  </a:lnTo>
                  <a:lnTo>
                    <a:pt x="739" y="319"/>
                  </a:lnTo>
                  <a:lnTo>
                    <a:pt x="729" y="327"/>
                  </a:lnTo>
                  <a:lnTo>
                    <a:pt x="725" y="334"/>
                  </a:lnTo>
                  <a:lnTo>
                    <a:pt x="702" y="347"/>
                  </a:lnTo>
                  <a:lnTo>
                    <a:pt x="690" y="357"/>
                  </a:lnTo>
                  <a:lnTo>
                    <a:pt x="679" y="369"/>
                  </a:lnTo>
                  <a:lnTo>
                    <a:pt x="673" y="384"/>
                  </a:lnTo>
                  <a:lnTo>
                    <a:pt x="673" y="398"/>
                  </a:lnTo>
                  <a:lnTo>
                    <a:pt x="675" y="416"/>
                  </a:lnTo>
                  <a:lnTo>
                    <a:pt x="680" y="431"/>
                  </a:lnTo>
                  <a:lnTo>
                    <a:pt x="678" y="440"/>
                  </a:lnTo>
                  <a:lnTo>
                    <a:pt x="682" y="464"/>
                  </a:lnTo>
                  <a:lnTo>
                    <a:pt x="679" y="478"/>
                  </a:lnTo>
                  <a:lnTo>
                    <a:pt x="676" y="486"/>
                  </a:lnTo>
                  <a:lnTo>
                    <a:pt x="670" y="499"/>
                  </a:lnTo>
                  <a:lnTo>
                    <a:pt x="664" y="501"/>
                  </a:lnTo>
                  <a:lnTo>
                    <a:pt x="656" y="499"/>
                  </a:lnTo>
                  <a:lnTo>
                    <a:pt x="654" y="490"/>
                  </a:lnTo>
                  <a:lnTo>
                    <a:pt x="648" y="485"/>
                  </a:lnTo>
                  <a:lnTo>
                    <a:pt x="642" y="467"/>
                  </a:lnTo>
                  <a:lnTo>
                    <a:pt x="637" y="451"/>
                  </a:lnTo>
                  <a:lnTo>
                    <a:pt x="636" y="443"/>
                  </a:lnTo>
                  <a:lnTo>
                    <a:pt x="643" y="429"/>
                  </a:lnTo>
                  <a:lnTo>
                    <a:pt x="640" y="418"/>
                  </a:lnTo>
                  <a:lnTo>
                    <a:pt x="630" y="401"/>
                  </a:lnTo>
                  <a:lnTo>
                    <a:pt x="624" y="397"/>
                  </a:lnTo>
                  <a:lnTo>
                    <a:pt x="604" y="407"/>
                  </a:lnTo>
                  <a:lnTo>
                    <a:pt x="601" y="406"/>
                  </a:lnTo>
                  <a:lnTo>
                    <a:pt x="595" y="396"/>
                  </a:lnTo>
                  <a:lnTo>
                    <a:pt x="585" y="391"/>
                  </a:lnTo>
                  <a:lnTo>
                    <a:pt x="564" y="394"/>
                  </a:lnTo>
                  <a:lnTo>
                    <a:pt x="549" y="391"/>
                  </a:lnTo>
                  <a:lnTo>
                    <a:pt x="536" y="393"/>
                  </a:lnTo>
                  <a:lnTo>
                    <a:pt x="528" y="396"/>
                  </a:lnTo>
                  <a:lnTo>
                    <a:pt x="529" y="401"/>
                  </a:lnTo>
                  <a:lnTo>
                    <a:pt x="527" y="410"/>
                  </a:lnTo>
                  <a:lnTo>
                    <a:pt x="530" y="414"/>
                  </a:lnTo>
                  <a:lnTo>
                    <a:pt x="526" y="417"/>
                  </a:lnTo>
                  <a:lnTo>
                    <a:pt x="520" y="414"/>
                  </a:lnTo>
                  <a:lnTo>
                    <a:pt x="512" y="417"/>
                  </a:lnTo>
                  <a:lnTo>
                    <a:pt x="500" y="417"/>
                  </a:lnTo>
                  <a:lnTo>
                    <a:pt x="489" y="406"/>
                  </a:lnTo>
                  <a:lnTo>
                    <a:pt x="473" y="408"/>
                  </a:lnTo>
                  <a:lnTo>
                    <a:pt x="462" y="404"/>
                  </a:lnTo>
                  <a:lnTo>
                    <a:pt x="450" y="405"/>
                  </a:lnTo>
                  <a:lnTo>
                    <a:pt x="434" y="410"/>
                  </a:lnTo>
                  <a:lnTo>
                    <a:pt x="415" y="426"/>
                  </a:lnTo>
                  <a:lnTo>
                    <a:pt x="395" y="434"/>
                  </a:lnTo>
                  <a:lnTo>
                    <a:pt x="383" y="444"/>
                  </a:lnTo>
                  <a:lnTo>
                    <a:pt x="376" y="454"/>
                  </a:lnTo>
                  <a:lnTo>
                    <a:pt x="373" y="468"/>
                  </a:lnTo>
                  <a:lnTo>
                    <a:pt x="372" y="478"/>
                  </a:lnTo>
                  <a:lnTo>
                    <a:pt x="374" y="485"/>
                  </a:lnTo>
                  <a:lnTo>
                    <a:pt x="366" y="486"/>
                  </a:lnTo>
                  <a:lnTo>
                    <a:pt x="355" y="481"/>
                  </a:lnTo>
                  <a:lnTo>
                    <a:pt x="342" y="475"/>
                  </a:lnTo>
                  <a:lnTo>
                    <a:pt x="340" y="465"/>
                  </a:lnTo>
                  <a:lnTo>
                    <a:pt x="339" y="450"/>
                  </a:lnTo>
                  <a:lnTo>
                    <a:pt x="332" y="438"/>
                  </a:lnTo>
                  <a:lnTo>
                    <a:pt x="328" y="426"/>
                  </a:lnTo>
                  <a:lnTo>
                    <a:pt x="323" y="412"/>
                  </a:lnTo>
                  <a:lnTo>
                    <a:pt x="313" y="404"/>
                  </a:lnTo>
                  <a:lnTo>
                    <a:pt x="299" y="404"/>
                  </a:lnTo>
                  <a:lnTo>
                    <a:pt x="283" y="421"/>
                  </a:lnTo>
                  <a:lnTo>
                    <a:pt x="270" y="414"/>
                  </a:lnTo>
                  <a:lnTo>
                    <a:pt x="262" y="408"/>
                  </a:lnTo>
                  <a:lnTo>
                    <a:pt x="261" y="397"/>
                  </a:lnTo>
                  <a:lnTo>
                    <a:pt x="259" y="386"/>
                  </a:lnTo>
                  <a:lnTo>
                    <a:pt x="251" y="377"/>
                  </a:lnTo>
                  <a:lnTo>
                    <a:pt x="244" y="370"/>
                  </a:lnTo>
                  <a:lnTo>
                    <a:pt x="240" y="363"/>
                  </a:lnTo>
                  <a:lnTo>
                    <a:pt x="209" y="363"/>
                  </a:lnTo>
                  <a:lnTo>
                    <a:pt x="207" y="371"/>
                  </a:lnTo>
                  <a:lnTo>
                    <a:pt x="193" y="371"/>
                  </a:lnTo>
                  <a:lnTo>
                    <a:pt x="158" y="372"/>
                  </a:lnTo>
                  <a:lnTo>
                    <a:pt x="123" y="357"/>
                  </a:lnTo>
                  <a:lnTo>
                    <a:pt x="100" y="347"/>
                  </a:lnTo>
                  <a:lnTo>
                    <a:pt x="102" y="343"/>
                  </a:lnTo>
                  <a:lnTo>
                    <a:pt x="80" y="345"/>
                  </a:lnTo>
                  <a:lnTo>
                    <a:pt x="59" y="347"/>
                  </a:lnTo>
                  <a:lnTo>
                    <a:pt x="60" y="336"/>
                  </a:lnTo>
                  <a:lnTo>
                    <a:pt x="53" y="324"/>
                  </a:lnTo>
                  <a:lnTo>
                    <a:pt x="46" y="322"/>
                  </a:lnTo>
                  <a:lnTo>
                    <a:pt x="46" y="316"/>
                  </a:lnTo>
                  <a:lnTo>
                    <a:pt x="37" y="315"/>
                  </a:lnTo>
                  <a:lnTo>
                    <a:pt x="33" y="309"/>
                  </a:lnTo>
                  <a:lnTo>
                    <a:pt x="18" y="307"/>
                  </a:lnTo>
                  <a:lnTo>
                    <a:pt x="14" y="304"/>
                  </a:lnTo>
                  <a:lnTo>
                    <a:pt x="17" y="292"/>
                  </a:lnTo>
                  <a:lnTo>
                    <a:pt x="8" y="272"/>
                  </a:lnTo>
                  <a:lnTo>
                    <a:pt x="7" y="243"/>
                  </a:lnTo>
                  <a:lnTo>
                    <a:pt x="9" y="238"/>
                  </a:lnTo>
                  <a:lnTo>
                    <a:pt x="5" y="231"/>
                  </a:lnTo>
                  <a:lnTo>
                    <a:pt x="0" y="214"/>
                  </a:lnTo>
                  <a:lnTo>
                    <a:pt x="5" y="197"/>
                  </a:lnTo>
                  <a:lnTo>
                    <a:pt x="2" y="186"/>
                  </a:lnTo>
                  <a:lnTo>
                    <a:pt x="14" y="169"/>
                  </a:lnTo>
                  <a:lnTo>
                    <a:pt x="23" y="151"/>
                  </a:lnTo>
                  <a:lnTo>
                    <a:pt x="26" y="135"/>
                  </a:lnTo>
                  <a:lnTo>
                    <a:pt x="43" y="116"/>
                  </a:lnTo>
                  <a:lnTo>
                    <a:pt x="56" y="98"/>
                  </a:lnTo>
                  <a:lnTo>
                    <a:pt x="69" y="79"/>
                  </a:lnTo>
                  <a:lnTo>
                    <a:pt x="82" y="52"/>
                  </a:lnTo>
                  <a:lnTo>
                    <a:pt x="88" y="34"/>
                  </a:lnTo>
                  <a:lnTo>
                    <a:pt x="89" y="25"/>
                  </a:lnTo>
                  <a:lnTo>
                    <a:pt x="94" y="21"/>
                  </a:lnTo>
                  <a:lnTo>
                    <a:pt x="113" y="28"/>
                  </a:lnTo>
                  <a:lnTo>
                    <a:pt x="109" y="47"/>
                  </a:lnTo>
                  <a:lnTo>
                    <a:pt x="117" y="41"/>
                  </a:lnTo>
                  <a:lnTo>
                    <a:pt x="124" y="25"/>
                  </a:lnTo>
                  <a:lnTo>
                    <a:pt x="130" y="8"/>
                  </a:lnTo>
                  <a:lnTo>
                    <a:pt x="175" y="8"/>
                  </a:lnTo>
                  <a:lnTo>
                    <a:pt x="223" y="8"/>
                  </a:lnTo>
                  <a:lnTo>
                    <a:pt x="239" y="8"/>
                  </a:lnTo>
                  <a:lnTo>
                    <a:pt x="288" y="8"/>
                  </a:lnTo>
                  <a:lnTo>
                    <a:pt x="335" y="8"/>
                  </a:lnTo>
                  <a:lnTo>
                    <a:pt x="384" y="8"/>
                  </a:lnTo>
                  <a:lnTo>
                    <a:pt x="432" y="8"/>
                  </a:lnTo>
                  <a:lnTo>
                    <a:pt x="487" y="8"/>
                  </a:lnTo>
                  <a:lnTo>
                    <a:pt x="541" y="8"/>
                  </a:lnTo>
                  <a:lnTo>
                    <a:pt x="575" y="8"/>
                  </a:lnTo>
                  <a:lnTo>
                    <a:pt x="579" y="0"/>
                  </a:lnTo>
                  <a:lnTo>
                    <a:pt x="584" y="0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53" name="Freeform 206">
              <a:extLst>
                <a:ext uri="{FF2B5EF4-FFF2-40B4-BE49-F238E27FC236}">
                  <a16:creationId xmlns:a16="http://schemas.microsoft.com/office/drawing/2014/main" id="{C0620BD3-5CC4-4B11-9BAF-AB7F664A6E0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1392" y="1645784"/>
              <a:ext cx="403762" cy="225326"/>
            </a:xfrm>
            <a:custGeom>
              <a:avLst/>
              <a:gdLst>
                <a:gd name="T0" fmla="*/ 218 w 310"/>
                <a:gd name="T1" fmla="*/ 169 h 173"/>
                <a:gd name="T2" fmla="*/ 215 w 310"/>
                <a:gd name="T3" fmla="*/ 156 h 173"/>
                <a:gd name="T4" fmla="*/ 190 w 310"/>
                <a:gd name="T5" fmla="*/ 147 h 173"/>
                <a:gd name="T6" fmla="*/ 170 w 310"/>
                <a:gd name="T7" fmla="*/ 137 h 173"/>
                <a:gd name="T8" fmla="*/ 157 w 310"/>
                <a:gd name="T9" fmla="*/ 127 h 173"/>
                <a:gd name="T10" fmla="*/ 134 w 310"/>
                <a:gd name="T11" fmla="*/ 113 h 173"/>
                <a:gd name="T12" fmla="*/ 120 w 310"/>
                <a:gd name="T13" fmla="*/ 92 h 173"/>
                <a:gd name="T14" fmla="*/ 114 w 310"/>
                <a:gd name="T15" fmla="*/ 88 h 173"/>
                <a:gd name="T16" fmla="*/ 96 w 310"/>
                <a:gd name="T17" fmla="*/ 89 h 173"/>
                <a:gd name="T18" fmla="*/ 88 w 310"/>
                <a:gd name="T19" fmla="*/ 85 h 173"/>
                <a:gd name="T20" fmla="*/ 82 w 310"/>
                <a:gd name="T21" fmla="*/ 69 h 173"/>
                <a:gd name="T22" fmla="*/ 57 w 310"/>
                <a:gd name="T23" fmla="*/ 58 h 173"/>
                <a:gd name="T24" fmla="*/ 46 w 310"/>
                <a:gd name="T25" fmla="*/ 70 h 173"/>
                <a:gd name="T26" fmla="*/ 33 w 310"/>
                <a:gd name="T27" fmla="*/ 77 h 173"/>
                <a:gd name="T28" fmla="*/ 39 w 310"/>
                <a:gd name="T29" fmla="*/ 87 h 173"/>
                <a:gd name="T30" fmla="*/ 20 w 310"/>
                <a:gd name="T31" fmla="*/ 87 h 173"/>
                <a:gd name="T32" fmla="*/ 0 w 310"/>
                <a:gd name="T33" fmla="*/ 12 h 173"/>
                <a:gd name="T34" fmla="*/ 39 w 310"/>
                <a:gd name="T35" fmla="*/ 0 h 173"/>
                <a:gd name="T36" fmla="*/ 43 w 310"/>
                <a:gd name="T37" fmla="*/ 2 h 173"/>
                <a:gd name="T38" fmla="*/ 73 w 310"/>
                <a:gd name="T39" fmla="*/ 16 h 173"/>
                <a:gd name="T40" fmla="*/ 88 w 310"/>
                <a:gd name="T41" fmla="*/ 24 h 173"/>
                <a:gd name="T42" fmla="*/ 109 w 310"/>
                <a:gd name="T43" fmla="*/ 42 h 173"/>
                <a:gd name="T44" fmla="*/ 128 w 310"/>
                <a:gd name="T45" fmla="*/ 39 h 173"/>
                <a:gd name="T46" fmla="*/ 156 w 310"/>
                <a:gd name="T47" fmla="*/ 38 h 173"/>
                <a:gd name="T48" fmla="*/ 180 w 310"/>
                <a:gd name="T49" fmla="*/ 53 h 173"/>
                <a:gd name="T50" fmla="*/ 185 w 310"/>
                <a:gd name="T51" fmla="*/ 73 h 173"/>
                <a:gd name="T52" fmla="*/ 193 w 310"/>
                <a:gd name="T53" fmla="*/ 74 h 173"/>
                <a:gd name="T54" fmla="*/ 201 w 310"/>
                <a:gd name="T55" fmla="*/ 90 h 173"/>
                <a:gd name="T56" fmla="*/ 223 w 310"/>
                <a:gd name="T57" fmla="*/ 91 h 173"/>
                <a:gd name="T58" fmla="*/ 230 w 310"/>
                <a:gd name="T59" fmla="*/ 101 h 173"/>
                <a:gd name="T60" fmla="*/ 236 w 310"/>
                <a:gd name="T61" fmla="*/ 101 h 173"/>
                <a:gd name="T62" fmla="*/ 240 w 310"/>
                <a:gd name="T63" fmla="*/ 86 h 173"/>
                <a:gd name="T64" fmla="*/ 257 w 310"/>
                <a:gd name="T65" fmla="*/ 72 h 173"/>
                <a:gd name="T66" fmla="*/ 266 w 310"/>
                <a:gd name="T67" fmla="*/ 68 h 173"/>
                <a:gd name="T68" fmla="*/ 271 w 310"/>
                <a:gd name="T69" fmla="*/ 70 h 173"/>
                <a:gd name="T70" fmla="*/ 261 w 310"/>
                <a:gd name="T71" fmla="*/ 83 h 173"/>
                <a:gd name="T72" fmla="*/ 276 w 310"/>
                <a:gd name="T73" fmla="*/ 91 h 173"/>
                <a:gd name="T74" fmla="*/ 286 w 310"/>
                <a:gd name="T75" fmla="*/ 86 h 173"/>
                <a:gd name="T76" fmla="*/ 310 w 310"/>
                <a:gd name="T77" fmla="*/ 96 h 173"/>
                <a:gd name="T78" fmla="*/ 292 w 310"/>
                <a:gd name="T79" fmla="*/ 111 h 173"/>
                <a:gd name="T80" fmla="*/ 279 w 310"/>
                <a:gd name="T81" fmla="*/ 109 h 173"/>
                <a:gd name="T82" fmla="*/ 272 w 310"/>
                <a:gd name="T83" fmla="*/ 110 h 173"/>
                <a:gd name="T84" fmla="*/ 268 w 310"/>
                <a:gd name="T85" fmla="*/ 104 h 173"/>
                <a:gd name="T86" fmla="*/ 269 w 310"/>
                <a:gd name="T87" fmla="*/ 94 h 173"/>
                <a:gd name="T88" fmla="*/ 248 w 310"/>
                <a:gd name="T89" fmla="*/ 99 h 173"/>
                <a:gd name="T90" fmla="*/ 246 w 310"/>
                <a:gd name="T91" fmla="*/ 113 h 173"/>
                <a:gd name="T92" fmla="*/ 241 w 310"/>
                <a:gd name="T93" fmla="*/ 124 h 173"/>
                <a:gd name="T94" fmla="*/ 227 w 310"/>
                <a:gd name="T95" fmla="*/ 123 h 173"/>
                <a:gd name="T96" fmla="*/ 225 w 310"/>
                <a:gd name="T97" fmla="*/ 132 h 173"/>
                <a:gd name="T98" fmla="*/ 238 w 310"/>
                <a:gd name="T99" fmla="*/ 137 h 173"/>
                <a:gd name="T100" fmla="*/ 246 w 310"/>
                <a:gd name="T101" fmla="*/ 152 h 173"/>
                <a:gd name="T102" fmla="*/ 241 w 310"/>
                <a:gd name="T103" fmla="*/ 173 h 173"/>
                <a:gd name="T104" fmla="*/ 228 w 310"/>
                <a:gd name="T105" fmla="*/ 169 h 173"/>
                <a:gd name="T106" fmla="*/ 218 w 310"/>
                <a:gd name="T107" fmla="*/ 169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10" h="173">
                  <a:moveTo>
                    <a:pt x="218" y="169"/>
                  </a:moveTo>
                  <a:lnTo>
                    <a:pt x="215" y="156"/>
                  </a:lnTo>
                  <a:lnTo>
                    <a:pt x="190" y="147"/>
                  </a:lnTo>
                  <a:lnTo>
                    <a:pt x="170" y="137"/>
                  </a:lnTo>
                  <a:lnTo>
                    <a:pt x="157" y="127"/>
                  </a:lnTo>
                  <a:lnTo>
                    <a:pt x="134" y="113"/>
                  </a:lnTo>
                  <a:lnTo>
                    <a:pt x="120" y="92"/>
                  </a:lnTo>
                  <a:lnTo>
                    <a:pt x="114" y="88"/>
                  </a:lnTo>
                  <a:lnTo>
                    <a:pt x="96" y="89"/>
                  </a:lnTo>
                  <a:lnTo>
                    <a:pt x="88" y="85"/>
                  </a:lnTo>
                  <a:lnTo>
                    <a:pt x="82" y="69"/>
                  </a:lnTo>
                  <a:lnTo>
                    <a:pt x="57" y="58"/>
                  </a:lnTo>
                  <a:lnTo>
                    <a:pt x="46" y="70"/>
                  </a:lnTo>
                  <a:lnTo>
                    <a:pt x="33" y="77"/>
                  </a:lnTo>
                  <a:lnTo>
                    <a:pt x="39" y="87"/>
                  </a:lnTo>
                  <a:lnTo>
                    <a:pt x="20" y="87"/>
                  </a:lnTo>
                  <a:lnTo>
                    <a:pt x="0" y="12"/>
                  </a:lnTo>
                  <a:lnTo>
                    <a:pt x="39" y="0"/>
                  </a:lnTo>
                  <a:lnTo>
                    <a:pt x="43" y="2"/>
                  </a:lnTo>
                  <a:lnTo>
                    <a:pt x="73" y="16"/>
                  </a:lnTo>
                  <a:lnTo>
                    <a:pt x="88" y="24"/>
                  </a:lnTo>
                  <a:lnTo>
                    <a:pt x="109" y="42"/>
                  </a:lnTo>
                  <a:lnTo>
                    <a:pt x="128" y="39"/>
                  </a:lnTo>
                  <a:lnTo>
                    <a:pt x="156" y="38"/>
                  </a:lnTo>
                  <a:lnTo>
                    <a:pt x="180" y="53"/>
                  </a:lnTo>
                  <a:lnTo>
                    <a:pt x="185" y="73"/>
                  </a:lnTo>
                  <a:lnTo>
                    <a:pt x="193" y="74"/>
                  </a:lnTo>
                  <a:lnTo>
                    <a:pt x="201" y="90"/>
                  </a:lnTo>
                  <a:lnTo>
                    <a:pt x="223" y="91"/>
                  </a:lnTo>
                  <a:lnTo>
                    <a:pt x="230" y="101"/>
                  </a:lnTo>
                  <a:lnTo>
                    <a:pt x="236" y="101"/>
                  </a:lnTo>
                  <a:lnTo>
                    <a:pt x="240" y="86"/>
                  </a:lnTo>
                  <a:lnTo>
                    <a:pt x="257" y="72"/>
                  </a:lnTo>
                  <a:lnTo>
                    <a:pt x="266" y="68"/>
                  </a:lnTo>
                  <a:lnTo>
                    <a:pt x="271" y="70"/>
                  </a:lnTo>
                  <a:lnTo>
                    <a:pt x="261" y="83"/>
                  </a:lnTo>
                  <a:lnTo>
                    <a:pt x="276" y="91"/>
                  </a:lnTo>
                  <a:lnTo>
                    <a:pt x="286" y="86"/>
                  </a:lnTo>
                  <a:lnTo>
                    <a:pt x="310" y="96"/>
                  </a:lnTo>
                  <a:lnTo>
                    <a:pt x="292" y="111"/>
                  </a:lnTo>
                  <a:lnTo>
                    <a:pt x="279" y="109"/>
                  </a:lnTo>
                  <a:lnTo>
                    <a:pt x="272" y="110"/>
                  </a:lnTo>
                  <a:lnTo>
                    <a:pt x="268" y="104"/>
                  </a:lnTo>
                  <a:lnTo>
                    <a:pt x="269" y="94"/>
                  </a:lnTo>
                  <a:lnTo>
                    <a:pt x="248" y="99"/>
                  </a:lnTo>
                  <a:lnTo>
                    <a:pt x="246" y="113"/>
                  </a:lnTo>
                  <a:lnTo>
                    <a:pt x="241" y="124"/>
                  </a:lnTo>
                  <a:lnTo>
                    <a:pt x="227" y="123"/>
                  </a:lnTo>
                  <a:lnTo>
                    <a:pt x="225" y="132"/>
                  </a:lnTo>
                  <a:lnTo>
                    <a:pt x="238" y="137"/>
                  </a:lnTo>
                  <a:lnTo>
                    <a:pt x="246" y="152"/>
                  </a:lnTo>
                  <a:lnTo>
                    <a:pt x="241" y="173"/>
                  </a:lnTo>
                  <a:lnTo>
                    <a:pt x="228" y="169"/>
                  </a:lnTo>
                  <a:lnTo>
                    <a:pt x="218" y="169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54" name="Freeform 207">
              <a:extLst>
                <a:ext uri="{FF2B5EF4-FFF2-40B4-BE49-F238E27FC236}">
                  <a16:creationId xmlns:a16="http://schemas.microsoft.com/office/drawing/2014/main" id="{D3E8009E-B999-4298-B375-ACCE1F4966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2623" y="2547086"/>
              <a:ext cx="323010" cy="308683"/>
            </a:xfrm>
            <a:custGeom>
              <a:avLst/>
              <a:gdLst>
                <a:gd name="T0" fmla="*/ 39 w 248"/>
                <a:gd name="T1" fmla="*/ 13 h 237"/>
                <a:gd name="T2" fmla="*/ 33 w 248"/>
                <a:gd name="T3" fmla="*/ 24 h 237"/>
                <a:gd name="T4" fmla="*/ 23 w 248"/>
                <a:gd name="T5" fmla="*/ 47 h 237"/>
                <a:gd name="T6" fmla="*/ 38 w 248"/>
                <a:gd name="T7" fmla="*/ 62 h 237"/>
                <a:gd name="T8" fmla="*/ 37 w 248"/>
                <a:gd name="T9" fmla="*/ 40 h 237"/>
                <a:gd name="T10" fmla="*/ 61 w 248"/>
                <a:gd name="T11" fmla="*/ 16 h 237"/>
                <a:gd name="T12" fmla="*/ 65 w 248"/>
                <a:gd name="T13" fmla="*/ 0 h 237"/>
                <a:gd name="T14" fmla="*/ 84 w 248"/>
                <a:gd name="T15" fmla="*/ 15 h 237"/>
                <a:gd name="T16" fmla="*/ 95 w 248"/>
                <a:gd name="T17" fmla="*/ 33 h 237"/>
                <a:gd name="T18" fmla="*/ 131 w 248"/>
                <a:gd name="T19" fmla="*/ 31 h 237"/>
                <a:gd name="T20" fmla="*/ 155 w 248"/>
                <a:gd name="T21" fmla="*/ 43 h 237"/>
                <a:gd name="T22" fmla="*/ 166 w 248"/>
                <a:gd name="T23" fmla="*/ 31 h 237"/>
                <a:gd name="T24" fmla="*/ 211 w 248"/>
                <a:gd name="T25" fmla="*/ 30 h 237"/>
                <a:gd name="T26" fmla="*/ 201 w 248"/>
                <a:gd name="T27" fmla="*/ 46 h 237"/>
                <a:gd name="T28" fmla="*/ 229 w 248"/>
                <a:gd name="T29" fmla="*/ 58 h 237"/>
                <a:gd name="T30" fmla="*/ 241 w 248"/>
                <a:gd name="T31" fmla="*/ 74 h 237"/>
                <a:gd name="T32" fmla="*/ 233 w 248"/>
                <a:gd name="T33" fmla="*/ 91 h 237"/>
                <a:gd name="T34" fmla="*/ 237 w 248"/>
                <a:gd name="T35" fmla="*/ 106 h 237"/>
                <a:gd name="T36" fmla="*/ 221 w 248"/>
                <a:gd name="T37" fmla="*/ 113 h 237"/>
                <a:gd name="T38" fmla="*/ 216 w 248"/>
                <a:gd name="T39" fmla="*/ 129 h 237"/>
                <a:gd name="T40" fmla="*/ 230 w 248"/>
                <a:gd name="T41" fmla="*/ 150 h 237"/>
                <a:gd name="T42" fmla="*/ 202 w 248"/>
                <a:gd name="T43" fmla="*/ 166 h 237"/>
                <a:gd name="T44" fmla="*/ 184 w 248"/>
                <a:gd name="T45" fmla="*/ 174 h 237"/>
                <a:gd name="T46" fmla="*/ 156 w 248"/>
                <a:gd name="T47" fmla="*/ 166 h 237"/>
                <a:gd name="T48" fmla="*/ 160 w 248"/>
                <a:gd name="T49" fmla="*/ 173 h 237"/>
                <a:gd name="T50" fmla="*/ 162 w 248"/>
                <a:gd name="T51" fmla="*/ 201 h 237"/>
                <a:gd name="T52" fmla="*/ 178 w 248"/>
                <a:gd name="T53" fmla="*/ 207 h 237"/>
                <a:gd name="T54" fmla="*/ 163 w 248"/>
                <a:gd name="T55" fmla="*/ 221 h 237"/>
                <a:gd name="T56" fmla="*/ 142 w 248"/>
                <a:gd name="T57" fmla="*/ 230 h 237"/>
                <a:gd name="T58" fmla="*/ 124 w 248"/>
                <a:gd name="T59" fmla="*/ 237 h 237"/>
                <a:gd name="T60" fmla="*/ 108 w 248"/>
                <a:gd name="T61" fmla="*/ 206 h 237"/>
                <a:gd name="T62" fmla="*/ 97 w 248"/>
                <a:gd name="T63" fmla="*/ 194 h 237"/>
                <a:gd name="T64" fmla="*/ 106 w 248"/>
                <a:gd name="T65" fmla="*/ 179 h 237"/>
                <a:gd name="T66" fmla="*/ 97 w 248"/>
                <a:gd name="T67" fmla="*/ 159 h 237"/>
                <a:gd name="T68" fmla="*/ 103 w 248"/>
                <a:gd name="T69" fmla="*/ 137 h 237"/>
                <a:gd name="T70" fmla="*/ 101 w 248"/>
                <a:gd name="T71" fmla="*/ 122 h 237"/>
                <a:gd name="T72" fmla="*/ 77 w 248"/>
                <a:gd name="T73" fmla="*/ 123 h 237"/>
                <a:gd name="T74" fmla="*/ 57 w 248"/>
                <a:gd name="T75" fmla="*/ 108 h 237"/>
                <a:gd name="T76" fmla="*/ 23 w 248"/>
                <a:gd name="T77" fmla="*/ 107 h 237"/>
                <a:gd name="T78" fmla="*/ 14 w 248"/>
                <a:gd name="T79" fmla="*/ 98 h 237"/>
                <a:gd name="T80" fmla="*/ 16 w 248"/>
                <a:gd name="T81" fmla="*/ 86 h 237"/>
                <a:gd name="T82" fmla="*/ 11 w 248"/>
                <a:gd name="T83" fmla="*/ 73 h 237"/>
                <a:gd name="T84" fmla="*/ 0 w 248"/>
                <a:gd name="T85" fmla="*/ 62 h 237"/>
                <a:gd name="T86" fmla="*/ 9 w 248"/>
                <a:gd name="T87" fmla="*/ 35 h 237"/>
                <a:gd name="T88" fmla="*/ 22 w 248"/>
                <a:gd name="T89" fmla="*/ 22 h 237"/>
                <a:gd name="T90" fmla="*/ 40 w 248"/>
                <a:gd name="T91" fmla="*/ 8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48" h="237">
                  <a:moveTo>
                    <a:pt x="40" y="8"/>
                  </a:moveTo>
                  <a:lnTo>
                    <a:pt x="39" y="13"/>
                  </a:lnTo>
                  <a:lnTo>
                    <a:pt x="28" y="15"/>
                  </a:lnTo>
                  <a:lnTo>
                    <a:pt x="33" y="24"/>
                  </a:lnTo>
                  <a:lnTo>
                    <a:pt x="32" y="35"/>
                  </a:lnTo>
                  <a:lnTo>
                    <a:pt x="23" y="47"/>
                  </a:lnTo>
                  <a:lnTo>
                    <a:pt x="29" y="64"/>
                  </a:lnTo>
                  <a:lnTo>
                    <a:pt x="38" y="62"/>
                  </a:lnTo>
                  <a:lnTo>
                    <a:pt x="42" y="48"/>
                  </a:lnTo>
                  <a:lnTo>
                    <a:pt x="37" y="40"/>
                  </a:lnTo>
                  <a:lnTo>
                    <a:pt x="37" y="24"/>
                  </a:lnTo>
                  <a:lnTo>
                    <a:pt x="61" y="16"/>
                  </a:lnTo>
                  <a:lnTo>
                    <a:pt x="59" y="6"/>
                  </a:lnTo>
                  <a:lnTo>
                    <a:pt x="65" y="0"/>
                  </a:lnTo>
                  <a:lnTo>
                    <a:pt x="71" y="14"/>
                  </a:lnTo>
                  <a:lnTo>
                    <a:pt x="84" y="15"/>
                  </a:lnTo>
                  <a:lnTo>
                    <a:pt x="95" y="26"/>
                  </a:lnTo>
                  <a:lnTo>
                    <a:pt x="95" y="33"/>
                  </a:lnTo>
                  <a:lnTo>
                    <a:pt x="112" y="33"/>
                  </a:lnTo>
                  <a:lnTo>
                    <a:pt x="131" y="31"/>
                  </a:lnTo>
                  <a:lnTo>
                    <a:pt x="141" y="41"/>
                  </a:lnTo>
                  <a:lnTo>
                    <a:pt x="155" y="43"/>
                  </a:lnTo>
                  <a:lnTo>
                    <a:pt x="166" y="37"/>
                  </a:lnTo>
                  <a:lnTo>
                    <a:pt x="166" y="31"/>
                  </a:lnTo>
                  <a:lnTo>
                    <a:pt x="189" y="30"/>
                  </a:lnTo>
                  <a:lnTo>
                    <a:pt x="211" y="30"/>
                  </a:lnTo>
                  <a:lnTo>
                    <a:pt x="195" y="36"/>
                  </a:lnTo>
                  <a:lnTo>
                    <a:pt x="201" y="46"/>
                  </a:lnTo>
                  <a:lnTo>
                    <a:pt x="215" y="47"/>
                  </a:lnTo>
                  <a:lnTo>
                    <a:pt x="229" y="58"/>
                  </a:lnTo>
                  <a:lnTo>
                    <a:pt x="231" y="74"/>
                  </a:lnTo>
                  <a:lnTo>
                    <a:pt x="241" y="74"/>
                  </a:lnTo>
                  <a:lnTo>
                    <a:pt x="248" y="79"/>
                  </a:lnTo>
                  <a:lnTo>
                    <a:pt x="233" y="91"/>
                  </a:lnTo>
                  <a:lnTo>
                    <a:pt x="231" y="98"/>
                  </a:lnTo>
                  <a:lnTo>
                    <a:pt x="237" y="106"/>
                  </a:lnTo>
                  <a:lnTo>
                    <a:pt x="232" y="110"/>
                  </a:lnTo>
                  <a:lnTo>
                    <a:pt x="221" y="113"/>
                  </a:lnTo>
                  <a:lnTo>
                    <a:pt x="221" y="123"/>
                  </a:lnTo>
                  <a:lnTo>
                    <a:pt x="216" y="129"/>
                  </a:lnTo>
                  <a:lnTo>
                    <a:pt x="228" y="144"/>
                  </a:lnTo>
                  <a:lnTo>
                    <a:pt x="230" y="150"/>
                  </a:lnTo>
                  <a:lnTo>
                    <a:pt x="223" y="158"/>
                  </a:lnTo>
                  <a:lnTo>
                    <a:pt x="202" y="166"/>
                  </a:lnTo>
                  <a:lnTo>
                    <a:pt x="189" y="169"/>
                  </a:lnTo>
                  <a:lnTo>
                    <a:pt x="184" y="174"/>
                  </a:lnTo>
                  <a:lnTo>
                    <a:pt x="169" y="169"/>
                  </a:lnTo>
                  <a:lnTo>
                    <a:pt x="156" y="166"/>
                  </a:lnTo>
                  <a:lnTo>
                    <a:pt x="152" y="168"/>
                  </a:lnTo>
                  <a:lnTo>
                    <a:pt x="160" y="173"/>
                  </a:lnTo>
                  <a:lnTo>
                    <a:pt x="159" y="187"/>
                  </a:lnTo>
                  <a:lnTo>
                    <a:pt x="162" y="201"/>
                  </a:lnTo>
                  <a:lnTo>
                    <a:pt x="177" y="202"/>
                  </a:lnTo>
                  <a:lnTo>
                    <a:pt x="178" y="207"/>
                  </a:lnTo>
                  <a:lnTo>
                    <a:pt x="165" y="213"/>
                  </a:lnTo>
                  <a:lnTo>
                    <a:pt x="163" y="221"/>
                  </a:lnTo>
                  <a:lnTo>
                    <a:pt x="155" y="225"/>
                  </a:lnTo>
                  <a:lnTo>
                    <a:pt x="142" y="230"/>
                  </a:lnTo>
                  <a:lnTo>
                    <a:pt x="138" y="236"/>
                  </a:lnTo>
                  <a:lnTo>
                    <a:pt x="124" y="237"/>
                  </a:lnTo>
                  <a:lnTo>
                    <a:pt x="114" y="226"/>
                  </a:lnTo>
                  <a:lnTo>
                    <a:pt x="108" y="206"/>
                  </a:lnTo>
                  <a:lnTo>
                    <a:pt x="103" y="198"/>
                  </a:lnTo>
                  <a:lnTo>
                    <a:pt x="97" y="194"/>
                  </a:lnTo>
                  <a:lnTo>
                    <a:pt x="106" y="183"/>
                  </a:lnTo>
                  <a:lnTo>
                    <a:pt x="106" y="179"/>
                  </a:lnTo>
                  <a:lnTo>
                    <a:pt x="101" y="173"/>
                  </a:lnTo>
                  <a:lnTo>
                    <a:pt x="97" y="159"/>
                  </a:lnTo>
                  <a:lnTo>
                    <a:pt x="99" y="144"/>
                  </a:lnTo>
                  <a:lnTo>
                    <a:pt x="103" y="137"/>
                  </a:lnTo>
                  <a:lnTo>
                    <a:pt x="107" y="126"/>
                  </a:lnTo>
                  <a:lnTo>
                    <a:pt x="101" y="122"/>
                  </a:lnTo>
                  <a:lnTo>
                    <a:pt x="90" y="125"/>
                  </a:lnTo>
                  <a:lnTo>
                    <a:pt x="77" y="123"/>
                  </a:lnTo>
                  <a:lnTo>
                    <a:pt x="69" y="126"/>
                  </a:lnTo>
                  <a:lnTo>
                    <a:pt x="57" y="108"/>
                  </a:lnTo>
                  <a:lnTo>
                    <a:pt x="47" y="105"/>
                  </a:lnTo>
                  <a:lnTo>
                    <a:pt x="23" y="107"/>
                  </a:lnTo>
                  <a:lnTo>
                    <a:pt x="19" y="100"/>
                  </a:lnTo>
                  <a:lnTo>
                    <a:pt x="14" y="98"/>
                  </a:lnTo>
                  <a:lnTo>
                    <a:pt x="14" y="94"/>
                  </a:lnTo>
                  <a:lnTo>
                    <a:pt x="16" y="86"/>
                  </a:lnTo>
                  <a:lnTo>
                    <a:pt x="15" y="78"/>
                  </a:lnTo>
                  <a:lnTo>
                    <a:pt x="11" y="73"/>
                  </a:lnTo>
                  <a:lnTo>
                    <a:pt x="9" y="64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9" y="35"/>
                  </a:lnTo>
                  <a:lnTo>
                    <a:pt x="15" y="28"/>
                  </a:lnTo>
                  <a:lnTo>
                    <a:pt x="22" y="22"/>
                  </a:lnTo>
                  <a:lnTo>
                    <a:pt x="28" y="11"/>
                  </a:lnTo>
                  <a:lnTo>
                    <a:pt x="4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55" name="Freeform 208">
              <a:extLst>
                <a:ext uri="{FF2B5EF4-FFF2-40B4-BE49-F238E27FC236}">
                  <a16:creationId xmlns:a16="http://schemas.microsoft.com/office/drawing/2014/main" id="{842DC9D9-853F-4EC1-8824-440FA3ACCA6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1840" y="2243613"/>
              <a:ext cx="207091" cy="399856"/>
            </a:xfrm>
            <a:custGeom>
              <a:avLst/>
              <a:gdLst>
                <a:gd name="T0" fmla="*/ 109 w 159"/>
                <a:gd name="T1" fmla="*/ 38 h 307"/>
                <a:gd name="T2" fmla="*/ 88 w 159"/>
                <a:gd name="T3" fmla="*/ 55 h 307"/>
                <a:gd name="T4" fmla="*/ 77 w 159"/>
                <a:gd name="T5" fmla="*/ 75 h 307"/>
                <a:gd name="T6" fmla="*/ 75 w 159"/>
                <a:gd name="T7" fmla="*/ 90 h 307"/>
                <a:gd name="T8" fmla="*/ 92 w 159"/>
                <a:gd name="T9" fmla="*/ 111 h 307"/>
                <a:gd name="T10" fmla="*/ 113 w 159"/>
                <a:gd name="T11" fmla="*/ 139 h 307"/>
                <a:gd name="T12" fmla="*/ 131 w 159"/>
                <a:gd name="T13" fmla="*/ 151 h 307"/>
                <a:gd name="T14" fmla="*/ 145 w 159"/>
                <a:gd name="T15" fmla="*/ 168 h 307"/>
                <a:gd name="T16" fmla="*/ 158 w 159"/>
                <a:gd name="T17" fmla="*/ 206 h 307"/>
                <a:gd name="T18" fmla="*/ 159 w 159"/>
                <a:gd name="T19" fmla="*/ 243 h 307"/>
                <a:gd name="T20" fmla="*/ 145 w 159"/>
                <a:gd name="T21" fmla="*/ 257 h 307"/>
                <a:gd name="T22" fmla="*/ 125 w 159"/>
                <a:gd name="T23" fmla="*/ 270 h 307"/>
                <a:gd name="T24" fmla="*/ 112 w 159"/>
                <a:gd name="T25" fmla="*/ 287 h 307"/>
                <a:gd name="T26" fmla="*/ 90 w 159"/>
                <a:gd name="T27" fmla="*/ 307 h 307"/>
                <a:gd name="T28" fmla="*/ 83 w 159"/>
                <a:gd name="T29" fmla="*/ 294 h 307"/>
                <a:gd name="T30" fmla="*/ 87 w 159"/>
                <a:gd name="T31" fmla="*/ 279 h 307"/>
                <a:gd name="T32" fmla="*/ 72 w 159"/>
                <a:gd name="T33" fmla="*/ 268 h 307"/>
                <a:gd name="T34" fmla="*/ 88 w 159"/>
                <a:gd name="T35" fmla="*/ 259 h 307"/>
                <a:gd name="T36" fmla="*/ 107 w 159"/>
                <a:gd name="T37" fmla="*/ 258 h 307"/>
                <a:gd name="T38" fmla="*/ 98 w 159"/>
                <a:gd name="T39" fmla="*/ 245 h 307"/>
                <a:gd name="T40" fmla="*/ 127 w 159"/>
                <a:gd name="T41" fmla="*/ 229 h 307"/>
                <a:gd name="T42" fmla="*/ 126 w 159"/>
                <a:gd name="T43" fmla="*/ 204 h 307"/>
                <a:gd name="T44" fmla="*/ 120 w 159"/>
                <a:gd name="T45" fmla="*/ 190 h 307"/>
                <a:gd name="T46" fmla="*/ 121 w 159"/>
                <a:gd name="T47" fmla="*/ 170 h 307"/>
                <a:gd name="T48" fmla="*/ 115 w 159"/>
                <a:gd name="T49" fmla="*/ 155 h 307"/>
                <a:gd name="T50" fmla="*/ 99 w 159"/>
                <a:gd name="T51" fmla="*/ 141 h 307"/>
                <a:gd name="T52" fmla="*/ 85 w 159"/>
                <a:gd name="T53" fmla="*/ 122 h 307"/>
                <a:gd name="T54" fmla="*/ 66 w 159"/>
                <a:gd name="T55" fmla="*/ 98 h 307"/>
                <a:gd name="T56" fmla="*/ 42 w 159"/>
                <a:gd name="T57" fmla="*/ 85 h 307"/>
                <a:gd name="T58" fmla="*/ 46 w 159"/>
                <a:gd name="T59" fmla="*/ 78 h 307"/>
                <a:gd name="T60" fmla="*/ 57 w 159"/>
                <a:gd name="T61" fmla="*/ 72 h 307"/>
                <a:gd name="T62" fmla="*/ 47 w 159"/>
                <a:gd name="T63" fmla="*/ 54 h 307"/>
                <a:gd name="T64" fmla="*/ 25 w 159"/>
                <a:gd name="T65" fmla="*/ 54 h 307"/>
                <a:gd name="T66" fmla="*/ 13 w 159"/>
                <a:gd name="T67" fmla="*/ 35 h 307"/>
                <a:gd name="T68" fmla="*/ 0 w 159"/>
                <a:gd name="T69" fmla="*/ 19 h 307"/>
                <a:gd name="T70" fmla="*/ 8 w 159"/>
                <a:gd name="T71" fmla="*/ 14 h 307"/>
                <a:gd name="T72" fmla="*/ 23 w 159"/>
                <a:gd name="T73" fmla="*/ 14 h 307"/>
                <a:gd name="T74" fmla="*/ 39 w 159"/>
                <a:gd name="T75" fmla="*/ 11 h 307"/>
                <a:gd name="T76" fmla="*/ 53 w 159"/>
                <a:gd name="T77" fmla="*/ 0 h 307"/>
                <a:gd name="T78" fmla="*/ 63 w 159"/>
                <a:gd name="T79" fmla="*/ 8 h 307"/>
                <a:gd name="T80" fmla="*/ 80 w 159"/>
                <a:gd name="T81" fmla="*/ 12 h 307"/>
                <a:gd name="T82" fmla="*/ 79 w 159"/>
                <a:gd name="T83" fmla="*/ 24 h 307"/>
                <a:gd name="T84" fmla="*/ 90 w 159"/>
                <a:gd name="T85" fmla="*/ 32 h 307"/>
                <a:gd name="T86" fmla="*/ 109 w 159"/>
                <a:gd name="T87" fmla="*/ 38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9" h="307">
                  <a:moveTo>
                    <a:pt x="109" y="38"/>
                  </a:moveTo>
                  <a:lnTo>
                    <a:pt x="88" y="55"/>
                  </a:lnTo>
                  <a:lnTo>
                    <a:pt x="77" y="75"/>
                  </a:lnTo>
                  <a:lnTo>
                    <a:pt x="75" y="90"/>
                  </a:lnTo>
                  <a:lnTo>
                    <a:pt x="92" y="111"/>
                  </a:lnTo>
                  <a:lnTo>
                    <a:pt x="113" y="139"/>
                  </a:lnTo>
                  <a:lnTo>
                    <a:pt x="131" y="151"/>
                  </a:lnTo>
                  <a:lnTo>
                    <a:pt x="145" y="168"/>
                  </a:lnTo>
                  <a:lnTo>
                    <a:pt x="158" y="206"/>
                  </a:lnTo>
                  <a:lnTo>
                    <a:pt x="159" y="243"/>
                  </a:lnTo>
                  <a:lnTo>
                    <a:pt x="145" y="257"/>
                  </a:lnTo>
                  <a:lnTo>
                    <a:pt x="125" y="270"/>
                  </a:lnTo>
                  <a:lnTo>
                    <a:pt x="112" y="287"/>
                  </a:lnTo>
                  <a:lnTo>
                    <a:pt x="90" y="307"/>
                  </a:lnTo>
                  <a:lnTo>
                    <a:pt x="83" y="294"/>
                  </a:lnTo>
                  <a:lnTo>
                    <a:pt x="87" y="279"/>
                  </a:lnTo>
                  <a:lnTo>
                    <a:pt x="72" y="268"/>
                  </a:lnTo>
                  <a:lnTo>
                    <a:pt x="88" y="259"/>
                  </a:lnTo>
                  <a:lnTo>
                    <a:pt x="107" y="258"/>
                  </a:lnTo>
                  <a:lnTo>
                    <a:pt x="98" y="245"/>
                  </a:lnTo>
                  <a:lnTo>
                    <a:pt x="127" y="229"/>
                  </a:lnTo>
                  <a:lnTo>
                    <a:pt x="126" y="204"/>
                  </a:lnTo>
                  <a:lnTo>
                    <a:pt x="120" y="190"/>
                  </a:lnTo>
                  <a:lnTo>
                    <a:pt x="121" y="170"/>
                  </a:lnTo>
                  <a:lnTo>
                    <a:pt x="115" y="155"/>
                  </a:lnTo>
                  <a:lnTo>
                    <a:pt x="99" y="141"/>
                  </a:lnTo>
                  <a:lnTo>
                    <a:pt x="85" y="122"/>
                  </a:lnTo>
                  <a:lnTo>
                    <a:pt x="66" y="98"/>
                  </a:lnTo>
                  <a:lnTo>
                    <a:pt x="42" y="85"/>
                  </a:lnTo>
                  <a:lnTo>
                    <a:pt x="46" y="78"/>
                  </a:lnTo>
                  <a:lnTo>
                    <a:pt x="57" y="72"/>
                  </a:lnTo>
                  <a:lnTo>
                    <a:pt x="47" y="54"/>
                  </a:lnTo>
                  <a:lnTo>
                    <a:pt x="25" y="54"/>
                  </a:lnTo>
                  <a:lnTo>
                    <a:pt x="13" y="35"/>
                  </a:lnTo>
                  <a:lnTo>
                    <a:pt x="0" y="19"/>
                  </a:lnTo>
                  <a:lnTo>
                    <a:pt x="8" y="14"/>
                  </a:lnTo>
                  <a:lnTo>
                    <a:pt x="23" y="14"/>
                  </a:lnTo>
                  <a:lnTo>
                    <a:pt x="39" y="11"/>
                  </a:lnTo>
                  <a:lnTo>
                    <a:pt x="53" y="0"/>
                  </a:lnTo>
                  <a:lnTo>
                    <a:pt x="63" y="8"/>
                  </a:lnTo>
                  <a:lnTo>
                    <a:pt x="80" y="12"/>
                  </a:lnTo>
                  <a:lnTo>
                    <a:pt x="79" y="24"/>
                  </a:lnTo>
                  <a:lnTo>
                    <a:pt x="90" y="32"/>
                  </a:lnTo>
                  <a:lnTo>
                    <a:pt x="109" y="3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56" name="Freeform 209">
              <a:extLst>
                <a:ext uri="{FF2B5EF4-FFF2-40B4-BE49-F238E27FC236}">
                  <a16:creationId xmlns:a16="http://schemas.microsoft.com/office/drawing/2014/main" id="{192CFC51-4568-4F52-BF1F-83E7D86414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7397" y="3306421"/>
              <a:ext cx="13025" cy="18234"/>
            </a:xfrm>
            <a:custGeom>
              <a:avLst/>
              <a:gdLst>
                <a:gd name="T0" fmla="*/ 10 w 10"/>
                <a:gd name="T1" fmla="*/ 12 h 14"/>
                <a:gd name="T2" fmla="*/ 3 w 10"/>
                <a:gd name="T3" fmla="*/ 14 h 14"/>
                <a:gd name="T4" fmla="*/ 0 w 10"/>
                <a:gd name="T5" fmla="*/ 5 h 14"/>
                <a:gd name="T6" fmla="*/ 1 w 10"/>
                <a:gd name="T7" fmla="*/ 0 h 14"/>
                <a:gd name="T8" fmla="*/ 10 w 10"/>
                <a:gd name="T9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4">
                  <a:moveTo>
                    <a:pt x="10" y="12"/>
                  </a:moveTo>
                  <a:lnTo>
                    <a:pt x="3" y="14"/>
                  </a:lnTo>
                  <a:lnTo>
                    <a:pt x="0" y="5"/>
                  </a:lnTo>
                  <a:lnTo>
                    <a:pt x="1" y="0"/>
                  </a:lnTo>
                  <a:lnTo>
                    <a:pt x="10" y="1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57" name="Freeform 210">
              <a:extLst>
                <a:ext uri="{FF2B5EF4-FFF2-40B4-BE49-F238E27FC236}">
                  <a16:creationId xmlns:a16="http://schemas.microsoft.com/office/drawing/2014/main" id="{B52EF758-CBCE-448A-A1F1-DF30E7AA572C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8280" y="3271254"/>
              <a:ext cx="13025" cy="29957"/>
            </a:xfrm>
            <a:custGeom>
              <a:avLst/>
              <a:gdLst>
                <a:gd name="T0" fmla="*/ 10 w 10"/>
                <a:gd name="T1" fmla="*/ 7 h 23"/>
                <a:gd name="T2" fmla="*/ 10 w 10"/>
                <a:gd name="T3" fmla="*/ 23 h 23"/>
                <a:gd name="T4" fmla="*/ 6 w 10"/>
                <a:gd name="T5" fmla="*/ 21 h 23"/>
                <a:gd name="T6" fmla="*/ 1 w 10"/>
                <a:gd name="T7" fmla="*/ 22 h 23"/>
                <a:gd name="T8" fmla="*/ 0 w 10"/>
                <a:gd name="T9" fmla="*/ 16 h 23"/>
                <a:gd name="T10" fmla="*/ 3 w 10"/>
                <a:gd name="T11" fmla="*/ 0 h 23"/>
                <a:gd name="T12" fmla="*/ 10 w 10"/>
                <a:gd name="T13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23">
                  <a:moveTo>
                    <a:pt x="10" y="7"/>
                  </a:moveTo>
                  <a:lnTo>
                    <a:pt x="10" y="23"/>
                  </a:lnTo>
                  <a:lnTo>
                    <a:pt x="6" y="21"/>
                  </a:lnTo>
                  <a:lnTo>
                    <a:pt x="1" y="22"/>
                  </a:lnTo>
                  <a:lnTo>
                    <a:pt x="0" y="16"/>
                  </a:lnTo>
                  <a:lnTo>
                    <a:pt x="3" y="0"/>
                  </a:lnTo>
                  <a:lnTo>
                    <a:pt x="10" y="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58" name="Freeform 211">
              <a:extLst>
                <a:ext uri="{FF2B5EF4-FFF2-40B4-BE49-F238E27FC236}">
                  <a16:creationId xmlns:a16="http://schemas.microsoft.com/office/drawing/2014/main" id="{56D1DAA3-757B-4E17-8643-A069460B7C5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9931" y="2362137"/>
              <a:ext cx="246165" cy="173228"/>
            </a:xfrm>
            <a:custGeom>
              <a:avLst/>
              <a:gdLst>
                <a:gd name="T0" fmla="*/ 189 w 189"/>
                <a:gd name="T1" fmla="*/ 49 h 133"/>
                <a:gd name="T2" fmla="*/ 177 w 189"/>
                <a:gd name="T3" fmla="*/ 54 h 133"/>
                <a:gd name="T4" fmla="*/ 174 w 189"/>
                <a:gd name="T5" fmla="*/ 63 h 133"/>
                <a:gd name="T6" fmla="*/ 174 w 189"/>
                <a:gd name="T7" fmla="*/ 70 h 133"/>
                <a:gd name="T8" fmla="*/ 156 w 189"/>
                <a:gd name="T9" fmla="*/ 79 h 133"/>
                <a:gd name="T10" fmla="*/ 128 w 189"/>
                <a:gd name="T11" fmla="*/ 89 h 133"/>
                <a:gd name="T12" fmla="*/ 112 w 189"/>
                <a:gd name="T13" fmla="*/ 103 h 133"/>
                <a:gd name="T14" fmla="*/ 104 w 189"/>
                <a:gd name="T15" fmla="*/ 105 h 133"/>
                <a:gd name="T16" fmla="*/ 99 w 189"/>
                <a:gd name="T17" fmla="*/ 103 h 133"/>
                <a:gd name="T18" fmla="*/ 89 w 189"/>
                <a:gd name="T19" fmla="*/ 112 h 133"/>
                <a:gd name="T20" fmla="*/ 77 w 189"/>
                <a:gd name="T21" fmla="*/ 116 h 133"/>
                <a:gd name="T22" fmla="*/ 62 w 189"/>
                <a:gd name="T23" fmla="*/ 117 h 133"/>
                <a:gd name="T24" fmla="*/ 57 w 189"/>
                <a:gd name="T25" fmla="*/ 118 h 133"/>
                <a:gd name="T26" fmla="*/ 53 w 189"/>
                <a:gd name="T27" fmla="*/ 124 h 133"/>
                <a:gd name="T28" fmla="*/ 49 w 189"/>
                <a:gd name="T29" fmla="*/ 125 h 133"/>
                <a:gd name="T30" fmla="*/ 46 w 189"/>
                <a:gd name="T31" fmla="*/ 131 h 133"/>
                <a:gd name="T32" fmla="*/ 37 w 189"/>
                <a:gd name="T33" fmla="*/ 130 h 133"/>
                <a:gd name="T34" fmla="*/ 32 w 189"/>
                <a:gd name="T35" fmla="*/ 133 h 133"/>
                <a:gd name="T36" fmla="*/ 19 w 189"/>
                <a:gd name="T37" fmla="*/ 132 h 133"/>
                <a:gd name="T38" fmla="*/ 14 w 189"/>
                <a:gd name="T39" fmla="*/ 120 h 133"/>
                <a:gd name="T40" fmla="*/ 14 w 189"/>
                <a:gd name="T41" fmla="*/ 108 h 133"/>
                <a:gd name="T42" fmla="*/ 10 w 189"/>
                <a:gd name="T43" fmla="*/ 102 h 133"/>
                <a:gd name="T44" fmla="*/ 6 w 189"/>
                <a:gd name="T45" fmla="*/ 87 h 133"/>
                <a:gd name="T46" fmla="*/ 0 w 189"/>
                <a:gd name="T47" fmla="*/ 78 h 133"/>
                <a:gd name="T48" fmla="*/ 4 w 189"/>
                <a:gd name="T49" fmla="*/ 77 h 133"/>
                <a:gd name="T50" fmla="*/ 2 w 189"/>
                <a:gd name="T51" fmla="*/ 68 h 133"/>
                <a:gd name="T52" fmla="*/ 4 w 189"/>
                <a:gd name="T53" fmla="*/ 64 h 133"/>
                <a:gd name="T54" fmla="*/ 2 w 189"/>
                <a:gd name="T55" fmla="*/ 55 h 133"/>
                <a:gd name="T56" fmla="*/ 10 w 189"/>
                <a:gd name="T57" fmla="*/ 48 h 133"/>
                <a:gd name="T58" fmla="*/ 8 w 189"/>
                <a:gd name="T59" fmla="*/ 39 h 133"/>
                <a:gd name="T60" fmla="*/ 12 w 189"/>
                <a:gd name="T61" fmla="*/ 29 h 133"/>
                <a:gd name="T62" fmla="*/ 20 w 189"/>
                <a:gd name="T63" fmla="*/ 35 h 133"/>
                <a:gd name="T64" fmla="*/ 24 w 189"/>
                <a:gd name="T65" fmla="*/ 33 h 133"/>
                <a:gd name="T66" fmla="*/ 45 w 189"/>
                <a:gd name="T67" fmla="*/ 32 h 133"/>
                <a:gd name="T68" fmla="*/ 49 w 189"/>
                <a:gd name="T69" fmla="*/ 34 h 133"/>
                <a:gd name="T70" fmla="*/ 66 w 189"/>
                <a:gd name="T71" fmla="*/ 36 h 133"/>
                <a:gd name="T72" fmla="*/ 73 w 189"/>
                <a:gd name="T73" fmla="*/ 35 h 133"/>
                <a:gd name="T74" fmla="*/ 78 w 189"/>
                <a:gd name="T75" fmla="*/ 42 h 133"/>
                <a:gd name="T76" fmla="*/ 86 w 189"/>
                <a:gd name="T77" fmla="*/ 39 h 133"/>
                <a:gd name="T78" fmla="*/ 98 w 189"/>
                <a:gd name="T79" fmla="*/ 17 h 133"/>
                <a:gd name="T80" fmla="*/ 114 w 189"/>
                <a:gd name="T81" fmla="*/ 8 h 133"/>
                <a:gd name="T82" fmla="*/ 166 w 189"/>
                <a:gd name="T83" fmla="*/ 0 h 133"/>
                <a:gd name="T84" fmla="*/ 182 w 189"/>
                <a:gd name="T85" fmla="*/ 34 h 133"/>
                <a:gd name="T86" fmla="*/ 189 w 189"/>
                <a:gd name="T87" fmla="*/ 4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9" h="133">
                  <a:moveTo>
                    <a:pt x="189" y="49"/>
                  </a:moveTo>
                  <a:lnTo>
                    <a:pt x="177" y="54"/>
                  </a:lnTo>
                  <a:lnTo>
                    <a:pt x="174" y="63"/>
                  </a:lnTo>
                  <a:lnTo>
                    <a:pt x="174" y="70"/>
                  </a:lnTo>
                  <a:lnTo>
                    <a:pt x="156" y="79"/>
                  </a:lnTo>
                  <a:lnTo>
                    <a:pt x="128" y="89"/>
                  </a:lnTo>
                  <a:lnTo>
                    <a:pt x="112" y="103"/>
                  </a:lnTo>
                  <a:lnTo>
                    <a:pt x="104" y="105"/>
                  </a:lnTo>
                  <a:lnTo>
                    <a:pt x="99" y="103"/>
                  </a:lnTo>
                  <a:lnTo>
                    <a:pt x="89" y="112"/>
                  </a:lnTo>
                  <a:lnTo>
                    <a:pt x="77" y="116"/>
                  </a:lnTo>
                  <a:lnTo>
                    <a:pt x="62" y="117"/>
                  </a:lnTo>
                  <a:lnTo>
                    <a:pt x="57" y="118"/>
                  </a:lnTo>
                  <a:lnTo>
                    <a:pt x="53" y="124"/>
                  </a:lnTo>
                  <a:lnTo>
                    <a:pt x="49" y="125"/>
                  </a:lnTo>
                  <a:lnTo>
                    <a:pt x="46" y="131"/>
                  </a:lnTo>
                  <a:lnTo>
                    <a:pt x="37" y="130"/>
                  </a:lnTo>
                  <a:lnTo>
                    <a:pt x="32" y="133"/>
                  </a:lnTo>
                  <a:lnTo>
                    <a:pt x="19" y="132"/>
                  </a:lnTo>
                  <a:lnTo>
                    <a:pt x="14" y="120"/>
                  </a:lnTo>
                  <a:lnTo>
                    <a:pt x="14" y="108"/>
                  </a:lnTo>
                  <a:lnTo>
                    <a:pt x="10" y="102"/>
                  </a:lnTo>
                  <a:lnTo>
                    <a:pt x="6" y="87"/>
                  </a:lnTo>
                  <a:lnTo>
                    <a:pt x="0" y="78"/>
                  </a:lnTo>
                  <a:lnTo>
                    <a:pt x="4" y="77"/>
                  </a:lnTo>
                  <a:lnTo>
                    <a:pt x="2" y="68"/>
                  </a:lnTo>
                  <a:lnTo>
                    <a:pt x="4" y="64"/>
                  </a:lnTo>
                  <a:lnTo>
                    <a:pt x="2" y="55"/>
                  </a:lnTo>
                  <a:lnTo>
                    <a:pt x="10" y="48"/>
                  </a:lnTo>
                  <a:lnTo>
                    <a:pt x="8" y="39"/>
                  </a:lnTo>
                  <a:lnTo>
                    <a:pt x="12" y="29"/>
                  </a:lnTo>
                  <a:lnTo>
                    <a:pt x="20" y="35"/>
                  </a:lnTo>
                  <a:lnTo>
                    <a:pt x="24" y="33"/>
                  </a:lnTo>
                  <a:lnTo>
                    <a:pt x="45" y="32"/>
                  </a:lnTo>
                  <a:lnTo>
                    <a:pt x="49" y="34"/>
                  </a:lnTo>
                  <a:lnTo>
                    <a:pt x="66" y="36"/>
                  </a:lnTo>
                  <a:lnTo>
                    <a:pt x="73" y="35"/>
                  </a:lnTo>
                  <a:lnTo>
                    <a:pt x="78" y="42"/>
                  </a:lnTo>
                  <a:lnTo>
                    <a:pt x="86" y="39"/>
                  </a:lnTo>
                  <a:lnTo>
                    <a:pt x="98" y="17"/>
                  </a:lnTo>
                  <a:lnTo>
                    <a:pt x="114" y="8"/>
                  </a:lnTo>
                  <a:lnTo>
                    <a:pt x="166" y="0"/>
                  </a:lnTo>
                  <a:lnTo>
                    <a:pt x="182" y="34"/>
                  </a:lnTo>
                  <a:lnTo>
                    <a:pt x="189" y="4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59" name="Freeform 212">
              <a:extLst>
                <a:ext uri="{FF2B5EF4-FFF2-40B4-BE49-F238E27FC236}">
                  <a16:creationId xmlns:a16="http://schemas.microsoft.com/office/drawing/2014/main" id="{0E372B91-BCC6-411A-A51F-C8F2814E6C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6935" y="3473136"/>
              <a:ext cx="384226" cy="343849"/>
            </a:xfrm>
            <a:custGeom>
              <a:avLst/>
              <a:gdLst>
                <a:gd name="T0" fmla="*/ 264 w 295"/>
                <a:gd name="T1" fmla="*/ 152 h 264"/>
                <a:gd name="T2" fmla="*/ 250 w 295"/>
                <a:gd name="T3" fmla="*/ 173 h 264"/>
                <a:gd name="T4" fmla="*/ 217 w 295"/>
                <a:gd name="T5" fmla="*/ 210 h 264"/>
                <a:gd name="T6" fmla="*/ 190 w 295"/>
                <a:gd name="T7" fmla="*/ 232 h 264"/>
                <a:gd name="T8" fmla="*/ 162 w 295"/>
                <a:gd name="T9" fmla="*/ 241 h 264"/>
                <a:gd name="T10" fmla="*/ 149 w 295"/>
                <a:gd name="T11" fmla="*/ 243 h 264"/>
                <a:gd name="T12" fmla="*/ 121 w 295"/>
                <a:gd name="T13" fmla="*/ 243 h 264"/>
                <a:gd name="T14" fmla="*/ 104 w 295"/>
                <a:gd name="T15" fmla="*/ 245 h 264"/>
                <a:gd name="T16" fmla="*/ 70 w 295"/>
                <a:gd name="T17" fmla="*/ 256 h 264"/>
                <a:gd name="T18" fmla="*/ 51 w 295"/>
                <a:gd name="T19" fmla="*/ 264 h 264"/>
                <a:gd name="T20" fmla="*/ 38 w 295"/>
                <a:gd name="T21" fmla="*/ 257 h 264"/>
                <a:gd name="T22" fmla="*/ 30 w 295"/>
                <a:gd name="T23" fmla="*/ 250 h 264"/>
                <a:gd name="T24" fmla="*/ 29 w 295"/>
                <a:gd name="T25" fmla="*/ 232 h 264"/>
                <a:gd name="T26" fmla="*/ 30 w 295"/>
                <a:gd name="T27" fmla="*/ 215 h 264"/>
                <a:gd name="T28" fmla="*/ 20 w 295"/>
                <a:gd name="T29" fmla="*/ 180 h 264"/>
                <a:gd name="T30" fmla="*/ 12 w 295"/>
                <a:gd name="T31" fmla="*/ 162 h 264"/>
                <a:gd name="T32" fmla="*/ 9 w 295"/>
                <a:gd name="T33" fmla="*/ 125 h 264"/>
                <a:gd name="T34" fmla="*/ 19 w 295"/>
                <a:gd name="T35" fmla="*/ 139 h 264"/>
                <a:gd name="T36" fmla="*/ 38 w 295"/>
                <a:gd name="T37" fmla="*/ 145 h 264"/>
                <a:gd name="T38" fmla="*/ 63 w 295"/>
                <a:gd name="T39" fmla="*/ 133 h 264"/>
                <a:gd name="T40" fmla="*/ 71 w 295"/>
                <a:gd name="T41" fmla="*/ 59 h 264"/>
                <a:gd name="T42" fmla="*/ 79 w 295"/>
                <a:gd name="T43" fmla="*/ 91 h 264"/>
                <a:gd name="T44" fmla="*/ 95 w 295"/>
                <a:gd name="T45" fmla="*/ 97 h 264"/>
                <a:gd name="T46" fmla="*/ 113 w 295"/>
                <a:gd name="T47" fmla="*/ 81 h 264"/>
                <a:gd name="T48" fmla="*/ 127 w 295"/>
                <a:gd name="T49" fmla="*/ 66 h 264"/>
                <a:gd name="T50" fmla="*/ 143 w 295"/>
                <a:gd name="T51" fmla="*/ 75 h 264"/>
                <a:gd name="T52" fmla="*/ 169 w 295"/>
                <a:gd name="T53" fmla="*/ 71 h 264"/>
                <a:gd name="T54" fmla="*/ 175 w 295"/>
                <a:gd name="T55" fmla="*/ 54 h 264"/>
                <a:gd name="T56" fmla="*/ 191 w 295"/>
                <a:gd name="T57" fmla="*/ 45 h 264"/>
                <a:gd name="T58" fmla="*/ 214 w 295"/>
                <a:gd name="T59" fmla="*/ 16 h 264"/>
                <a:gd name="T60" fmla="*/ 248 w 295"/>
                <a:gd name="T61" fmla="*/ 1 h 264"/>
                <a:gd name="T62" fmla="*/ 262 w 295"/>
                <a:gd name="T63" fmla="*/ 2 h 264"/>
                <a:gd name="T64" fmla="*/ 279 w 295"/>
                <a:gd name="T65" fmla="*/ 33 h 264"/>
                <a:gd name="T66" fmla="*/ 278 w 295"/>
                <a:gd name="T67" fmla="*/ 71 h 264"/>
                <a:gd name="T68" fmla="*/ 270 w 295"/>
                <a:gd name="T69" fmla="*/ 74 h 264"/>
                <a:gd name="T70" fmla="*/ 263 w 295"/>
                <a:gd name="T71" fmla="*/ 82 h 264"/>
                <a:gd name="T72" fmla="*/ 257 w 295"/>
                <a:gd name="T73" fmla="*/ 97 h 264"/>
                <a:gd name="T74" fmla="*/ 277 w 295"/>
                <a:gd name="T75" fmla="*/ 106 h 264"/>
                <a:gd name="T76" fmla="*/ 295 w 295"/>
                <a:gd name="T77" fmla="*/ 97 h 264"/>
                <a:gd name="T78" fmla="*/ 286 w 295"/>
                <a:gd name="T79" fmla="*/ 129 h 264"/>
                <a:gd name="T80" fmla="*/ 268 w 295"/>
                <a:gd name="T81" fmla="*/ 149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95" h="264">
                  <a:moveTo>
                    <a:pt x="268" y="149"/>
                  </a:moveTo>
                  <a:lnTo>
                    <a:pt x="264" y="152"/>
                  </a:lnTo>
                  <a:lnTo>
                    <a:pt x="256" y="163"/>
                  </a:lnTo>
                  <a:lnTo>
                    <a:pt x="250" y="173"/>
                  </a:lnTo>
                  <a:lnTo>
                    <a:pt x="239" y="188"/>
                  </a:lnTo>
                  <a:lnTo>
                    <a:pt x="217" y="210"/>
                  </a:lnTo>
                  <a:lnTo>
                    <a:pt x="204" y="222"/>
                  </a:lnTo>
                  <a:lnTo>
                    <a:pt x="190" y="232"/>
                  </a:lnTo>
                  <a:lnTo>
                    <a:pt x="171" y="240"/>
                  </a:lnTo>
                  <a:lnTo>
                    <a:pt x="162" y="241"/>
                  </a:lnTo>
                  <a:lnTo>
                    <a:pt x="159" y="246"/>
                  </a:lnTo>
                  <a:lnTo>
                    <a:pt x="149" y="243"/>
                  </a:lnTo>
                  <a:lnTo>
                    <a:pt x="140" y="247"/>
                  </a:lnTo>
                  <a:lnTo>
                    <a:pt x="121" y="243"/>
                  </a:lnTo>
                  <a:lnTo>
                    <a:pt x="111" y="246"/>
                  </a:lnTo>
                  <a:lnTo>
                    <a:pt x="104" y="245"/>
                  </a:lnTo>
                  <a:lnTo>
                    <a:pt x="85" y="253"/>
                  </a:lnTo>
                  <a:lnTo>
                    <a:pt x="70" y="256"/>
                  </a:lnTo>
                  <a:lnTo>
                    <a:pt x="59" y="264"/>
                  </a:lnTo>
                  <a:lnTo>
                    <a:pt x="51" y="264"/>
                  </a:lnTo>
                  <a:lnTo>
                    <a:pt x="44" y="257"/>
                  </a:lnTo>
                  <a:lnTo>
                    <a:pt x="38" y="257"/>
                  </a:lnTo>
                  <a:lnTo>
                    <a:pt x="31" y="247"/>
                  </a:lnTo>
                  <a:lnTo>
                    <a:pt x="30" y="250"/>
                  </a:lnTo>
                  <a:lnTo>
                    <a:pt x="28" y="245"/>
                  </a:lnTo>
                  <a:lnTo>
                    <a:pt x="29" y="232"/>
                  </a:lnTo>
                  <a:lnTo>
                    <a:pt x="24" y="219"/>
                  </a:lnTo>
                  <a:lnTo>
                    <a:pt x="30" y="215"/>
                  </a:lnTo>
                  <a:lnTo>
                    <a:pt x="30" y="199"/>
                  </a:lnTo>
                  <a:lnTo>
                    <a:pt x="20" y="180"/>
                  </a:lnTo>
                  <a:lnTo>
                    <a:pt x="12" y="162"/>
                  </a:lnTo>
                  <a:lnTo>
                    <a:pt x="12" y="162"/>
                  </a:lnTo>
                  <a:lnTo>
                    <a:pt x="0" y="135"/>
                  </a:lnTo>
                  <a:lnTo>
                    <a:pt x="9" y="125"/>
                  </a:lnTo>
                  <a:lnTo>
                    <a:pt x="16" y="131"/>
                  </a:lnTo>
                  <a:lnTo>
                    <a:pt x="19" y="139"/>
                  </a:lnTo>
                  <a:lnTo>
                    <a:pt x="27" y="141"/>
                  </a:lnTo>
                  <a:lnTo>
                    <a:pt x="38" y="145"/>
                  </a:lnTo>
                  <a:lnTo>
                    <a:pt x="47" y="143"/>
                  </a:lnTo>
                  <a:lnTo>
                    <a:pt x="63" y="133"/>
                  </a:lnTo>
                  <a:lnTo>
                    <a:pt x="67" y="56"/>
                  </a:lnTo>
                  <a:lnTo>
                    <a:pt x="71" y="59"/>
                  </a:lnTo>
                  <a:lnTo>
                    <a:pt x="81" y="79"/>
                  </a:lnTo>
                  <a:lnTo>
                    <a:pt x="79" y="91"/>
                  </a:lnTo>
                  <a:lnTo>
                    <a:pt x="83" y="99"/>
                  </a:lnTo>
                  <a:lnTo>
                    <a:pt x="95" y="97"/>
                  </a:lnTo>
                  <a:lnTo>
                    <a:pt x="105" y="87"/>
                  </a:lnTo>
                  <a:lnTo>
                    <a:pt x="113" y="81"/>
                  </a:lnTo>
                  <a:lnTo>
                    <a:pt x="118" y="71"/>
                  </a:lnTo>
                  <a:lnTo>
                    <a:pt x="127" y="66"/>
                  </a:lnTo>
                  <a:lnTo>
                    <a:pt x="135" y="69"/>
                  </a:lnTo>
                  <a:lnTo>
                    <a:pt x="143" y="75"/>
                  </a:lnTo>
                  <a:lnTo>
                    <a:pt x="157" y="76"/>
                  </a:lnTo>
                  <a:lnTo>
                    <a:pt x="169" y="71"/>
                  </a:lnTo>
                  <a:lnTo>
                    <a:pt x="171" y="64"/>
                  </a:lnTo>
                  <a:lnTo>
                    <a:pt x="175" y="54"/>
                  </a:lnTo>
                  <a:lnTo>
                    <a:pt x="185" y="53"/>
                  </a:lnTo>
                  <a:lnTo>
                    <a:pt x="191" y="45"/>
                  </a:lnTo>
                  <a:lnTo>
                    <a:pt x="197" y="31"/>
                  </a:lnTo>
                  <a:lnTo>
                    <a:pt x="214" y="16"/>
                  </a:lnTo>
                  <a:lnTo>
                    <a:pt x="240" y="0"/>
                  </a:lnTo>
                  <a:lnTo>
                    <a:pt x="248" y="1"/>
                  </a:lnTo>
                  <a:lnTo>
                    <a:pt x="256" y="4"/>
                  </a:lnTo>
                  <a:lnTo>
                    <a:pt x="262" y="2"/>
                  </a:lnTo>
                  <a:lnTo>
                    <a:pt x="272" y="4"/>
                  </a:lnTo>
                  <a:lnTo>
                    <a:pt x="279" y="33"/>
                  </a:lnTo>
                  <a:lnTo>
                    <a:pt x="282" y="48"/>
                  </a:lnTo>
                  <a:lnTo>
                    <a:pt x="278" y="71"/>
                  </a:lnTo>
                  <a:lnTo>
                    <a:pt x="279" y="78"/>
                  </a:lnTo>
                  <a:lnTo>
                    <a:pt x="270" y="74"/>
                  </a:lnTo>
                  <a:lnTo>
                    <a:pt x="265" y="76"/>
                  </a:lnTo>
                  <a:lnTo>
                    <a:pt x="263" y="82"/>
                  </a:lnTo>
                  <a:lnTo>
                    <a:pt x="257" y="90"/>
                  </a:lnTo>
                  <a:lnTo>
                    <a:pt x="257" y="97"/>
                  </a:lnTo>
                  <a:lnTo>
                    <a:pt x="267" y="108"/>
                  </a:lnTo>
                  <a:lnTo>
                    <a:pt x="277" y="106"/>
                  </a:lnTo>
                  <a:lnTo>
                    <a:pt x="281" y="97"/>
                  </a:lnTo>
                  <a:lnTo>
                    <a:pt x="295" y="97"/>
                  </a:lnTo>
                  <a:lnTo>
                    <a:pt x="289" y="112"/>
                  </a:lnTo>
                  <a:lnTo>
                    <a:pt x="286" y="129"/>
                  </a:lnTo>
                  <a:lnTo>
                    <a:pt x="281" y="139"/>
                  </a:lnTo>
                  <a:lnTo>
                    <a:pt x="268" y="14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60" name="Freeform 213">
              <a:extLst>
                <a:ext uri="{FF2B5EF4-FFF2-40B4-BE49-F238E27FC236}">
                  <a16:creationId xmlns:a16="http://schemas.microsoft.com/office/drawing/2014/main" id="{C6196102-A0F5-478F-93AF-FFA872B90E7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0495" y="3651572"/>
              <a:ext cx="54703" cy="53401"/>
            </a:xfrm>
            <a:custGeom>
              <a:avLst/>
              <a:gdLst>
                <a:gd name="T0" fmla="*/ 36 w 42"/>
                <a:gd name="T1" fmla="*/ 6 h 41"/>
                <a:gd name="T2" fmla="*/ 29 w 42"/>
                <a:gd name="T3" fmla="*/ 0 h 41"/>
                <a:gd name="T4" fmla="*/ 20 w 42"/>
                <a:gd name="T5" fmla="*/ 4 h 41"/>
                <a:gd name="T6" fmla="*/ 10 w 42"/>
                <a:gd name="T7" fmla="*/ 12 h 41"/>
                <a:gd name="T8" fmla="*/ 0 w 42"/>
                <a:gd name="T9" fmla="*/ 25 h 41"/>
                <a:gd name="T10" fmla="*/ 12 w 42"/>
                <a:gd name="T11" fmla="*/ 41 h 41"/>
                <a:gd name="T12" fmla="*/ 18 w 42"/>
                <a:gd name="T13" fmla="*/ 39 h 41"/>
                <a:gd name="T14" fmla="*/ 22 w 42"/>
                <a:gd name="T15" fmla="*/ 32 h 41"/>
                <a:gd name="T16" fmla="*/ 32 w 42"/>
                <a:gd name="T17" fmla="*/ 29 h 41"/>
                <a:gd name="T18" fmla="*/ 36 w 42"/>
                <a:gd name="T19" fmla="*/ 22 h 41"/>
                <a:gd name="T20" fmla="*/ 42 w 42"/>
                <a:gd name="T21" fmla="*/ 12 h 41"/>
                <a:gd name="T22" fmla="*/ 36 w 42"/>
                <a:gd name="T23" fmla="*/ 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" h="41">
                  <a:moveTo>
                    <a:pt x="36" y="6"/>
                  </a:moveTo>
                  <a:lnTo>
                    <a:pt x="29" y="0"/>
                  </a:lnTo>
                  <a:lnTo>
                    <a:pt x="20" y="4"/>
                  </a:lnTo>
                  <a:lnTo>
                    <a:pt x="10" y="12"/>
                  </a:lnTo>
                  <a:lnTo>
                    <a:pt x="0" y="25"/>
                  </a:lnTo>
                  <a:lnTo>
                    <a:pt x="12" y="41"/>
                  </a:lnTo>
                  <a:lnTo>
                    <a:pt x="18" y="39"/>
                  </a:lnTo>
                  <a:lnTo>
                    <a:pt x="22" y="32"/>
                  </a:lnTo>
                  <a:lnTo>
                    <a:pt x="32" y="29"/>
                  </a:lnTo>
                  <a:lnTo>
                    <a:pt x="36" y="22"/>
                  </a:lnTo>
                  <a:lnTo>
                    <a:pt x="42" y="12"/>
                  </a:lnTo>
                  <a:lnTo>
                    <a:pt x="36" y="6"/>
                  </a:lnTo>
                  <a:close/>
                </a:path>
              </a:pathLst>
            </a:custGeom>
            <a:solidFill>
              <a:srgbClr val="00CFFF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61" name="Freeform 214">
              <a:extLst>
                <a:ext uri="{FF2B5EF4-FFF2-40B4-BE49-F238E27FC236}">
                  <a16:creationId xmlns:a16="http://schemas.microsoft.com/office/drawing/2014/main" id="{29F72E7C-253C-4694-80D8-2D9216143D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8903" y="3099329"/>
              <a:ext cx="280029" cy="263097"/>
            </a:xfrm>
            <a:custGeom>
              <a:avLst/>
              <a:gdLst>
                <a:gd name="T0" fmla="*/ 202 w 215"/>
                <a:gd name="T1" fmla="*/ 20 h 202"/>
                <a:gd name="T2" fmla="*/ 211 w 215"/>
                <a:gd name="T3" fmla="*/ 30 h 202"/>
                <a:gd name="T4" fmla="*/ 215 w 215"/>
                <a:gd name="T5" fmla="*/ 47 h 202"/>
                <a:gd name="T6" fmla="*/ 211 w 215"/>
                <a:gd name="T7" fmla="*/ 53 h 202"/>
                <a:gd name="T8" fmla="*/ 207 w 215"/>
                <a:gd name="T9" fmla="*/ 70 h 202"/>
                <a:gd name="T10" fmla="*/ 210 w 215"/>
                <a:gd name="T11" fmla="*/ 87 h 202"/>
                <a:gd name="T12" fmla="*/ 204 w 215"/>
                <a:gd name="T13" fmla="*/ 94 h 202"/>
                <a:gd name="T14" fmla="*/ 198 w 215"/>
                <a:gd name="T15" fmla="*/ 113 h 202"/>
                <a:gd name="T16" fmla="*/ 208 w 215"/>
                <a:gd name="T17" fmla="*/ 119 h 202"/>
                <a:gd name="T18" fmla="*/ 152 w 215"/>
                <a:gd name="T19" fmla="*/ 136 h 202"/>
                <a:gd name="T20" fmla="*/ 153 w 215"/>
                <a:gd name="T21" fmla="*/ 151 h 202"/>
                <a:gd name="T22" fmla="*/ 139 w 215"/>
                <a:gd name="T23" fmla="*/ 154 h 202"/>
                <a:gd name="T24" fmla="*/ 128 w 215"/>
                <a:gd name="T25" fmla="*/ 162 h 202"/>
                <a:gd name="T26" fmla="*/ 126 w 215"/>
                <a:gd name="T27" fmla="*/ 169 h 202"/>
                <a:gd name="T28" fmla="*/ 119 w 215"/>
                <a:gd name="T29" fmla="*/ 171 h 202"/>
                <a:gd name="T30" fmla="*/ 103 w 215"/>
                <a:gd name="T31" fmla="*/ 188 h 202"/>
                <a:gd name="T32" fmla="*/ 92 w 215"/>
                <a:gd name="T33" fmla="*/ 201 h 202"/>
                <a:gd name="T34" fmla="*/ 86 w 215"/>
                <a:gd name="T35" fmla="*/ 202 h 202"/>
                <a:gd name="T36" fmla="*/ 80 w 215"/>
                <a:gd name="T37" fmla="*/ 199 h 202"/>
                <a:gd name="T38" fmla="*/ 60 w 215"/>
                <a:gd name="T39" fmla="*/ 197 h 202"/>
                <a:gd name="T40" fmla="*/ 57 w 215"/>
                <a:gd name="T41" fmla="*/ 195 h 202"/>
                <a:gd name="T42" fmla="*/ 57 w 215"/>
                <a:gd name="T43" fmla="*/ 194 h 202"/>
                <a:gd name="T44" fmla="*/ 50 w 215"/>
                <a:gd name="T45" fmla="*/ 189 h 202"/>
                <a:gd name="T46" fmla="*/ 38 w 215"/>
                <a:gd name="T47" fmla="*/ 188 h 202"/>
                <a:gd name="T48" fmla="*/ 23 w 215"/>
                <a:gd name="T49" fmla="*/ 193 h 202"/>
                <a:gd name="T50" fmla="*/ 12 w 215"/>
                <a:gd name="T51" fmla="*/ 180 h 202"/>
                <a:gd name="T52" fmla="*/ 0 w 215"/>
                <a:gd name="T53" fmla="*/ 163 h 202"/>
                <a:gd name="T54" fmla="*/ 2 w 215"/>
                <a:gd name="T55" fmla="*/ 96 h 202"/>
                <a:gd name="T56" fmla="*/ 41 w 215"/>
                <a:gd name="T57" fmla="*/ 97 h 202"/>
                <a:gd name="T58" fmla="*/ 39 w 215"/>
                <a:gd name="T59" fmla="*/ 90 h 202"/>
                <a:gd name="T60" fmla="*/ 42 w 215"/>
                <a:gd name="T61" fmla="*/ 82 h 202"/>
                <a:gd name="T62" fmla="*/ 39 w 215"/>
                <a:gd name="T63" fmla="*/ 72 h 202"/>
                <a:gd name="T64" fmla="*/ 41 w 215"/>
                <a:gd name="T65" fmla="*/ 62 h 202"/>
                <a:gd name="T66" fmla="*/ 40 w 215"/>
                <a:gd name="T67" fmla="*/ 55 h 202"/>
                <a:gd name="T68" fmla="*/ 46 w 215"/>
                <a:gd name="T69" fmla="*/ 56 h 202"/>
                <a:gd name="T70" fmla="*/ 47 w 215"/>
                <a:gd name="T71" fmla="*/ 63 h 202"/>
                <a:gd name="T72" fmla="*/ 55 w 215"/>
                <a:gd name="T73" fmla="*/ 62 h 202"/>
                <a:gd name="T74" fmla="*/ 67 w 215"/>
                <a:gd name="T75" fmla="*/ 64 h 202"/>
                <a:gd name="T76" fmla="*/ 73 w 215"/>
                <a:gd name="T77" fmla="*/ 73 h 202"/>
                <a:gd name="T78" fmla="*/ 87 w 215"/>
                <a:gd name="T79" fmla="*/ 76 h 202"/>
                <a:gd name="T80" fmla="*/ 99 w 215"/>
                <a:gd name="T81" fmla="*/ 70 h 202"/>
                <a:gd name="T82" fmla="*/ 102 w 215"/>
                <a:gd name="T83" fmla="*/ 81 h 202"/>
                <a:gd name="T84" fmla="*/ 116 w 215"/>
                <a:gd name="T85" fmla="*/ 83 h 202"/>
                <a:gd name="T86" fmla="*/ 123 w 215"/>
                <a:gd name="T87" fmla="*/ 92 h 202"/>
                <a:gd name="T88" fmla="*/ 130 w 215"/>
                <a:gd name="T89" fmla="*/ 104 h 202"/>
                <a:gd name="T90" fmla="*/ 144 w 215"/>
                <a:gd name="T91" fmla="*/ 104 h 202"/>
                <a:gd name="T92" fmla="*/ 143 w 215"/>
                <a:gd name="T93" fmla="*/ 82 h 202"/>
                <a:gd name="T94" fmla="*/ 138 w 215"/>
                <a:gd name="T95" fmla="*/ 85 h 202"/>
                <a:gd name="T96" fmla="*/ 126 w 215"/>
                <a:gd name="T97" fmla="*/ 77 h 202"/>
                <a:gd name="T98" fmla="*/ 121 w 215"/>
                <a:gd name="T99" fmla="*/ 73 h 202"/>
                <a:gd name="T100" fmla="*/ 123 w 215"/>
                <a:gd name="T101" fmla="*/ 53 h 202"/>
                <a:gd name="T102" fmla="*/ 127 w 215"/>
                <a:gd name="T103" fmla="*/ 28 h 202"/>
                <a:gd name="T104" fmla="*/ 123 w 215"/>
                <a:gd name="T105" fmla="*/ 19 h 202"/>
                <a:gd name="T106" fmla="*/ 129 w 215"/>
                <a:gd name="T107" fmla="*/ 6 h 202"/>
                <a:gd name="T108" fmla="*/ 134 w 215"/>
                <a:gd name="T109" fmla="*/ 3 h 202"/>
                <a:gd name="T110" fmla="*/ 158 w 215"/>
                <a:gd name="T111" fmla="*/ 0 h 202"/>
                <a:gd name="T112" fmla="*/ 166 w 215"/>
                <a:gd name="T113" fmla="*/ 2 h 202"/>
                <a:gd name="T114" fmla="*/ 173 w 215"/>
                <a:gd name="T115" fmla="*/ 7 h 202"/>
                <a:gd name="T116" fmla="*/ 180 w 215"/>
                <a:gd name="T117" fmla="*/ 11 h 202"/>
                <a:gd name="T118" fmla="*/ 192 w 215"/>
                <a:gd name="T119" fmla="*/ 14 h 202"/>
                <a:gd name="T120" fmla="*/ 202 w 215"/>
                <a:gd name="T121" fmla="*/ 2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5" h="202">
                  <a:moveTo>
                    <a:pt x="202" y="20"/>
                  </a:moveTo>
                  <a:lnTo>
                    <a:pt x="211" y="30"/>
                  </a:lnTo>
                  <a:lnTo>
                    <a:pt x="215" y="47"/>
                  </a:lnTo>
                  <a:lnTo>
                    <a:pt x="211" y="53"/>
                  </a:lnTo>
                  <a:lnTo>
                    <a:pt x="207" y="70"/>
                  </a:lnTo>
                  <a:lnTo>
                    <a:pt x="210" y="87"/>
                  </a:lnTo>
                  <a:lnTo>
                    <a:pt x="204" y="94"/>
                  </a:lnTo>
                  <a:lnTo>
                    <a:pt x="198" y="113"/>
                  </a:lnTo>
                  <a:lnTo>
                    <a:pt x="208" y="119"/>
                  </a:lnTo>
                  <a:lnTo>
                    <a:pt x="152" y="136"/>
                  </a:lnTo>
                  <a:lnTo>
                    <a:pt x="153" y="151"/>
                  </a:lnTo>
                  <a:lnTo>
                    <a:pt x="139" y="154"/>
                  </a:lnTo>
                  <a:lnTo>
                    <a:pt x="128" y="162"/>
                  </a:lnTo>
                  <a:lnTo>
                    <a:pt x="126" y="169"/>
                  </a:lnTo>
                  <a:lnTo>
                    <a:pt x="119" y="171"/>
                  </a:lnTo>
                  <a:lnTo>
                    <a:pt x="103" y="188"/>
                  </a:lnTo>
                  <a:lnTo>
                    <a:pt x="92" y="201"/>
                  </a:lnTo>
                  <a:lnTo>
                    <a:pt x="86" y="202"/>
                  </a:lnTo>
                  <a:lnTo>
                    <a:pt x="80" y="199"/>
                  </a:lnTo>
                  <a:lnTo>
                    <a:pt x="60" y="197"/>
                  </a:lnTo>
                  <a:lnTo>
                    <a:pt x="57" y="195"/>
                  </a:lnTo>
                  <a:lnTo>
                    <a:pt x="57" y="194"/>
                  </a:lnTo>
                  <a:lnTo>
                    <a:pt x="50" y="189"/>
                  </a:lnTo>
                  <a:lnTo>
                    <a:pt x="38" y="188"/>
                  </a:lnTo>
                  <a:lnTo>
                    <a:pt x="23" y="193"/>
                  </a:lnTo>
                  <a:lnTo>
                    <a:pt x="12" y="180"/>
                  </a:lnTo>
                  <a:lnTo>
                    <a:pt x="0" y="163"/>
                  </a:lnTo>
                  <a:lnTo>
                    <a:pt x="2" y="96"/>
                  </a:lnTo>
                  <a:lnTo>
                    <a:pt x="41" y="97"/>
                  </a:lnTo>
                  <a:lnTo>
                    <a:pt x="39" y="90"/>
                  </a:lnTo>
                  <a:lnTo>
                    <a:pt x="42" y="82"/>
                  </a:lnTo>
                  <a:lnTo>
                    <a:pt x="39" y="72"/>
                  </a:lnTo>
                  <a:lnTo>
                    <a:pt x="41" y="62"/>
                  </a:lnTo>
                  <a:lnTo>
                    <a:pt x="40" y="55"/>
                  </a:lnTo>
                  <a:lnTo>
                    <a:pt x="46" y="56"/>
                  </a:lnTo>
                  <a:lnTo>
                    <a:pt x="47" y="63"/>
                  </a:lnTo>
                  <a:lnTo>
                    <a:pt x="55" y="62"/>
                  </a:lnTo>
                  <a:lnTo>
                    <a:pt x="67" y="64"/>
                  </a:lnTo>
                  <a:lnTo>
                    <a:pt x="73" y="73"/>
                  </a:lnTo>
                  <a:lnTo>
                    <a:pt x="87" y="76"/>
                  </a:lnTo>
                  <a:lnTo>
                    <a:pt x="99" y="70"/>
                  </a:lnTo>
                  <a:lnTo>
                    <a:pt x="102" y="81"/>
                  </a:lnTo>
                  <a:lnTo>
                    <a:pt x="116" y="83"/>
                  </a:lnTo>
                  <a:lnTo>
                    <a:pt x="123" y="92"/>
                  </a:lnTo>
                  <a:lnTo>
                    <a:pt x="130" y="104"/>
                  </a:lnTo>
                  <a:lnTo>
                    <a:pt x="144" y="104"/>
                  </a:lnTo>
                  <a:lnTo>
                    <a:pt x="143" y="82"/>
                  </a:lnTo>
                  <a:lnTo>
                    <a:pt x="138" y="85"/>
                  </a:lnTo>
                  <a:lnTo>
                    <a:pt x="126" y="77"/>
                  </a:lnTo>
                  <a:lnTo>
                    <a:pt x="121" y="73"/>
                  </a:lnTo>
                  <a:lnTo>
                    <a:pt x="123" y="53"/>
                  </a:lnTo>
                  <a:lnTo>
                    <a:pt x="127" y="28"/>
                  </a:lnTo>
                  <a:lnTo>
                    <a:pt x="123" y="19"/>
                  </a:lnTo>
                  <a:lnTo>
                    <a:pt x="129" y="6"/>
                  </a:lnTo>
                  <a:lnTo>
                    <a:pt x="134" y="3"/>
                  </a:lnTo>
                  <a:lnTo>
                    <a:pt x="158" y="0"/>
                  </a:lnTo>
                  <a:lnTo>
                    <a:pt x="166" y="2"/>
                  </a:lnTo>
                  <a:lnTo>
                    <a:pt x="173" y="7"/>
                  </a:lnTo>
                  <a:lnTo>
                    <a:pt x="180" y="11"/>
                  </a:lnTo>
                  <a:lnTo>
                    <a:pt x="192" y="14"/>
                  </a:lnTo>
                  <a:lnTo>
                    <a:pt x="202" y="2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62" name="Freeform 215">
              <a:extLst>
                <a:ext uri="{FF2B5EF4-FFF2-40B4-BE49-F238E27FC236}">
                  <a16:creationId xmlns:a16="http://schemas.microsoft.com/office/drawing/2014/main" id="{7A14BA07-DE60-4884-B33D-DB6B1D3FE9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7051" y="3296001"/>
              <a:ext cx="181042" cy="182344"/>
            </a:xfrm>
            <a:custGeom>
              <a:avLst/>
              <a:gdLst>
                <a:gd name="T0" fmla="*/ 103 w 139"/>
                <a:gd name="T1" fmla="*/ 140 h 140"/>
                <a:gd name="T2" fmla="*/ 93 w 139"/>
                <a:gd name="T3" fmla="*/ 138 h 140"/>
                <a:gd name="T4" fmla="*/ 87 w 139"/>
                <a:gd name="T5" fmla="*/ 140 h 140"/>
                <a:gd name="T6" fmla="*/ 79 w 139"/>
                <a:gd name="T7" fmla="*/ 137 h 140"/>
                <a:gd name="T8" fmla="*/ 71 w 139"/>
                <a:gd name="T9" fmla="*/ 136 h 140"/>
                <a:gd name="T10" fmla="*/ 60 w 139"/>
                <a:gd name="T11" fmla="*/ 127 h 140"/>
                <a:gd name="T12" fmla="*/ 47 w 139"/>
                <a:gd name="T13" fmla="*/ 124 h 140"/>
                <a:gd name="T14" fmla="*/ 42 w 139"/>
                <a:gd name="T15" fmla="*/ 111 h 140"/>
                <a:gd name="T16" fmla="*/ 42 w 139"/>
                <a:gd name="T17" fmla="*/ 103 h 140"/>
                <a:gd name="T18" fmla="*/ 35 w 139"/>
                <a:gd name="T19" fmla="*/ 101 h 140"/>
                <a:gd name="T20" fmla="*/ 15 w 139"/>
                <a:gd name="T21" fmla="*/ 78 h 140"/>
                <a:gd name="T22" fmla="*/ 10 w 139"/>
                <a:gd name="T23" fmla="*/ 66 h 140"/>
                <a:gd name="T24" fmla="*/ 6 w 139"/>
                <a:gd name="T25" fmla="*/ 63 h 140"/>
                <a:gd name="T26" fmla="*/ 0 w 139"/>
                <a:gd name="T27" fmla="*/ 46 h 140"/>
                <a:gd name="T28" fmla="*/ 20 w 139"/>
                <a:gd name="T29" fmla="*/ 48 h 140"/>
                <a:gd name="T30" fmla="*/ 26 w 139"/>
                <a:gd name="T31" fmla="*/ 51 h 140"/>
                <a:gd name="T32" fmla="*/ 32 w 139"/>
                <a:gd name="T33" fmla="*/ 50 h 140"/>
                <a:gd name="T34" fmla="*/ 43 w 139"/>
                <a:gd name="T35" fmla="*/ 37 h 140"/>
                <a:gd name="T36" fmla="*/ 59 w 139"/>
                <a:gd name="T37" fmla="*/ 20 h 140"/>
                <a:gd name="T38" fmla="*/ 66 w 139"/>
                <a:gd name="T39" fmla="*/ 18 h 140"/>
                <a:gd name="T40" fmla="*/ 68 w 139"/>
                <a:gd name="T41" fmla="*/ 11 h 140"/>
                <a:gd name="T42" fmla="*/ 79 w 139"/>
                <a:gd name="T43" fmla="*/ 3 h 140"/>
                <a:gd name="T44" fmla="*/ 93 w 139"/>
                <a:gd name="T45" fmla="*/ 0 h 140"/>
                <a:gd name="T46" fmla="*/ 94 w 139"/>
                <a:gd name="T47" fmla="*/ 7 h 140"/>
                <a:gd name="T48" fmla="*/ 109 w 139"/>
                <a:gd name="T49" fmla="*/ 7 h 140"/>
                <a:gd name="T50" fmla="*/ 117 w 139"/>
                <a:gd name="T51" fmla="*/ 11 h 140"/>
                <a:gd name="T52" fmla="*/ 121 w 139"/>
                <a:gd name="T53" fmla="*/ 16 h 140"/>
                <a:gd name="T54" fmla="*/ 130 w 139"/>
                <a:gd name="T55" fmla="*/ 18 h 140"/>
                <a:gd name="T56" fmla="*/ 139 w 139"/>
                <a:gd name="T57" fmla="*/ 25 h 140"/>
                <a:gd name="T58" fmla="*/ 138 w 139"/>
                <a:gd name="T59" fmla="*/ 51 h 140"/>
                <a:gd name="T60" fmla="*/ 133 w 139"/>
                <a:gd name="T61" fmla="*/ 65 h 140"/>
                <a:gd name="T62" fmla="*/ 132 w 139"/>
                <a:gd name="T63" fmla="*/ 81 h 140"/>
                <a:gd name="T64" fmla="*/ 134 w 139"/>
                <a:gd name="T65" fmla="*/ 87 h 140"/>
                <a:gd name="T66" fmla="*/ 131 w 139"/>
                <a:gd name="T67" fmla="*/ 99 h 140"/>
                <a:gd name="T68" fmla="*/ 129 w 139"/>
                <a:gd name="T69" fmla="*/ 101 h 140"/>
                <a:gd name="T70" fmla="*/ 123 w 139"/>
                <a:gd name="T71" fmla="*/ 116 h 140"/>
                <a:gd name="T72" fmla="*/ 103 w 139"/>
                <a:gd name="T73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39" h="140">
                  <a:moveTo>
                    <a:pt x="103" y="140"/>
                  </a:moveTo>
                  <a:lnTo>
                    <a:pt x="93" y="138"/>
                  </a:lnTo>
                  <a:lnTo>
                    <a:pt x="87" y="140"/>
                  </a:lnTo>
                  <a:lnTo>
                    <a:pt x="79" y="137"/>
                  </a:lnTo>
                  <a:lnTo>
                    <a:pt x="71" y="136"/>
                  </a:lnTo>
                  <a:lnTo>
                    <a:pt x="60" y="127"/>
                  </a:lnTo>
                  <a:lnTo>
                    <a:pt x="47" y="124"/>
                  </a:lnTo>
                  <a:lnTo>
                    <a:pt x="42" y="111"/>
                  </a:lnTo>
                  <a:lnTo>
                    <a:pt x="42" y="103"/>
                  </a:lnTo>
                  <a:lnTo>
                    <a:pt x="35" y="101"/>
                  </a:lnTo>
                  <a:lnTo>
                    <a:pt x="15" y="78"/>
                  </a:lnTo>
                  <a:lnTo>
                    <a:pt x="10" y="66"/>
                  </a:lnTo>
                  <a:lnTo>
                    <a:pt x="6" y="63"/>
                  </a:lnTo>
                  <a:lnTo>
                    <a:pt x="0" y="46"/>
                  </a:lnTo>
                  <a:lnTo>
                    <a:pt x="20" y="48"/>
                  </a:lnTo>
                  <a:lnTo>
                    <a:pt x="26" y="51"/>
                  </a:lnTo>
                  <a:lnTo>
                    <a:pt x="32" y="50"/>
                  </a:lnTo>
                  <a:lnTo>
                    <a:pt x="43" y="37"/>
                  </a:lnTo>
                  <a:lnTo>
                    <a:pt x="59" y="20"/>
                  </a:lnTo>
                  <a:lnTo>
                    <a:pt x="66" y="18"/>
                  </a:lnTo>
                  <a:lnTo>
                    <a:pt x="68" y="11"/>
                  </a:lnTo>
                  <a:lnTo>
                    <a:pt x="79" y="3"/>
                  </a:lnTo>
                  <a:lnTo>
                    <a:pt x="93" y="0"/>
                  </a:lnTo>
                  <a:lnTo>
                    <a:pt x="94" y="7"/>
                  </a:lnTo>
                  <a:lnTo>
                    <a:pt x="109" y="7"/>
                  </a:lnTo>
                  <a:lnTo>
                    <a:pt x="117" y="11"/>
                  </a:lnTo>
                  <a:lnTo>
                    <a:pt x="121" y="16"/>
                  </a:lnTo>
                  <a:lnTo>
                    <a:pt x="130" y="18"/>
                  </a:lnTo>
                  <a:lnTo>
                    <a:pt x="139" y="25"/>
                  </a:lnTo>
                  <a:lnTo>
                    <a:pt x="138" y="51"/>
                  </a:lnTo>
                  <a:lnTo>
                    <a:pt x="133" y="65"/>
                  </a:lnTo>
                  <a:lnTo>
                    <a:pt x="132" y="81"/>
                  </a:lnTo>
                  <a:lnTo>
                    <a:pt x="134" y="87"/>
                  </a:lnTo>
                  <a:lnTo>
                    <a:pt x="131" y="99"/>
                  </a:lnTo>
                  <a:lnTo>
                    <a:pt x="129" y="101"/>
                  </a:lnTo>
                  <a:lnTo>
                    <a:pt x="123" y="116"/>
                  </a:lnTo>
                  <a:lnTo>
                    <a:pt x="103" y="14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63" name="Freeform 216">
              <a:extLst>
                <a:ext uri="{FF2B5EF4-FFF2-40B4-BE49-F238E27FC236}">
                  <a16:creationId xmlns:a16="http://schemas.microsoft.com/office/drawing/2014/main" id="{0D23E7A6-5AA5-43A7-9649-C4FCFEB49054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6762" y="870820"/>
              <a:ext cx="2858899" cy="893487"/>
            </a:xfrm>
            <a:custGeom>
              <a:avLst/>
              <a:gdLst>
                <a:gd name="T0" fmla="*/ 751 w 2195"/>
                <a:gd name="T1" fmla="*/ 25 h 686"/>
                <a:gd name="T2" fmla="*/ 649 w 2195"/>
                <a:gd name="T3" fmla="*/ 59 h 686"/>
                <a:gd name="T4" fmla="*/ 594 w 2195"/>
                <a:gd name="T5" fmla="*/ 101 h 686"/>
                <a:gd name="T6" fmla="*/ 603 w 2195"/>
                <a:gd name="T7" fmla="*/ 140 h 686"/>
                <a:gd name="T8" fmla="*/ 600 w 2195"/>
                <a:gd name="T9" fmla="*/ 189 h 686"/>
                <a:gd name="T10" fmla="*/ 541 w 2195"/>
                <a:gd name="T11" fmla="*/ 77 h 686"/>
                <a:gd name="T12" fmla="*/ 524 w 2195"/>
                <a:gd name="T13" fmla="*/ 135 h 686"/>
                <a:gd name="T14" fmla="*/ 434 w 2195"/>
                <a:gd name="T15" fmla="*/ 142 h 686"/>
                <a:gd name="T16" fmla="*/ 337 w 2195"/>
                <a:gd name="T17" fmla="*/ 143 h 686"/>
                <a:gd name="T18" fmla="*/ 241 w 2195"/>
                <a:gd name="T19" fmla="*/ 154 h 686"/>
                <a:gd name="T20" fmla="*/ 172 w 2195"/>
                <a:gd name="T21" fmla="*/ 204 h 686"/>
                <a:gd name="T22" fmla="*/ 111 w 2195"/>
                <a:gd name="T23" fmla="*/ 223 h 686"/>
                <a:gd name="T24" fmla="*/ 177 w 2195"/>
                <a:gd name="T25" fmla="*/ 168 h 686"/>
                <a:gd name="T26" fmla="*/ 1 w 2195"/>
                <a:gd name="T27" fmla="*/ 152 h 686"/>
                <a:gd name="T28" fmla="*/ 67 w 2195"/>
                <a:gd name="T29" fmla="*/ 262 h 686"/>
                <a:gd name="T30" fmla="*/ 30 w 2195"/>
                <a:gd name="T31" fmla="*/ 356 h 686"/>
                <a:gd name="T32" fmla="*/ 95 w 2195"/>
                <a:gd name="T33" fmla="*/ 403 h 686"/>
                <a:gd name="T34" fmla="*/ 111 w 2195"/>
                <a:gd name="T35" fmla="*/ 441 h 686"/>
                <a:gd name="T36" fmla="*/ 161 w 2195"/>
                <a:gd name="T37" fmla="*/ 469 h 686"/>
                <a:gd name="T38" fmla="*/ 227 w 2195"/>
                <a:gd name="T39" fmla="*/ 507 h 686"/>
                <a:gd name="T40" fmla="*/ 240 w 2195"/>
                <a:gd name="T41" fmla="*/ 555 h 686"/>
                <a:gd name="T42" fmla="*/ 239 w 2195"/>
                <a:gd name="T43" fmla="*/ 614 h 686"/>
                <a:gd name="T44" fmla="*/ 363 w 2195"/>
                <a:gd name="T45" fmla="*/ 654 h 686"/>
                <a:gd name="T46" fmla="*/ 434 w 2195"/>
                <a:gd name="T47" fmla="*/ 672 h 686"/>
                <a:gd name="T48" fmla="*/ 412 w 2195"/>
                <a:gd name="T49" fmla="*/ 564 h 686"/>
                <a:gd name="T50" fmla="*/ 394 w 2195"/>
                <a:gd name="T51" fmla="*/ 493 h 686"/>
                <a:gd name="T52" fmla="*/ 571 w 2195"/>
                <a:gd name="T53" fmla="*/ 488 h 686"/>
                <a:gd name="T54" fmla="*/ 571 w 2195"/>
                <a:gd name="T55" fmla="*/ 425 h 686"/>
                <a:gd name="T56" fmla="*/ 758 w 2195"/>
                <a:gd name="T57" fmla="*/ 424 h 686"/>
                <a:gd name="T58" fmla="*/ 920 w 2195"/>
                <a:gd name="T59" fmla="*/ 489 h 686"/>
                <a:gd name="T60" fmla="*/ 1027 w 2195"/>
                <a:gd name="T61" fmla="*/ 519 h 686"/>
                <a:gd name="T62" fmla="*/ 1175 w 2195"/>
                <a:gd name="T63" fmla="*/ 510 h 686"/>
                <a:gd name="T64" fmla="*/ 1273 w 2195"/>
                <a:gd name="T65" fmla="*/ 503 h 686"/>
                <a:gd name="T66" fmla="*/ 1408 w 2195"/>
                <a:gd name="T67" fmla="*/ 518 h 686"/>
                <a:gd name="T68" fmla="*/ 1516 w 2195"/>
                <a:gd name="T69" fmla="*/ 493 h 686"/>
                <a:gd name="T70" fmla="*/ 1570 w 2195"/>
                <a:gd name="T71" fmla="*/ 441 h 686"/>
                <a:gd name="T72" fmla="*/ 1742 w 2195"/>
                <a:gd name="T73" fmla="*/ 550 h 686"/>
                <a:gd name="T74" fmla="*/ 1789 w 2195"/>
                <a:gd name="T75" fmla="*/ 600 h 686"/>
                <a:gd name="T76" fmla="*/ 1821 w 2195"/>
                <a:gd name="T77" fmla="*/ 642 h 686"/>
                <a:gd name="T78" fmla="*/ 1879 w 2195"/>
                <a:gd name="T79" fmla="*/ 536 h 686"/>
                <a:gd name="T80" fmla="*/ 1746 w 2195"/>
                <a:gd name="T81" fmla="*/ 425 h 686"/>
                <a:gd name="T82" fmla="*/ 1855 w 2195"/>
                <a:gd name="T83" fmla="*/ 317 h 686"/>
                <a:gd name="T84" fmla="*/ 1972 w 2195"/>
                <a:gd name="T85" fmla="*/ 275 h 686"/>
                <a:gd name="T86" fmla="*/ 1981 w 2195"/>
                <a:gd name="T87" fmla="*/ 358 h 686"/>
                <a:gd name="T88" fmla="*/ 2115 w 2195"/>
                <a:gd name="T89" fmla="*/ 441 h 686"/>
                <a:gd name="T90" fmla="*/ 2041 w 2195"/>
                <a:gd name="T91" fmla="*/ 341 h 686"/>
                <a:gd name="T92" fmla="*/ 2121 w 2195"/>
                <a:gd name="T93" fmla="*/ 301 h 686"/>
                <a:gd name="T94" fmla="*/ 2165 w 2195"/>
                <a:gd name="T95" fmla="*/ 245 h 686"/>
                <a:gd name="T96" fmla="*/ 2127 w 2195"/>
                <a:gd name="T97" fmla="*/ 194 h 686"/>
                <a:gd name="T98" fmla="*/ 2155 w 2195"/>
                <a:gd name="T99" fmla="*/ 143 h 686"/>
                <a:gd name="T100" fmla="*/ 2081 w 2195"/>
                <a:gd name="T101" fmla="*/ 119 h 686"/>
                <a:gd name="T102" fmla="*/ 1867 w 2195"/>
                <a:gd name="T103" fmla="*/ 130 h 686"/>
                <a:gd name="T104" fmla="*/ 1729 w 2195"/>
                <a:gd name="T105" fmla="*/ 128 h 686"/>
                <a:gd name="T106" fmla="*/ 1395 w 2195"/>
                <a:gd name="T107" fmla="*/ 82 h 686"/>
                <a:gd name="T108" fmla="*/ 1301 w 2195"/>
                <a:gd name="T109" fmla="*/ 103 h 686"/>
                <a:gd name="T110" fmla="*/ 1124 w 2195"/>
                <a:gd name="T111" fmla="*/ 71 h 686"/>
                <a:gd name="T112" fmla="*/ 983 w 2195"/>
                <a:gd name="T113" fmla="*/ 54 h 686"/>
                <a:gd name="T114" fmla="*/ 913 w 2195"/>
                <a:gd name="T115" fmla="*/ 18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95" h="686">
                  <a:moveTo>
                    <a:pt x="856" y="0"/>
                  </a:moveTo>
                  <a:lnTo>
                    <a:pt x="836" y="6"/>
                  </a:lnTo>
                  <a:lnTo>
                    <a:pt x="832" y="12"/>
                  </a:lnTo>
                  <a:lnTo>
                    <a:pt x="836" y="19"/>
                  </a:lnTo>
                  <a:lnTo>
                    <a:pt x="813" y="18"/>
                  </a:lnTo>
                  <a:lnTo>
                    <a:pt x="795" y="27"/>
                  </a:lnTo>
                  <a:lnTo>
                    <a:pt x="781" y="23"/>
                  </a:lnTo>
                  <a:lnTo>
                    <a:pt x="751" y="25"/>
                  </a:lnTo>
                  <a:lnTo>
                    <a:pt x="752" y="29"/>
                  </a:lnTo>
                  <a:lnTo>
                    <a:pt x="721" y="31"/>
                  </a:lnTo>
                  <a:lnTo>
                    <a:pt x="705" y="39"/>
                  </a:lnTo>
                  <a:lnTo>
                    <a:pt x="692" y="39"/>
                  </a:lnTo>
                  <a:lnTo>
                    <a:pt x="687" y="49"/>
                  </a:lnTo>
                  <a:lnTo>
                    <a:pt x="705" y="58"/>
                  </a:lnTo>
                  <a:lnTo>
                    <a:pt x="680" y="60"/>
                  </a:lnTo>
                  <a:lnTo>
                    <a:pt x="649" y="59"/>
                  </a:lnTo>
                  <a:lnTo>
                    <a:pt x="630" y="62"/>
                  </a:lnTo>
                  <a:lnTo>
                    <a:pt x="646" y="80"/>
                  </a:lnTo>
                  <a:lnTo>
                    <a:pt x="669" y="93"/>
                  </a:lnTo>
                  <a:lnTo>
                    <a:pt x="637" y="84"/>
                  </a:lnTo>
                  <a:lnTo>
                    <a:pt x="611" y="85"/>
                  </a:lnTo>
                  <a:lnTo>
                    <a:pt x="595" y="91"/>
                  </a:lnTo>
                  <a:lnTo>
                    <a:pt x="610" y="104"/>
                  </a:lnTo>
                  <a:lnTo>
                    <a:pt x="594" y="101"/>
                  </a:lnTo>
                  <a:lnTo>
                    <a:pt x="587" y="84"/>
                  </a:lnTo>
                  <a:lnTo>
                    <a:pt x="573" y="75"/>
                  </a:lnTo>
                  <a:lnTo>
                    <a:pt x="567" y="76"/>
                  </a:lnTo>
                  <a:lnTo>
                    <a:pt x="579" y="87"/>
                  </a:lnTo>
                  <a:lnTo>
                    <a:pt x="564" y="99"/>
                  </a:lnTo>
                  <a:lnTo>
                    <a:pt x="591" y="112"/>
                  </a:lnTo>
                  <a:lnTo>
                    <a:pt x="593" y="130"/>
                  </a:lnTo>
                  <a:lnTo>
                    <a:pt x="603" y="140"/>
                  </a:lnTo>
                  <a:lnTo>
                    <a:pt x="618" y="141"/>
                  </a:lnTo>
                  <a:lnTo>
                    <a:pt x="620" y="152"/>
                  </a:lnTo>
                  <a:lnTo>
                    <a:pt x="635" y="162"/>
                  </a:lnTo>
                  <a:lnTo>
                    <a:pt x="629" y="171"/>
                  </a:lnTo>
                  <a:lnTo>
                    <a:pt x="631" y="180"/>
                  </a:lnTo>
                  <a:lnTo>
                    <a:pt x="619" y="185"/>
                  </a:lnTo>
                  <a:lnTo>
                    <a:pt x="617" y="191"/>
                  </a:lnTo>
                  <a:lnTo>
                    <a:pt x="600" y="189"/>
                  </a:lnTo>
                  <a:lnTo>
                    <a:pt x="611" y="163"/>
                  </a:lnTo>
                  <a:lnTo>
                    <a:pt x="608" y="151"/>
                  </a:lnTo>
                  <a:lnTo>
                    <a:pt x="586" y="141"/>
                  </a:lnTo>
                  <a:lnTo>
                    <a:pt x="573" y="117"/>
                  </a:lnTo>
                  <a:lnTo>
                    <a:pt x="560" y="105"/>
                  </a:lnTo>
                  <a:lnTo>
                    <a:pt x="549" y="99"/>
                  </a:lnTo>
                  <a:lnTo>
                    <a:pt x="551" y="86"/>
                  </a:lnTo>
                  <a:lnTo>
                    <a:pt x="541" y="77"/>
                  </a:lnTo>
                  <a:lnTo>
                    <a:pt x="505" y="72"/>
                  </a:lnTo>
                  <a:lnTo>
                    <a:pt x="498" y="75"/>
                  </a:lnTo>
                  <a:lnTo>
                    <a:pt x="500" y="91"/>
                  </a:lnTo>
                  <a:lnTo>
                    <a:pt x="486" y="106"/>
                  </a:lnTo>
                  <a:lnTo>
                    <a:pt x="490" y="111"/>
                  </a:lnTo>
                  <a:lnTo>
                    <a:pt x="506" y="124"/>
                  </a:lnTo>
                  <a:lnTo>
                    <a:pt x="507" y="133"/>
                  </a:lnTo>
                  <a:lnTo>
                    <a:pt x="524" y="135"/>
                  </a:lnTo>
                  <a:lnTo>
                    <a:pt x="526" y="138"/>
                  </a:lnTo>
                  <a:lnTo>
                    <a:pt x="546" y="148"/>
                  </a:lnTo>
                  <a:lnTo>
                    <a:pt x="543" y="157"/>
                  </a:lnTo>
                  <a:lnTo>
                    <a:pt x="482" y="137"/>
                  </a:lnTo>
                  <a:lnTo>
                    <a:pt x="460" y="131"/>
                  </a:lnTo>
                  <a:lnTo>
                    <a:pt x="418" y="126"/>
                  </a:lnTo>
                  <a:lnTo>
                    <a:pt x="414" y="132"/>
                  </a:lnTo>
                  <a:lnTo>
                    <a:pt x="434" y="142"/>
                  </a:lnTo>
                  <a:lnTo>
                    <a:pt x="425" y="153"/>
                  </a:lnTo>
                  <a:lnTo>
                    <a:pt x="404" y="143"/>
                  </a:lnTo>
                  <a:lnTo>
                    <a:pt x="388" y="150"/>
                  </a:lnTo>
                  <a:lnTo>
                    <a:pt x="363" y="151"/>
                  </a:lnTo>
                  <a:lnTo>
                    <a:pt x="357" y="157"/>
                  </a:lnTo>
                  <a:lnTo>
                    <a:pt x="339" y="155"/>
                  </a:lnTo>
                  <a:lnTo>
                    <a:pt x="347" y="144"/>
                  </a:lnTo>
                  <a:lnTo>
                    <a:pt x="337" y="143"/>
                  </a:lnTo>
                  <a:lnTo>
                    <a:pt x="297" y="159"/>
                  </a:lnTo>
                  <a:lnTo>
                    <a:pt x="272" y="167"/>
                  </a:lnTo>
                  <a:lnTo>
                    <a:pt x="274" y="178"/>
                  </a:lnTo>
                  <a:lnTo>
                    <a:pt x="255" y="183"/>
                  </a:lnTo>
                  <a:lnTo>
                    <a:pt x="241" y="176"/>
                  </a:lnTo>
                  <a:lnTo>
                    <a:pt x="237" y="166"/>
                  </a:lnTo>
                  <a:lnTo>
                    <a:pt x="253" y="164"/>
                  </a:lnTo>
                  <a:lnTo>
                    <a:pt x="241" y="154"/>
                  </a:lnTo>
                  <a:lnTo>
                    <a:pt x="202" y="148"/>
                  </a:lnTo>
                  <a:lnTo>
                    <a:pt x="216" y="159"/>
                  </a:lnTo>
                  <a:lnTo>
                    <a:pt x="214" y="170"/>
                  </a:lnTo>
                  <a:lnTo>
                    <a:pt x="229" y="181"/>
                  </a:lnTo>
                  <a:lnTo>
                    <a:pt x="226" y="193"/>
                  </a:lnTo>
                  <a:lnTo>
                    <a:pt x="210" y="187"/>
                  </a:lnTo>
                  <a:lnTo>
                    <a:pt x="197" y="186"/>
                  </a:lnTo>
                  <a:lnTo>
                    <a:pt x="172" y="204"/>
                  </a:lnTo>
                  <a:lnTo>
                    <a:pt x="186" y="217"/>
                  </a:lnTo>
                  <a:lnTo>
                    <a:pt x="175" y="222"/>
                  </a:lnTo>
                  <a:lnTo>
                    <a:pt x="138" y="210"/>
                  </a:lnTo>
                  <a:lnTo>
                    <a:pt x="131" y="217"/>
                  </a:lnTo>
                  <a:lnTo>
                    <a:pt x="142" y="225"/>
                  </a:lnTo>
                  <a:lnTo>
                    <a:pt x="143" y="234"/>
                  </a:lnTo>
                  <a:lnTo>
                    <a:pt x="130" y="229"/>
                  </a:lnTo>
                  <a:lnTo>
                    <a:pt x="111" y="223"/>
                  </a:lnTo>
                  <a:lnTo>
                    <a:pt x="104" y="205"/>
                  </a:lnTo>
                  <a:lnTo>
                    <a:pt x="101" y="196"/>
                  </a:lnTo>
                  <a:lnTo>
                    <a:pt x="74" y="183"/>
                  </a:lnTo>
                  <a:lnTo>
                    <a:pt x="84" y="181"/>
                  </a:lnTo>
                  <a:lnTo>
                    <a:pt x="149" y="194"/>
                  </a:lnTo>
                  <a:lnTo>
                    <a:pt x="170" y="190"/>
                  </a:lnTo>
                  <a:lnTo>
                    <a:pt x="182" y="180"/>
                  </a:lnTo>
                  <a:lnTo>
                    <a:pt x="177" y="168"/>
                  </a:lnTo>
                  <a:lnTo>
                    <a:pt x="163" y="160"/>
                  </a:lnTo>
                  <a:lnTo>
                    <a:pt x="106" y="140"/>
                  </a:lnTo>
                  <a:lnTo>
                    <a:pt x="68" y="135"/>
                  </a:lnTo>
                  <a:lnTo>
                    <a:pt x="43" y="125"/>
                  </a:lnTo>
                  <a:lnTo>
                    <a:pt x="31" y="131"/>
                  </a:lnTo>
                  <a:lnTo>
                    <a:pt x="10" y="138"/>
                  </a:lnTo>
                  <a:lnTo>
                    <a:pt x="0" y="140"/>
                  </a:lnTo>
                  <a:lnTo>
                    <a:pt x="1" y="152"/>
                  </a:lnTo>
                  <a:lnTo>
                    <a:pt x="25" y="164"/>
                  </a:lnTo>
                  <a:lnTo>
                    <a:pt x="16" y="177"/>
                  </a:lnTo>
                  <a:lnTo>
                    <a:pt x="38" y="198"/>
                  </a:lnTo>
                  <a:lnTo>
                    <a:pt x="32" y="213"/>
                  </a:lnTo>
                  <a:lnTo>
                    <a:pt x="48" y="228"/>
                  </a:lnTo>
                  <a:lnTo>
                    <a:pt x="45" y="240"/>
                  </a:lnTo>
                  <a:lnTo>
                    <a:pt x="70" y="253"/>
                  </a:lnTo>
                  <a:lnTo>
                    <a:pt x="67" y="262"/>
                  </a:lnTo>
                  <a:lnTo>
                    <a:pt x="56" y="273"/>
                  </a:lnTo>
                  <a:lnTo>
                    <a:pt x="30" y="297"/>
                  </a:lnTo>
                  <a:lnTo>
                    <a:pt x="47" y="306"/>
                  </a:lnTo>
                  <a:lnTo>
                    <a:pt x="33" y="317"/>
                  </a:lnTo>
                  <a:lnTo>
                    <a:pt x="36" y="321"/>
                  </a:lnTo>
                  <a:lnTo>
                    <a:pt x="28" y="332"/>
                  </a:lnTo>
                  <a:lnTo>
                    <a:pt x="35" y="350"/>
                  </a:lnTo>
                  <a:lnTo>
                    <a:pt x="30" y="356"/>
                  </a:lnTo>
                  <a:lnTo>
                    <a:pt x="38" y="361"/>
                  </a:lnTo>
                  <a:lnTo>
                    <a:pt x="41" y="370"/>
                  </a:lnTo>
                  <a:lnTo>
                    <a:pt x="48" y="382"/>
                  </a:lnTo>
                  <a:lnTo>
                    <a:pt x="65" y="386"/>
                  </a:lnTo>
                  <a:lnTo>
                    <a:pt x="68" y="392"/>
                  </a:lnTo>
                  <a:lnTo>
                    <a:pt x="76" y="389"/>
                  </a:lnTo>
                  <a:lnTo>
                    <a:pt x="92" y="394"/>
                  </a:lnTo>
                  <a:lnTo>
                    <a:pt x="95" y="403"/>
                  </a:lnTo>
                  <a:lnTo>
                    <a:pt x="93" y="408"/>
                  </a:lnTo>
                  <a:lnTo>
                    <a:pt x="105" y="422"/>
                  </a:lnTo>
                  <a:lnTo>
                    <a:pt x="112" y="425"/>
                  </a:lnTo>
                  <a:lnTo>
                    <a:pt x="112" y="429"/>
                  </a:lnTo>
                  <a:lnTo>
                    <a:pt x="123" y="432"/>
                  </a:lnTo>
                  <a:lnTo>
                    <a:pt x="129" y="438"/>
                  </a:lnTo>
                  <a:lnTo>
                    <a:pt x="123" y="442"/>
                  </a:lnTo>
                  <a:lnTo>
                    <a:pt x="111" y="441"/>
                  </a:lnTo>
                  <a:lnTo>
                    <a:pt x="108" y="443"/>
                  </a:lnTo>
                  <a:lnTo>
                    <a:pt x="113" y="450"/>
                  </a:lnTo>
                  <a:lnTo>
                    <a:pt x="119" y="463"/>
                  </a:lnTo>
                  <a:lnTo>
                    <a:pt x="125" y="463"/>
                  </a:lnTo>
                  <a:lnTo>
                    <a:pt x="128" y="459"/>
                  </a:lnTo>
                  <a:lnTo>
                    <a:pt x="133" y="460"/>
                  </a:lnTo>
                  <a:lnTo>
                    <a:pt x="149" y="458"/>
                  </a:lnTo>
                  <a:lnTo>
                    <a:pt x="161" y="469"/>
                  </a:lnTo>
                  <a:lnTo>
                    <a:pt x="158" y="474"/>
                  </a:lnTo>
                  <a:lnTo>
                    <a:pt x="161" y="480"/>
                  </a:lnTo>
                  <a:lnTo>
                    <a:pt x="174" y="481"/>
                  </a:lnTo>
                  <a:lnTo>
                    <a:pt x="181" y="489"/>
                  </a:lnTo>
                  <a:lnTo>
                    <a:pt x="182" y="493"/>
                  </a:lnTo>
                  <a:lnTo>
                    <a:pt x="203" y="500"/>
                  </a:lnTo>
                  <a:lnTo>
                    <a:pt x="215" y="497"/>
                  </a:lnTo>
                  <a:lnTo>
                    <a:pt x="227" y="507"/>
                  </a:lnTo>
                  <a:lnTo>
                    <a:pt x="236" y="507"/>
                  </a:lnTo>
                  <a:lnTo>
                    <a:pt x="261" y="513"/>
                  </a:lnTo>
                  <a:lnTo>
                    <a:pt x="262" y="519"/>
                  </a:lnTo>
                  <a:lnTo>
                    <a:pt x="258" y="530"/>
                  </a:lnTo>
                  <a:lnTo>
                    <a:pt x="264" y="541"/>
                  </a:lnTo>
                  <a:lnTo>
                    <a:pt x="263" y="547"/>
                  </a:lnTo>
                  <a:lnTo>
                    <a:pt x="248" y="549"/>
                  </a:lnTo>
                  <a:lnTo>
                    <a:pt x="240" y="555"/>
                  </a:lnTo>
                  <a:lnTo>
                    <a:pt x="241" y="564"/>
                  </a:lnTo>
                  <a:lnTo>
                    <a:pt x="255" y="560"/>
                  </a:lnTo>
                  <a:lnTo>
                    <a:pt x="257" y="565"/>
                  </a:lnTo>
                  <a:lnTo>
                    <a:pt x="234" y="573"/>
                  </a:lnTo>
                  <a:lnTo>
                    <a:pt x="245" y="581"/>
                  </a:lnTo>
                  <a:lnTo>
                    <a:pt x="234" y="598"/>
                  </a:lnTo>
                  <a:lnTo>
                    <a:pt x="223" y="602"/>
                  </a:lnTo>
                  <a:lnTo>
                    <a:pt x="239" y="614"/>
                  </a:lnTo>
                  <a:lnTo>
                    <a:pt x="259" y="621"/>
                  </a:lnTo>
                  <a:lnTo>
                    <a:pt x="284" y="639"/>
                  </a:lnTo>
                  <a:lnTo>
                    <a:pt x="285" y="636"/>
                  </a:lnTo>
                  <a:lnTo>
                    <a:pt x="300" y="640"/>
                  </a:lnTo>
                  <a:lnTo>
                    <a:pt x="325" y="643"/>
                  </a:lnTo>
                  <a:lnTo>
                    <a:pt x="350" y="653"/>
                  </a:lnTo>
                  <a:lnTo>
                    <a:pt x="353" y="657"/>
                  </a:lnTo>
                  <a:lnTo>
                    <a:pt x="363" y="654"/>
                  </a:lnTo>
                  <a:lnTo>
                    <a:pt x="379" y="658"/>
                  </a:lnTo>
                  <a:lnTo>
                    <a:pt x="386" y="666"/>
                  </a:lnTo>
                  <a:lnTo>
                    <a:pt x="398" y="671"/>
                  </a:lnTo>
                  <a:lnTo>
                    <a:pt x="402" y="672"/>
                  </a:lnTo>
                  <a:lnTo>
                    <a:pt x="416" y="684"/>
                  </a:lnTo>
                  <a:lnTo>
                    <a:pt x="424" y="686"/>
                  </a:lnTo>
                  <a:lnTo>
                    <a:pt x="426" y="680"/>
                  </a:lnTo>
                  <a:lnTo>
                    <a:pt x="434" y="672"/>
                  </a:lnTo>
                  <a:lnTo>
                    <a:pt x="411" y="648"/>
                  </a:lnTo>
                  <a:lnTo>
                    <a:pt x="410" y="634"/>
                  </a:lnTo>
                  <a:lnTo>
                    <a:pt x="391" y="615"/>
                  </a:lnTo>
                  <a:lnTo>
                    <a:pt x="402" y="594"/>
                  </a:lnTo>
                  <a:lnTo>
                    <a:pt x="417" y="590"/>
                  </a:lnTo>
                  <a:lnTo>
                    <a:pt x="422" y="578"/>
                  </a:lnTo>
                  <a:lnTo>
                    <a:pt x="413" y="575"/>
                  </a:lnTo>
                  <a:lnTo>
                    <a:pt x="412" y="564"/>
                  </a:lnTo>
                  <a:lnTo>
                    <a:pt x="398" y="551"/>
                  </a:lnTo>
                  <a:lnTo>
                    <a:pt x="386" y="551"/>
                  </a:lnTo>
                  <a:lnTo>
                    <a:pt x="369" y="537"/>
                  </a:lnTo>
                  <a:lnTo>
                    <a:pt x="375" y="522"/>
                  </a:lnTo>
                  <a:lnTo>
                    <a:pt x="369" y="518"/>
                  </a:lnTo>
                  <a:lnTo>
                    <a:pt x="376" y="496"/>
                  </a:lnTo>
                  <a:lnTo>
                    <a:pt x="396" y="507"/>
                  </a:lnTo>
                  <a:lnTo>
                    <a:pt x="394" y="493"/>
                  </a:lnTo>
                  <a:lnTo>
                    <a:pt x="420" y="471"/>
                  </a:lnTo>
                  <a:lnTo>
                    <a:pt x="445" y="470"/>
                  </a:lnTo>
                  <a:lnTo>
                    <a:pt x="484" y="484"/>
                  </a:lnTo>
                  <a:lnTo>
                    <a:pt x="505" y="492"/>
                  </a:lnTo>
                  <a:lnTo>
                    <a:pt x="519" y="484"/>
                  </a:lnTo>
                  <a:lnTo>
                    <a:pt x="544" y="484"/>
                  </a:lnTo>
                  <a:lnTo>
                    <a:pt x="568" y="494"/>
                  </a:lnTo>
                  <a:lnTo>
                    <a:pt x="571" y="488"/>
                  </a:lnTo>
                  <a:lnTo>
                    <a:pt x="593" y="489"/>
                  </a:lnTo>
                  <a:lnTo>
                    <a:pt x="594" y="479"/>
                  </a:lnTo>
                  <a:lnTo>
                    <a:pt x="563" y="466"/>
                  </a:lnTo>
                  <a:lnTo>
                    <a:pt x="575" y="456"/>
                  </a:lnTo>
                  <a:lnTo>
                    <a:pt x="570" y="450"/>
                  </a:lnTo>
                  <a:lnTo>
                    <a:pt x="583" y="445"/>
                  </a:lnTo>
                  <a:lnTo>
                    <a:pt x="567" y="431"/>
                  </a:lnTo>
                  <a:lnTo>
                    <a:pt x="571" y="425"/>
                  </a:lnTo>
                  <a:lnTo>
                    <a:pt x="626" y="417"/>
                  </a:lnTo>
                  <a:lnTo>
                    <a:pt x="632" y="413"/>
                  </a:lnTo>
                  <a:lnTo>
                    <a:pt x="667" y="406"/>
                  </a:lnTo>
                  <a:lnTo>
                    <a:pt x="677" y="397"/>
                  </a:lnTo>
                  <a:lnTo>
                    <a:pt x="707" y="401"/>
                  </a:lnTo>
                  <a:lnTo>
                    <a:pt x="721" y="422"/>
                  </a:lnTo>
                  <a:lnTo>
                    <a:pt x="735" y="417"/>
                  </a:lnTo>
                  <a:lnTo>
                    <a:pt x="758" y="424"/>
                  </a:lnTo>
                  <a:lnTo>
                    <a:pt x="762" y="435"/>
                  </a:lnTo>
                  <a:lnTo>
                    <a:pt x="776" y="434"/>
                  </a:lnTo>
                  <a:lnTo>
                    <a:pt x="806" y="415"/>
                  </a:lnTo>
                  <a:lnTo>
                    <a:pt x="803" y="421"/>
                  </a:lnTo>
                  <a:lnTo>
                    <a:pt x="831" y="436"/>
                  </a:lnTo>
                  <a:lnTo>
                    <a:pt x="889" y="487"/>
                  </a:lnTo>
                  <a:lnTo>
                    <a:pt x="893" y="477"/>
                  </a:lnTo>
                  <a:lnTo>
                    <a:pt x="920" y="489"/>
                  </a:lnTo>
                  <a:lnTo>
                    <a:pt x="940" y="483"/>
                  </a:lnTo>
                  <a:lnTo>
                    <a:pt x="951" y="487"/>
                  </a:lnTo>
                  <a:lnTo>
                    <a:pt x="964" y="499"/>
                  </a:lnTo>
                  <a:lnTo>
                    <a:pt x="977" y="503"/>
                  </a:lnTo>
                  <a:lnTo>
                    <a:pt x="988" y="511"/>
                  </a:lnTo>
                  <a:lnTo>
                    <a:pt x="1007" y="509"/>
                  </a:lnTo>
                  <a:lnTo>
                    <a:pt x="1022" y="521"/>
                  </a:lnTo>
                  <a:lnTo>
                    <a:pt x="1027" y="519"/>
                  </a:lnTo>
                  <a:lnTo>
                    <a:pt x="1042" y="516"/>
                  </a:lnTo>
                  <a:lnTo>
                    <a:pt x="1064" y="498"/>
                  </a:lnTo>
                  <a:lnTo>
                    <a:pt x="1084" y="489"/>
                  </a:lnTo>
                  <a:lnTo>
                    <a:pt x="1101" y="495"/>
                  </a:lnTo>
                  <a:lnTo>
                    <a:pt x="1117" y="495"/>
                  </a:lnTo>
                  <a:lnTo>
                    <a:pt x="1133" y="505"/>
                  </a:lnTo>
                  <a:lnTo>
                    <a:pt x="1149" y="505"/>
                  </a:lnTo>
                  <a:lnTo>
                    <a:pt x="1175" y="510"/>
                  </a:lnTo>
                  <a:lnTo>
                    <a:pt x="1183" y="497"/>
                  </a:lnTo>
                  <a:lnTo>
                    <a:pt x="1170" y="485"/>
                  </a:lnTo>
                  <a:lnTo>
                    <a:pt x="1175" y="464"/>
                  </a:lnTo>
                  <a:lnTo>
                    <a:pt x="1197" y="472"/>
                  </a:lnTo>
                  <a:lnTo>
                    <a:pt x="1213" y="474"/>
                  </a:lnTo>
                  <a:lnTo>
                    <a:pt x="1234" y="479"/>
                  </a:lnTo>
                  <a:lnTo>
                    <a:pt x="1246" y="495"/>
                  </a:lnTo>
                  <a:lnTo>
                    <a:pt x="1273" y="503"/>
                  </a:lnTo>
                  <a:lnTo>
                    <a:pt x="1286" y="499"/>
                  </a:lnTo>
                  <a:lnTo>
                    <a:pt x="1305" y="497"/>
                  </a:lnTo>
                  <a:lnTo>
                    <a:pt x="1323" y="500"/>
                  </a:lnTo>
                  <a:lnTo>
                    <a:pt x="1344" y="509"/>
                  </a:lnTo>
                  <a:lnTo>
                    <a:pt x="1360" y="520"/>
                  </a:lnTo>
                  <a:lnTo>
                    <a:pt x="1374" y="519"/>
                  </a:lnTo>
                  <a:lnTo>
                    <a:pt x="1397" y="523"/>
                  </a:lnTo>
                  <a:lnTo>
                    <a:pt x="1408" y="518"/>
                  </a:lnTo>
                  <a:lnTo>
                    <a:pt x="1427" y="514"/>
                  </a:lnTo>
                  <a:lnTo>
                    <a:pt x="1442" y="500"/>
                  </a:lnTo>
                  <a:lnTo>
                    <a:pt x="1453" y="502"/>
                  </a:lnTo>
                  <a:lnTo>
                    <a:pt x="1465" y="509"/>
                  </a:lnTo>
                  <a:lnTo>
                    <a:pt x="1483" y="507"/>
                  </a:lnTo>
                  <a:lnTo>
                    <a:pt x="1508" y="515"/>
                  </a:lnTo>
                  <a:lnTo>
                    <a:pt x="1522" y="502"/>
                  </a:lnTo>
                  <a:lnTo>
                    <a:pt x="1516" y="493"/>
                  </a:lnTo>
                  <a:lnTo>
                    <a:pt x="1516" y="472"/>
                  </a:lnTo>
                  <a:lnTo>
                    <a:pt x="1520" y="465"/>
                  </a:lnTo>
                  <a:lnTo>
                    <a:pt x="1512" y="454"/>
                  </a:lnTo>
                  <a:lnTo>
                    <a:pt x="1500" y="450"/>
                  </a:lnTo>
                  <a:lnTo>
                    <a:pt x="1505" y="440"/>
                  </a:lnTo>
                  <a:lnTo>
                    <a:pt x="1522" y="436"/>
                  </a:lnTo>
                  <a:lnTo>
                    <a:pt x="1542" y="436"/>
                  </a:lnTo>
                  <a:lnTo>
                    <a:pt x="1570" y="441"/>
                  </a:lnTo>
                  <a:lnTo>
                    <a:pt x="1589" y="449"/>
                  </a:lnTo>
                  <a:lnTo>
                    <a:pt x="1614" y="469"/>
                  </a:lnTo>
                  <a:lnTo>
                    <a:pt x="1627" y="478"/>
                  </a:lnTo>
                  <a:lnTo>
                    <a:pt x="1641" y="490"/>
                  </a:lnTo>
                  <a:lnTo>
                    <a:pt x="1661" y="510"/>
                  </a:lnTo>
                  <a:lnTo>
                    <a:pt x="1693" y="516"/>
                  </a:lnTo>
                  <a:lnTo>
                    <a:pt x="1722" y="531"/>
                  </a:lnTo>
                  <a:lnTo>
                    <a:pt x="1742" y="550"/>
                  </a:lnTo>
                  <a:lnTo>
                    <a:pt x="1766" y="550"/>
                  </a:lnTo>
                  <a:lnTo>
                    <a:pt x="1775" y="542"/>
                  </a:lnTo>
                  <a:lnTo>
                    <a:pt x="1797" y="536"/>
                  </a:lnTo>
                  <a:lnTo>
                    <a:pt x="1802" y="554"/>
                  </a:lnTo>
                  <a:lnTo>
                    <a:pt x="1801" y="562"/>
                  </a:lnTo>
                  <a:lnTo>
                    <a:pt x="1810" y="584"/>
                  </a:lnTo>
                  <a:lnTo>
                    <a:pt x="1811" y="604"/>
                  </a:lnTo>
                  <a:lnTo>
                    <a:pt x="1789" y="600"/>
                  </a:lnTo>
                  <a:lnTo>
                    <a:pt x="1779" y="607"/>
                  </a:lnTo>
                  <a:lnTo>
                    <a:pt x="1794" y="625"/>
                  </a:lnTo>
                  <a:lnTo>
                    <a:pt x="1806" y="649"/>
                  </a:lnTo>
                  <a:lnTo>
                    <a:pt x="1798" y="650"/>
                  </a:lnTo>
                  <a:lnTo>
                    <a:pt x="1804" y="660"/>
                  </a:lnTo>
                  <a:lnTo>
                    <a:pt x="1808" y="664"/>
                  </a:lnTo>
                  <a:lnTo>
                    <a:pt x="1807" y="657"/>
                  </a:lnTo>
                  <a:lnTo>
                    <a:pt x="1821" y="642"/>
                  </a:lnTo>
                  <a:lnTo>
                    <a:pt x="1837" y="652"/>
                  </a:lnTo>
                  <a:lnTo>
                    <a:pt x="1848" y="651"/>
                  </a:lnTo>
                  <a:lnTo>
                    <a:pt x="1863" y="639"/>
                  </a:lnTo>
                  <a:lnTo>
                    <a:pt x="1866" y="627"/>
                  </a:lnTo>
                  <a:lnTo>
                    <a:pt x="1873" y="604"/>
                  </a:lnTo>
                  <a:lnTo>
                    <a:pt x="1880" y="580"/>
                  </a:lnTo>
                  <a:lnTo>
                    <a:pt x="1876" y="566"/>
                  </a:lnTo>
                  <a:lnTo>
                    <a:pt x="1879" y="536"/>
                  </a:lnTo>
                  <a:lnTo>
                    <a:pt x="1862" y="504"/>
                  </a:lnTo>
                  <a:lnTo>
                    <a:pt x="1844" y="480"/>
                  </a:lnTo>
                  <a:lnTo>
                    <a:pt x="1840" y="460"/>
                  </a:lnTo>
                  <a:lnTo>
                    <a:pt x="1825" y="443"/>
                  </a:lnTo>
                  <a:lnTo>
                    <a:pt x="1784" y="421"/>
                  </a:lnTo>
                  <a:lnTo>
                    <a:pt x="1766" y="420"/>
                  </a:lnTo>
                  <a:lnTo>
                    <a:pt x="1764" y="430"/>
                  </a:lnTo>
                  <a:lnTo>
                    <a:pt x="1746" y="425"/>
                  </a:lnTo>
                  <a:lnTo>
                    <a:pt x="1728" y="413"/>
                  </a:lnTo>
                  <a:lnTo>
                    <a:pt x="1701" y="410"/>
                  </a:lnTo>
                  <a:lnTo>
                    <a:pt x="1718" y="364"/>
                  </a:lnTo>
                  <a:lnTo>
                    <a:pt x="1729" y="326"/>
                  </a:lnTo>
                  <a:lnTo>
                    <a:pt x="1772" y="320"/>
                  </a:lnTo>
                  <a:lnTo>
                    <a:pt x="1821" y="323"/>
                  </a:lnTo>
                  <a:lnTo>
                    <a:pt x="1829" y="314"/>
                  </a:lnTo>
                  <a:lnTo>
                    <a:pt x="1855" y="317"/>
                  </a:lnTo>
                  <a:lnTo>
                    <a:pt x="1869" y="331"/>
                  </a:lnTo>
                  <a:lnTo>
                    <a:pt x="1890" y="329"/>
                  </a:lnTo>
                  <a:lnTo>
                    <a:pt x="1917" y="324"/>
                  </a:lnTo>
                  <a:lnTo>
                    <a:pt x="1892" y="312"/>
                  </a:lnTo>
                  <a:lnTo>
                    <a:pt x="1892" y="280"/>
                  </a:lnTo>
                  <a:lnTo>
                    <a:pt x="1921" y="273"/>
                  </a:lnTo>
                  <a:lnTo>
                    <a:pt x="1961" y="297"/>
                  </a:lnTo>
                  <a:lnTo>
                    <a:pt x="1972" y="275"/>
                  </a:lnTo>
                  <a:lnTo>
                    <a:pt x="1961" y="260"/>
                  </a:lnTo>
                  <a:lnTo>
                    <a:pt x="1977" y="258"/>
                  </a:lnTo>
                  <a:lnTo>
                    <a:pt x="1999" y="285"/>
                  </a:lnTo>
                  <a:lnTo>
                    <a:pt x="1992" y="301"/>
                  </a:lnTo>
                  <a:lnTo>
                    <a:pt x="1989" y="320"/>
                  </a:lnTo>
                  <a:lnTo>
                    <a:pt x="1990" y="345"/>
                  </a:lnTo>
                  <a:lnTo>
                    <a:pt x="1972" y="349"/>
                  </a:lnTo>
                  <a:lnTo>
                    <a:pt x="1981" y="358"/>
                  </a:lnTo>
                  <a:lnTo>
                    <a:pt x="1980" y="370"/>
                  </a:lnTo>
                  <a:lnTo>
                    <a:pt x="2001" y="397"/>
                  </a:lnTo>
                  <a:lnTo>
                    <a:pt x="2053" y="441"/>
                  </a:lnTo>
                  <a:lnTo>
                    <a:pt x="2086" y="471"/>
                  </a:lnTo>
                  <a:lnTo>
                    <a:pt x="2105" y="485"/>
                  </a:lnTo>
                  <a:lnTo>
                    <a:pt x="2110" y="466"/>
                  </a:lnTo>
                  <a:lnTo>
                    <a:pt x="2096" y="446"/>
                  </a:lnTo>
                  <a:lnTo>
                    <a:pt x="2115" y="441"/>
                  </a:lnTo>
                  <a:lnTo>
                    <a:pt x="2098" y="418"/>
                  </a:lnTo>
                  <a:lnTo>
                    <a:pt x="2114" y="408"/>
                  </a:lnTo>
                  <a:lnTo>
                    <a:pt x="2099" y="399"/>
                  </a:lnTo>
                  <a:lnTo>
                    <a:pt x="2088" y="383"/>
                  </a:lnTo>
                  <a:lnTo>
                    <a:pt x="2102" y="382"/>
                  </a:lnTo>
                  <a:lnTo>
                    <a:pt x="2072" y="354"/>
                  </a:lnTo>
                  <a:lnTo>
                    <a:pt x="2050" y="349"/>
                  </a:lnTo>
                  <a:lnTo>
                    <a:pt x="2041" y="341"/>
                  </a:lnTo>
                  <a:lnTo>
                    <a:pt x="2037" y="322"/>
                  </a:lnTo>
                  <a:lnTo>
                    <a:pt x="2027" y="310"/>
                  </a:lnTo>
                  <a:lnTo>
                    <a:pt x="2050" y="312"/>
                  </a:lnTo>
                  <a:lnTo>
                    <a:pt x="2054" y="304"/>
                  </a:lnTo>
                  <a:lnTo>
                    <a:pt x="2069" y="311"/>
                  </a:lnTo>
                  <a:lnTo>
                    <a:pt x="2089" y="296"/>
                  </a:lnTo>
                  <a:lnTo>
                    <a:pt x="2127" y="309"/>
                  </a:lnTo>
                  <a:lnTo>
                    <a:pt x="2121" y="301"/>
                  </a:lnTo>
                  <a:lnTo>
                    <a:pt x="2127" y="289"/>
                  </a:lnTo>
                  <a:lnTo>
                    <a:pt x="2132" y="275"/>
                  </a:lnTo>
                  <a:lnTo>
                    <a:pt x="2142" y="273"/>
                  </a:lnTo>
                  <a:lnTo>
                    <a:pt x="2162" y="259"/>
                  </a:lnTo>
                  <a:lnTo>
                    <a:pt x="2195" y="263"/>
                  </a:lnTo>
                  <a:lnTo>
                    <a:pt x="2192" y="258"/>
                  </a:lnTo>
                  <a:lnTo>
                    <a:pt x="2179" y="250"/>
                  </a:lnTo>
                  <a:lnTo>
                    <a:pt x="2165" y="245"/>
                  </a:lnTo>
                  <a:lnTo>
                    <a:pt x="2135" y="230"/>
                  </a:lnTo>
                  <a:lnTo>
                    <a:pt x="2107" y="220"/>
                  </a:lnTo>
                  <a:lnTo>
                    <a:pt x="2128" y="221"/>
                  </a:lnTo>
                  <a:lnTo>
                    <a:pt x="2134" y="213"/>
                  </a:lnTo>
                  <a:lnTo>
                    <a:pt x="2128" y="210"/>
                  </a:lnTo>
                  <a:lnTo>
                    <a:pt x="2117" y="188"/>
                  </a:lnTo>
                  <a:lnTo>
                    <a:pt x="2124" y="183"/>
                  </a:lnTo>
                  <a:lnTo>
                    <a:pt x="2127" y="194"/>
                  </a:lnTo>
                  <a:lnTo>
                    <a:pt x="2139" y="195"/>
                  </a:lnTo>
                  <a:lnTo>
                    <a:pt x="2136" y="183"/>
                  </a:lnTo>
                  <a:lnTo>
                    <a:pt x="2149" y="185"/>
                  </a:lnTo>
                  <a:lnTo>
                    <a:pt x="2158" y="186"/>
                  </a:lnTo>
                  <a:lnTo>
                    <a:pt x="2154" y="172"/>
                  </a:lnTo>
                  <a:lnTo>
                    <a:pt x="2163" y="168"/>
                  </a:lnTo>
                  <a:lnTo>
                    <a:pt x="2150" y="158"/>
                  </a:lnTo>
                  <a:lnTo>
                    <a:pt x="2155" y="143"/>
                  </a:lnTo>
                  <a:lnTo>
                    <a:pt x="2167" y="151"/>
                  </a:lnTo>
                  <a:lnTo>
                    <a:pt x="2166" y="129"/>
                  </a:lnTo>
                  <a:lnTo>
                    <a:pt x="2163" y="113"/>
                  </a:lnTo>
                  <a:lnTo>
                    <a:pt x="2134" y="115"/>
                  </a:lnTo>
                  <a:lnTo>
                    <a:pt x="2116" y="123"/>
                  </a:lnTo>
                  <a:lnTo>
                    <a:pt x="2102" y="129"/>
                  </a:lnTo>
                  <a:lnTo>
                    <a:pt x="2098" y="133"/>
                  </a:lnTo>
                  <a:lnTo>
                    <a:pt x="2081" y="119"/>
                  </a:lnTo>
                  <a:lnTo>
                    <a:pt x="2021" y="141"/>
                  </a:lnTo>
                  <a:lnTo>
                    <a:pt x="2020" y="142"/>
                  </a:lnTo>
                  <a:lnTo>
                    <a:pt x="2020" y="142"/>
                  </a:lnTo>
                  <a:lnTo>
                    <a:pt x="1988" y="134"/>
                  </a:lnTo>
                  <a:lnTo>
                    <a:pt x="1936" y="126"/>
                  </a:lnTo>
                  <a:lnTo>
                    <a:pt x="1911" y="126"/>
                  </a:lnTo>
                  <a:lnTo>
                    <a:pt x="1861" y="122"/>
                  </a:lnTo>
                  <a:lnTo>
                    <a:pt x="1867" y="130"/>
                  </a:lnTo>
                  <a:lnTo>
                    <a:pt x="1896" y="141"/>
                  </a:lnTo>
                  <a:lnTo>
                    <a:pt x="1888" y="146"/>
                  </a:lnTo>
                  <a:lnTo>
                    <a:pt x="1841" y="131"/>
                  </a:lnTo>
                  <a:lnTo>
                    <a:pt x="1818" y="132"/>
                  </a:lnTo>
                  <a:lnTo>
                    <a:pt x="1788" y="129"/>
                  </a:lnTo>
                  <a:lnTo>
                    <a:pt x="1765" y="130"/>
                  </a:lnTo>
                  <a:lnTo>
                    <a:pt x="1753" y="133"/>
                  </a:lnTo>
                  <a:lnTo>
                    <a:pt x="1729" y="128"/>
                  </a:lnTo>
                  <a:lnTo>
                    <a:pt x="1711" y="115"/>
                  </a:lnTo>
                  <a:lnTo>
                    <a:pt x="1690" y="109"/>
                  </a:lnTo>
                  <a:lnTo>
                    <a:pt x="1660" y="106"/>
                  </a:lnTo>
                  <a:lnTo>
                    <a:pt x="1612" y="109"/>
                  </a:lnTo>
                  <a:lnTo>
                    <a:pt x="1559" y="96"/>
                  </a:lnTo>
                  <a:lnTo>
                    <a:pt x="1533" y="86"/>
                  </a:lnTo>
                  <a:lnTo>
                    <a:pt x="1402" y="75"/>
                  </a:lnTo>
                  <a:lnTo>
                    <a:pt x="1395" y="82"/>
                  </a:lnTo>
                  <a:lnTo>
                    <a:pt x="1426" y="98"/>
                  </a:lnTo>
                  <a:lnTo>
                    <a:pt x="1402" y="96"/>
                  </a:lnTo>
                  <a:lnTo>
                    <a:pt x="1399" y="101"/>
                  </a:lnTo>
                  <a:lnTo>
                    <a:pt x="1367" y="95"/>
                  </a:lnTo>
                  <a:lnTo>
                    <a:pt x="1351" y="100"/>
                  </a:lnTo>
                  <a:lnTo>
                    <a:pt x="1320" y="92"/>
                  </a:lnTo>
                  <a:lnTo>
                    <a:pt x="1331" y="110"/>
                  </a:lnTo>
                  <a:lnTo>
                    <a:pt x="1301" y="103"/>
                  </a:lnTo>
                  <a:lnTo>
                    <a:pt x="1268" y="90"/>
                  </a:lnTo>
                  <a:lnTo>
                    <a:pt x="1267" y="83"/>
                  </a:lnTo>
                  <a:lnTo>
                    <a:pt x="1247" y="72"/>
                  </a:lnTo>
                  <a:lnTo>
                    <a:pt x="1215" y="64"/>
                  </a:lnTo>
                  <a:lnTo>
                    <a:pt x="1195" y="64"/>
                  </a:lnTo>
                  <a:lnTo>
                    <a:pt x="1165" y="61"/>
                  </a:lnTo>
                  <a:lnTo>
                    <a:pt x="1180" y="73"/>
                  </a:lnTo>
                  <a:lnTo>
                    <a:pt x="1124" y="71"/>
                  </a:lnTo>
                  <a:lnTo>
                    <a:pt x="1111" y="63"/>
                  </a:lnTo>
                  <a:lnTo>
                    <a:pt x="1068" y="61"/>
                  </a:lnTo>
                  <a:lnTo>
                    <a:pt x="1051" y="63"/>
                  </a:lnTo>
                  <a:lnTo>
                    <a:pt x="1051" y="68"/>
                  </a:lnTo>
                  <a:lnTo>
                    <a:pt x="1032" y="57"/>
                  </a:lnTo>
                  <a:lnTo>
                    <a:pt x="1024" y="60"/>
                  </a:lnTo>
                  <a:lnTo>
                    <a:pt x="1001" y="56"/>
                  </a:lnTo>
                  <a:lnTo>
                    <a:pt x="983" y="54"/>
                  </a:lnTo>
                  <a:lnTo>
                    <a:pt x="986" y="49"/>
                  </a:lnTo>
                  <a:lnTo>
                    <a:pt x="1008" y="40"/>
                  </a:lnTo>
                  <a:lnTo>
                    <a:pt x="1016" y="36"/>
                  </a:lnTo>
                  <a:lnTo>
                    <a:pt x="1009" y="28"/>
                  </a:lnTo>
                  <a:lnTo>
                    <a:pt x="992" y="22"/>
                  </a:lnTo>
                  <a:lnTo>
                    <a:pt x="955" y="15"/>
                  </a:lnTo>
                  <a:lnTo>
                    <a:pt x="920" y="14"/>
                  </a:lnTo>
                  <a:lnTo>
                    <a:pt x="913" y="18"/>
                  </a:lnTo>
                  <a:lnTo>
                    <a:pt x="901" y="11"/>
                  </a:lnTo>
                  <a:lnTo>
                    <a:pt x="901" y="11"/>
                  </a:lnTo>
                  <a:lnTo>
                    <a:pt x="871" y="8"/>
                  </a:lnTo>
                  <a:lnTo>
                    <a:pt x="883" y="5"/>
                  </a:lnTo>
                  <a:lnTo>
                    <a:pt x="856" y="0"/>
                  </a:lnTo>
                  <a:close/>
                </a:path>
              </a:pathLst>
            </a:custGeom>
            <a:solidFill>
              <a:srgbClr val="0059C2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64" name="Freeform 217">
              <a:extLst>
                <a:ext uri="{FF2B5EF4-FFF2-40B4-BE49-F238E27FC236}">
                  <a16:creationId xmlns:a16="http://schemas.microsoft.com/office/drawing/2014/main" id="{0FAA0529-25FC-45C7-965E-8687F5B1FB4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0495" y="3651572"/>
              <a:ext cx="54703" cy="53401"/>
            </a:xfrm>
            <a:custGeom>
              <a:avLst/>
              <a:gdLst>
                <a:gd name="T0" fmla="*/ 36 w 42"/>
                <a:gd name="T1" fmla="*/ 6 h 41"/>
                <a:gd name="T2" fmla="*/ 29 w 42"/>
                <a:gd name="T3" fmla="*/ 0 h 41"/>
                <a:gd name="T4" fmla="*/ 20 w 42"/>
                <a:gd name="T5" fmla="*/ 4 h 41"/>
                <a:gd name="T6" fmla="*/ 10 w 42"/>
                <a:gd name="T7" fmla="*/ 12 h 41"/>
                <a:gd name="T8" fmla="*/ 0 w 42"/>
                <a:gd name="T9" fmla="*/ 25 h 41"/>
                <a:gd name="T10" fmla="*/ 12 w 42"/>
                <a:gd name="T11" fmla="*/ 41 h 41"/>
                <a:gd name="T12" fmla="*/ 18 w 42"/>
                <a:gd name="T13" fmla="*/ 39 h 41"/>
                <a:gd name="T14" fmla="*/ 22 w 42"/>
                <a:gd name="T15" fmla="*/ 32 h 41"/>
                <a:gd name="T16" fmla="*/ 32 w 42"/>
                <a:gd name="T17" fmla="*/ 29 h 41"/>
                <a:gd name="T18" fmla="*/ 36 w 42"/>
                <a:gd name="T19" fmla="*/ 22 h 41"/>
                <a:gd name="T20" fmla="*/ 42 w 42"/>
                <a:gd name="T21" fmla="*/ 12 h 41"/>
                <a:gd name="T22" fmla="*/ 36 w 42"/>
                <a:gd name="T23" fmla="*/ 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2" h="41">
                  <a:moveTo>
                    <a:pt x="36" y="6"/>
                  </a:moveTo>
                  <a:lnTo>
                    <a:pt x="29" y="0"/>
                  </a:lnTo>
                  <a:lnTo>
                    <a:pt x="20" y="4"/>
                  </a:lnTo>
                  <a:lnTo>
                    <a:pt x="10" y="12"/>
                  </a:lnTo>
                  <a:lnTo>
                    <a:pt x="0" y="25"/>
                  </a:lnTo>
                  <a:lnTo>
                    <a:pt x="12" y="41"/>
                  </a:lnTo>
                  <a:lnTo>
                    <a:pt x="18" y="39"/>
                  </a:lnTo>
                  <a:lnTo>
                    <a:pt x="22" y="32"/>
                  </a:lnTo>
                  <a:lnTo>
                    <a:pt x="32" y="29"/>
                  </a:lnTo>
                  <a:lnTo>
                    <a:pt x="36" y="22"/>
                  </a:lnTo>
                  <a:lnTo>
                    <a:pt x="42" y="12"/>
                  </a:lnTo>
                  <a:lnTo>
                    <a:pt x="36" y="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  <p:sp>
          <p:nvSpPr>
            <p:cNvPr id="465" name="Freeform 117">
              <a:extLst>
                <a:ext uri="{FF2B5EF4-FFF2-40B4-BE49-F238E27FC236}">
                  <a16:creationId xmlns:a16="http://schemas.microsoft.com/office/drawing/2014/main" id="{31BB0087-B6B0-42CD-A319-F6E4090A461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1970" y="2127747"/>
              <a:ext cx="199296" cy="167971"/>
            </a:xfrm>
            <a:custGeom>
              <a:avLst/>
              <a:gdLst>
                <a:gd name="T0" fmla="*/ 227 w 287"/>
                <a:gd name="T1" fmla="*/ 9 h 297"/>
                <a:gd name="T2" fmla="*/ 261 w 287"/>
                <a:gd name="T3" fmla="*/ 12 h 297"/>
                <a:gd name="T4" fmla="*/ 275 w 287"/>
                <a:gd name="T5" fmla="*/ 25 h 297"/>
                <a:gd name="T6" fmla="*/ 282 w 287"/>
                <a:gd name="T7" fmla="*/ 60 h 297"/>
                <a:gd name="T8" fmla="*/ 284 w 287"/>
                <a:gd name="T9" fmla="*/ 72 h 297"/>
                <a:gd name="T10" fmla="*/ 253 w 287"/>
                <a:gd name="T11" fmla="*/ 84 h 297"/>
                <a:gd name="T12" fmla="*/ 242 w 287"/>
                <a:gd name="T13" fmla="*/ 101 h 297"/>
                <a:gd name="T14" fmla="*/ 214 w 287"/>
                <a:gd name="T15" fmla="*/ 119 h 297"/>
                <a:gd name="T16" fmla="*/ 182 w 287"/>
                <a:gd name="T17" fmla="*/ 128 h 297"/>
                <a:gd name="T18" fmla="*/ 153 w 287"/>
                <a:gd name="T19" fmla="*/ 168 h 297"/>
                <a:gd name="T20" fmla="*/ 150 w 287"/>
                <a:gd name="T21" fmla="*/ 168 h 297"/>
                <a:gd name="T22" fmla="*/ 139 w 287"/>
                <a:gd name="T23" fmla="*/ 180 h 297"/>
                <a:gd name="T24" fmla="*/ 125 w 287"/>
                <a:gd name="T25" fmla="*/ 184 h 297"/>
                <a:gd name="T26" fmla="*/ 104 w 287"/>
                <a:gd name="T27" fmla="*/ 184 h 297"/>
                <a:gd name="T28" fmla="*/ 92 w 287"/>
                <a:gd name="T29" fmla="*/ 202 h 297"/>
                <a:gd name="T30" fmla="*/ 58 w 287"/>
                <a:gd name="T31" fmla="*/ 250 h 297"/>
                <a:gd name="T32" fmla="*/ 43 w 287"/>
                <a:gd name="T33" fmla="*/ 288 h 297"/>
                <a:gd name="T34" fmla="*/ 0 w 287"/>
                <a:gd name="T35" fmla="*/ 297 h 297"/>
                <a:gd name="T36" fmla="*/ 1 w 287"/>
                <a:gd name="T37" fmla="*/ 288 h 297"/>
                <a:gd name="T38" fmla="*/ 14 w 287"/>
                <a:gd name="T39" fmla="*/ 271 h 297"/>
                <a:gd name="T40" fmla="*/ 20 w 287"/>
                <a:gd name="T41" fmla="*/ 249 h 297"/>
                <a:gd name="T42" fmla="*/ 37 w 287"/>
                <a:gd name="T43" fmla="*/ 233 h 297"/>
                <a:gd name="T44" fmla="*/ 42 w 287"/>
                <a:gd name="T45" fmla="*/ 210 h 297"/>
                <a:gd name="T46" fmla="*/ 61 w 287"/>
                <a:gd name="T47" fmla="*/ 189 h 297"/>
                <a:gd name="T48" fmla="*/ 74 w 287"/>
                <a:gd name="T49" fmla="*/ 168 h 297"/>
                <a:gd name="T50" fmla="*/ 99 w 287"/>
                <a:gd name="T51" fmla="*/ 158 h 297"/>
                <a:gd name="T52" fmla="*/ 123 w 287"/>
                <a:gd name="T53" fmla="*/ 138 h 297"/>
                <a:gd name="T54" fmla="*/ 134 w 287"/>
                <a:gd name="T55" fmla="*/ 95 h 297"/>
                <a:gd name="T56" fmla="*/ 144 w 287"/>
                <a:gd name="T57" fmla="*/ 66 h 297"/>
                <a:gd name="T58" fmla="*/ 173 w 287"/>
                <a:gd name="T59" fmla="*/ 43 h 297"/>
                <a:gd name="T60" fmla="*/ 198 w 287"/>
                <a:gd name="T61" fmla="*/ 13 h 297"/>
                <a:gd name="T62" fmla="*/ 217 w 287"/>
                <a:gd name="T63" fmla="*/ 0 h 297"/>
                <a:gd name="connsiteX0" fmla="*/ 7561 w 10000"/>
                <a:gd name="connsiteY0" fmla="*/ 0 h 10000"/>
                <a:gd name="connsiteX1" fmla="*/ 7909 w 10000"/>
                <a:gd name="connsiteY1" fmla="*/ 303 h 10000"/>
                <a:gd name="connsiteX2" fmla="*/ 8502 w 10000"/>
                <a:gd name="connsiteY2" fmla="*/ 236 h 10000"/>
                <a:gd name="connsiteX3" fmla="*/ 9094 w 10000"/>
                <a:gd name="connsiteY3" fmla="*/ 404 h 10000"/>
                <a:gd name="connsiteX4" fmla="*/ 9373 w 10000"/>
                <a:gd name="connsiteY4" fmla="*/ 404 h 10000"/>
                <a:gd name="connsiteX5" fmla="*/ 9582 w 10000"/>
                <a:gd name="connsiteY5" fmla="*/ 842 h 10000"/>
                <a:gd name="connsiteX6" fmla="*/ 9617 w 10000"/>
                <a:gd name="connsiteY6" fmla="*/ 1279 h 10000"/>
                <a:gd name="connsiteX7" fmla="*/ 9826 w 10000"/>
                <a:gd name="connsiteY7" fmla="*/ 2020 h 10000"/>
                <a:gd name="connsiteX8" fmla="*/ 10000 w 10000"/>
                <a:gd name="connsiteY8" fmla="*/ 2155 h 10000"/>
                <a:gd name="connsiteX9" fmla="*/ 9895 w 10000"/>
                <a:gd name="connsiteY9" fmla="*/ 2424 h 10000"/>
                <a:gd name="connsiteX10" fmla="*/ 9094 w 10000"/>
                <a:gd name="connsiteY10" fmla="*/ 2559 h 10000"/>
                <a:gd name="connsiteX11" fmla="*/ 8815 w 10000"/>
                <a:gd name="connsiteY11" fmla="*/ 2828 h 10000"/>
                <a:gd name="connsiteX12" fmla="*/ 8432 w 10000"/>
                <a:gd name="connsiteY12" fmla="*/ 2862 h 10000"/>
                <a:gd name="connsiteX13" fmla="*/ 8432 w 10000"/>
                <a:gd name="connsiteY13" fmla="*/ 3401 h 10000"/>
                <a:gd name="connsiteX14" fmla="*/ 7700 w 10000"/>
                <a:gd name="connsiteY14" fmla="*/ 3670 h 10000"/>
                <a:gd name="connsiteX15" fmla="*/ 7456 w 10000"/>
                <a:gd name="connsiteY15" fmla="*/ 4007 h 10000"/>
                <a:gd name="connsiteX16" fmla="*/ 6969 w 10000"/>
                <a:gd name="connsiteY16" fmla="*/ 4209 h 10000"/>
                <a:gd name="connsiteX17" fmla="*/ 6341 w 10000"/>
                <a:gd name="connsiteY17" fmla="*/ 4310 h 10000"/>
                <a:gd name="connsiteX18" fmla="*/ 5331 w 10000"/>
                <a:gd name="connsiteY18" fmla="*/ 4815 h 10000"/>
                <a:gd name="connsiteX19" fmla="*/ 5331 w 10000"/>
                <a:gd name="connsiteY19" fmla="*/ 5657 h 10000"/>
                <a:gd name="connsiteX20" fmla="*/ 5226 w 10000"/>
                <a:gd name="connsiteY20" fmla="*/ 5657 h 10000"/>
                <a:gd name="connsiteX21" fmla="*/ 5226 w 10000"/>
                <a:gd name="connsiteY21" fmla="*/ 5657 h 10000"/>
                <a:gd name="connsiteX22" fmla="*/ 5226 w 10000"/>
                <a:gd name="connsiteY22" fmla="*/ 6027 h 10000"/>
                <a:gd name="connsiteX23" fmla="*/ 4843 w 10000"/>
                <a:gd name="connsiteY23" fmla="*/ 6061 h 10000"/>
                <a:gd name="connsiteX24" fmla="*/ 4634 w 10000"/>
                <a:gd name="connsiteY24" fmla="*/ 6195 h 10000"/>
                <a:gd name="connsiteX25" fmla="*/ 4355 w 10000"/>
                <a:gd name="connsiteY25" fmla="*/ 6195 h 10000"/>
                <a:gd name="connsiteX26" fmla="*/ 4146 w 10000"/>
                <a:gd name="connsiteY26" fmla="*/ 6128 h 10000"/>
                <a:gd name="connsiteX27" fmla="*/ 3624 w 10000"/>
                <a:gd name="connsiteY27" fmla="*/ 6195 h 10000"/>
                <a:gd name="connsiteX28" fmla="*/ 3415 w 10000"/>
                <a:gd name="connsiteY28" fmla="*/ 6734 h 10000"/>
                <a:gd name="connsiteX29" fmla="*/ 3206 w 10000"/>
                <a:gd name="connsiteY29" fmla="*/ 6801 h 10000"/>
                <a:gd name="connsiteX30" fmla="*/ 2892 w 10000"/>
                <a:gd name="connsiteY30" fmla="*/ 7677 h 10000"/>
                <a:gd name="connsiteX31" fmla="*/ 2021 w 10000"/>
                <a:gd name="connsiteY31" fmla="*/ 8418 h 10000"/>
                <a:gd name="connsiteX32" fmla="*/ 1777 w 10000"/>
                <a:gd name="connsiteY32" fmla="*/ 9394 h 10000"/>
                <a:gd name="connsiteX33" fmla="*/ 1498 w 10000"/>
                <a:gd name="connsiteY33" fmla="*/ 9697 h 10000"/>
                <a:gd name="connsiteX34" fmla="*/ 1429 w 10000"/>
                <a:gd name="connsiteY34" fmla="*/ 9966 h 10000"/>
                <a:gd name="connsiteX35" fmla="*/ 0 w 10000"/>
                <a:gd name="connsiteY35" fmla="*/ 10000 h 10000"/>
                <a:gd name="connsiteX36" fmla="*/ 0 w 10000"/>
                <a:gd name="connsiteY36" fmla="*/ 10000 h 10000"/>
                <a:gd name="connsiteX37" fmla="*/ 35 w 10000"/>
                <a:gd name="connsiteY37" fmla="*/ 9697 h 10000"/>
                <a:gd name="connsiteX38" fmla="*/ 279 w 10000"/>
                <a:gd name="connsiteY38" fmla="*/ 9495 h 10000"/>
                <a:gd name="connsiteX39" fmla="*/ 488 w 10000"/>
                <a:gd name="connsiteY39" fmla="*/ 9125 h 10000"/>
                <a:gd name="connsiteX40" fmla="*/ 453 w 10000"/>
                <a:gd name="connsiteY40" fmla="*/ 8889 h 10000"/>
                <a:gd name="connsiteX41" fmla="*/ 697 w 10000"/>
                <a:gd name="connsiteY41" fmla="*/ 8384 h 10000"/>
                <a:gd name="connsiteX42" fmla="*/ 1045 w 10000"/>
                <a:gd name="connsiteY42" fmla="*/ 7946 h 10000"/>
                <a:gd name="connsiteX43" fmla="*/ 1289 w 10000"/>
                <a:gd name="connsiteY43" fmla="*/ 7845 h 10000"/>
                <a:gd name="connsiteX44" fmla="*/ 1463 w 10000"/>
                <a:gd name="connsiteY44" fmla="*/ 7441 h 10000"/>
                <a:gd name="connsiteX45" fmla="*/ 1463 w 10000"/>
                <a:gd name="connsiteY45" fmla="*/ 7071 h 10000"/>
                <a:gd name="connsiteX46" fmla="*/ 1707 w 10000"/>
                <a:gd name="connsiteY46" fmla="*/ 6633 h 10000"/>
                <a:gd name="connsiteX47" fmla="*/ 2125 w 10000"/>
                <a:gd name="connsiteY47" fmla="*/ 6364 h 10000"/>
                <a:gd name="connsiteX48" fmla="*/ 2544 w 10000"/>
                <a:gd name="connsiteY48" fmla="*/ 5657 h 10000"/>
                <a:gd name="connsiteX49" fmla="*/ 2578 w 10000"/>
                <a:gd name="connsiteY49" fmla="*/ 5657 h 10000"/>
                <a:gd name="connsiteX50" fmla="*/ 2892 w 10000"/>
                <a:gd name="connsiteY50" fmla="*/ 5387 h 10000"/>
                <a:gd name="connsiteX51" fmla="*/ 3449 w 10000"/>
                <a:gd name="connsiteY51" fmla="*/ 5320 h 10000"/>
                <a:gd name="connsiteX52" fmla="*/ 3972 w 10000"/>
                <a:gd name="connsiteY52" fmla="*/ 4848 h 10000"/>
                <a:gd name="connsiteX53" fmla="*/ 4286 w 10000"/>
                <a:gd name="connsiteY53" fmla="*/ 4646 h 10000"/>
                <a:gd name="connsiteX54" fmla="*/ 4808 w 10000"/>
                <a:gd name="connsiteY54" fmla="*/ 4074 h 10000"/>
                <a:gd name="connsiteX55" fmla="*/ 4669 w 10000"/>
                <a:gd name="connsiteY55" fmla="*/ 3199 h 10000"/>
                <a:gd name="connsiteX56" fmla="*/ 4913 w 10000"/>
                <a:gd name="connsiteY56" fmla="*/ 2593 h 10000"/>
                <a:gd name="connsiteX57" fmla="*/ 5017 w 10000"/>
                <a:gd name="connsiteY57" fmla="*/ 2222 h 10000"/>
                <a:gd name="connsiteX58" fmla="*/ 5436 w 10000"/>
                <a:gd name="connsiteY58" fmla="*/ 1751 h 10000"/>
                <a:gd name="connsiteX59" fmla="*/ 6028 w 10000"/>
                <a:gd name="connsiteY59" fmla="*/ 1448 h 10000"/>
                <a:gd name="connsiteX60" fmla="*/ 6481 w 10000"/>
                <a:gd name="connsiteY60" fmla="*/ 1145 h 10000"/>
                <a:gd name="connsiteX61" fmla="*/ 6899 w 10000"/>
                <a:gd name="connsiteY61" fmla="*/ 438 h 10000"/>
                <a:gd name="connsiteX62" fmla="*/ 7561 w 10000"/>
                <a:gd name="connsiteY62" fmla="*/ 0 h 10000"/>
                <a:gd name="connsiteX0" fmla="*/ 6899 w 10000"/>
                <a:gd name="connsiteY0" fmla="*/ 202 h 9764"/>
                <a:gd name="connsiteX1" fmla="*/ 7909 w 10000"/>
                <a:gd name="connsiteY1" fmla="*/ 67 h 9764"/>
                <a:gd name="connsiteX2" fmla="*/ 8502 w 10000"/>
                <a:gd name="connsiteY2" fmla="*/ 0 h 9764"/>
                <a:gd name="connsiteX3" fmla="*/ 9094 w 10000"/>
                <a:gd name="connsiteY3" fmla="*/ 168 h 9764"/>
                <a:gd name="connsiteX4" fmla="*/ 9373 w 10000"/>
                <a:gd name="connsiteY4" fmla="*/ 168 h 9764"/>
                <a:gd name="connsiteX5" fmla="*/ 9582 w 10000"/>
                <a:gd name="connsiteY5" fmla="*/ 606 h 9764"/>
                <a:gd name="connsiteX6" fmla="*/ 9617 w 10000"/>
                <a:gd name="connsiteY6" fmla="*/ 1043 h 9764"/>
                <a:gd name="connsiteX7" fmla="*/ 9826 w 10000"/>
                <a:gd name="connsiteY7" fmla="*/ 1784 h 9764"/>
                <a:gd name="connsiteX8" fmla="*/ 10000 w 10000"/>
                <a:gd name="connsiteY8" fmla="*/ 1919 h 9764"/>
                <a:gd name="connsiteX9" fmla="*/ 9895 w 10000"/>
                <a:gd name="connsiteY9" fmla="*/ 2188 h 9764"/>
                <a:gd name="connsiteX10" fmla="*/ 9094 w 10000"/>
                <a:gd name="connsiteY10" fmla="*/ 2323 h 9764"/>
                <a:gd name="connsiteX11" fmla="*/ 8815 w 10000"/>
                <a:gd name="connsiteY11" fmla="*/ 2592 h 9764"/>
                <a:gd name="connsiteX12" fmla="*/ 8432 w 10000"/>
                <a:gd name="connsiteY12" fmla="*/ 2626 h 9764"/>
                <a:gd name="connsiteX13" fmla="*/ 8432 w 10000"/>
                <a:gd name="connsiteY13" fmla="*/ 3165 h 9764"/>
                <a:gd name="connsiteX14" fmla="*/ 7700 w 10000"/>
                <a:gd name="connsiteY14" fmla="*/ 3434 h 9764"/>
                <a:gd name="connsiteX15" fmla="*/ 7456 w 10000"/>
                <a:gd name="connsiteY15" fmla="*/ 3771 h 9764"/>
                <a:gd name="connsiteX16" fmla="*/ 6969 w 10000"/>
                <a:gd name="connsiteY16" fmla="*/ 3973 h 9764"/>
                <a:gd name="connsiteX17" fmla="*/ 6341 w 10000"/>
                <a:gd name="connsiteY17" fmla="*/ 4074 h 9764"/>
                <a:gd name="connsiteX18" fmla="*/ 5331 w 10000"/>
                <a:gd name="connsiteY18" fmla="*/ 4579 h 9764"/>
                <a:gd name="connsiteX19" fmla="*/ 5331 w 10000"/>
                <a:gd name="connsiteY19" fmla="*/ 5421 h 9764"/>
                <a:gd name="connsiteX20" fmla="*/ 5226 w 10000"/>
                <a:gd name="connsiteY20" fmla="*/ 5421 h 9764"/>
                <a:gd name="connsiteX21" fmla="*/ 5226 w 10000"/>
                <a:gd name="connsiteY21" fmla="*/ 5421 h 9764"/>
                <a:gd name="connsiteX22" fmla="*/ 5226 w 10000"/>
                <a:gd name="connsiteY22" fmla="*/ 5791 h 9764"/>
                <a:gd name="connsiteX23" fmla="*/ 4843 w 10000"/>
                <a:gd name="connsiteY23" fmla="*/ 5825 h 9764"/>
                <a:gd name="connsiteX24" fmla="*/ 4634 w 10000"/>
                <a:gd name="connsiteY24" fmla="*/ 5959 h 9764"/>
                <a:gd name="connsiteX25" fmla="*/ 4355 w 10000"/>
                <a:gd name="connsiteY25" fmla="*/ 5959 h 9764"/>
                <a:gd name="connsiteX26" fmla="*/ 4146 w 10000"/>
                <a:gd name="connsiteY26" fmla="*/ 5892 h 9764"/>
                <a:gd name="connsiteX27" fmla="*/ 3624 w 10000"/>
                <a:gd name="connsiteY27" fmla="*/ 5959 h 9764"/>
                <a:gd name="connsiteX28" fmla="*/ 3415 w 10000"/>
                <a:gd name="connsiteY28" fmla="*/ 6498 h 9764"/>
                <a:gd name="connsiteX29" fmla="*/ 3206 w 10000"/>
                <a:gd name="connsiteY29" fmla="*/ 6565 h 9764"/>
                <a:gd name="connsiteX30" fmla="*/ 2892 w 10000"/>
                <a:gd name="connsiteY30" fmla="*/ 7441 h 9764"/>
                <a:gd name="connsiteX31" fmla="*/ 2021 w 10000"/>
                <a:gd name="connsiteY31" fmla="*/ 8182 h 9764"/>
                <a:gd name="connsiteX32" fmla="*/ 1777 w 10000"/>
                <a:gd name="connsiteY32" fmla="*/ 9158 h 9764"/>
                <a:gd name="connsiteX33" fmla="*/ 1498 w 10000"/>
                <a:gd name="connsiteY33" fmla="*/ 9461 h 9764"/>
                <a:gd name="connsiteX34" fmla="*/ 1429 w 10000"/>
                <a:gd name="connsiteY34" fmla="*/ 9730 h 9764"/>
                <a:gd name="connsiteX35" fmla="*/ 0 w 10000"/>
                <a:gd name="connsiteY35" fmla="*/ 9764 h 9764"/>
                <a:gd name="connsiteX36" fmla="*/ 0 w 10000"/>
                <a:gd name="connsiteY36" fmla="*/ 9764 h 9764"/>
                <a:gd name="connsiteX37" fmla="*/ 35 w 10000"/>
                <a:gd name="connsiteY37" fmla="*/ 9461 h 9764"/>
                <a:gd name="connsiteX38" fmla="*/ 279 w 10000"/>
                <a:gd name="connsiteY38" fmla="*/ 9259 h 9764"/>
                <a:gd name="connsiteX39" fmla="*/ 488 w 10000"/>
                <a:gd name="connsiteY39" fmla="*/ 8889 h 9764"/>
                <a:gd name="connsiteX40" fmla="*/ 453 w 10000"/>
                <a:gd name="connsiteY40" fmla="*/ 8653 h 9764"/>
                <a:gd name="connsiteX41" fmla="*/ 697 w 10000"/>
                <a:gd name="connsiteY41" fmla="*/ 8148 h 9764"/>
                <a:gd name="connsiteX42" fmla="*/ 1045 w 10000"/>
                <a:gd name="connsiteY42" fmla="*/ 7710 h 9764"/>
                <a:gd name="connsiteX43" fmla="*/ 1289 w 10000"/>
                <a:gd name="connsiteY43" fmla="*/ 7609 h 9764"/>
                <a:gd name="connsiteX44" fmla="*/ 1463 w 10000"/>
                <a:gd name="connsiteY44" fmla="*/ 7205 h 9764"/>
                <a:gd name="connsiteX45" fmla="*/ 1463 w 10000"/>
                <a:gd name="connsiteY45" fmla="*/ 6835 h 9764"/>
                <a:gd name="connsiteX46" fmla="*/ 1707 w 10000"/>
                <a:gd name="connsiteY46" fmla="*/ 6397 h 9764"/>
                <a:gd name="connsiteX47" fmla="*/ 2125 w 10000"/>
                <a:gd name="connsiteY47" fmla="*/ 6128 h 9764"/>
                <a:gd name="connsiteX48" fmla="*/ 2544 w 10000"/>
                <a:gd name="connsiteY48" fmla="*/ 5421 h 9764"/>
                <a:gd name="connsiteX49" fmla="*/ 2578 w 10000"/>
                <a:gd name="connsiteY49" fmla="*/ 5421 h 9764"/>
                <a:gd name="connsiteX50" fmla="*/ 2892 w 10000"/>
                <a:gd name="connsiteY50" fmla="*/ 5151 h 9764"/>
                <a:gd name="connsiteX51" fmla="*/ 3449 w 10000"/>
                <a:gd name="connsiteY51" fmla="*/ 5084 h 9764"/>
                <a:gd name="connsiteX52" fmla="*/ 3972 w 10000"/>
                <a:gd name="connsiteY52" fmla="*/ 4612 h 9764"/>
                <a:gd name="connsiteX53" fmla="*/ 4286 w 10000"/>
                <a:gd name="connsiteY53" fmla="*/ 4410 h 9764"/>
                <a:gd name="connsiteX54" fmla="*/ 4808 w 10000"/>
                <a:gd name="connsiteY54" fmla="*/ 3838 h 9764"/>
                <a:gd name="connsiteX55" fmla="*/ 4669 w 10000"/>
                <a:gd name="connsiteY55" fmla="*/ 2963 h 9764"/>
                <a:gd name="connsiteX56" fmla="*/ 4913 w 10000"/>
                <a:gd name="connsiteY56" fmla="*/ 2357 h 9764"/>
                <a:gd name="connsiteX57" fmla="*/ 5017 w 10000"/>
                <a:gd name="connsiteY57" fmla="*/ 1986 h 9764"/>
                <a:gd name="connsiteX58" fmla="*/ 5436 w 10000"/>
                <a:gd name="connsiteY58" fmla="*/ 1515 h 9764"/>
                <a:gd name="connsiteX59" fmla="*/ 6028 w 10000"/>
                <a:gd name="connsiteY59" fmla="*/ 1212 h 9764"/>
                <a:gd name="connsiteX60" fmla="*/ 6481 w 10000"/>
                <a:gd name="connsiteY60" fmla="*/ 909 h 9764"/>
                <a:gd name="connsiteX61" fmla="*/ 6899 w 10000"/>
                <a:gd name="connsiteY61" fmla="*/ 202 h 9764"/>
                <a:gd name="connsiteX0" fmla="*/ 6899 w 10000"/>
                <a:gd name="connsiteY0" fmla="*/ 207 h 10000"/>
                <a:gd name="connsiteX1" fmla="*/ 8502 w 10000"/>
                <a:gd name="connsiteY1" fmla="*/ 0 h 10000"/>
                <a:gd name="connsiteX2" fmla="*/ 9094 w 10000"/>
                <a:gd name="connsiteY2" fmla="*/ 172 h 10000"/>
                <a:gd name="connsiteX3" fmla="*/ 9373 w 10000"/>
                <a:gd name="connsiteY3" fmla="*/ 172 h 10000"/>
                <a:gd name="connsiteX4" fmla="*/ 9582 w 10000"/>
                <a:gd name="connsiteY4" fmla="*/ 621 h 10000"/>
                <a:gd name="connsiteX5" fmla="*/ 9617 w 10000"/>
                <a:gd name="connsiteY5" fmla="*/ 1068 h 10000"/>
                <a:gd name="connsiteX6" fmla="*/ 9826 w 10000"/>
                <a:gd name="connsiteY6" fmla="*/ 1827 h 10000"/>
                <a:gd name="connsiteX7" fmla="*/ 10000 w 10000"/>
                <a:gd name="connsiteY7" fmla="*/ 1965 h 10000"/>
                <a:gd name="connsiteX8" fmla="*/ 9895 w 10000"/>
                <a:gd name="connsiteY8" fmla="*/ 2241 h 10000"/>
                <a:gd name="connsiteX9" fmla="*/ 9094 w 10000"/>
                <a:gd name="connsiteY9" fmla="*/ 2379 h 10000"/>
                <a:gd name="connsiteX10" fmla="*/ 8815 w 10000"/>
                <a:gd name="connsiteY10" fmla="*/ 2655 h 10000"/>
                <a:gd name="connsiteX11" fmla="*/ 8432 w 10000"/>
                <a:gd name="connsiteY11" fmla="*/ 2689 h 10000"/>
                <a:gd name="connsiteX12" fmla="*/ 8432 w 10000"/>
                <a:gd name="connsiteY12" fmla="*/ 3241 h 10000"/>
                <a:gd name="connsiteX13" fmla="*/ 7700 w 10000"/>
                <a:gd name="connsiteY13" fmla="*/ 3517 h 10000"/>
                <a:gd name="connsiteX14" fmla="*/ 7456 w 10000"/>
                <a:gd name="connsiteY14" fmla="*/ 3862 h 10000"/>
                <a:gd name="connsiteX15" fmla="*/ 6969 w 10000"/>
                <a:gd name="connsiteY15" fmla="*/ 4069 h 10000"/>
                <a:gd name="connsiteX16" fmla="*/ 6341 w 10000"/>
                <a:gd name="connsiteY16" fmla="*/ 4172 h 10000"/>
                <a:gd name="connsiteX17" fmla="*/ 5331 w 10000"/>
                <a:gd name="connsiteY17" fmla="*/ 4690 h 10000"/>
                <a:gd name="connsiteX18" fmla="*/ 5331 w 10000"/>
                <a:gd name="connsiteY18" fmla="*/ 5552 h 10000"/>
                <a:gd name="connsiteX19" fmla="*/ 5226 w 10000"/>
                <a:gd name="connsiteY19" fmla="*/ 5552 h 10000"/>
                <a:gd name="connsiteX20" fmla="*/ 5226 w 10000"/>
                <a:gd name="connsiteY20" fmla="*/ 5552 h 10000"/>
                <a:gd name="connsiteX21" fmla="*/ 5226 w 10000"/>
                <a:gd name="connsiteY21" fmla="*/ 5931 h 10000"/>
                <a:gd name="connsiteX22" fmla="*/ 4843 w 10000"/>
                <a:gd name="connsiteY22" fmla="*/ 5966 h 10000"/>
                <a:gd name="connsiteX23" fmla="*/ 4634 w 10000"/>
                <a:gd name="connsiteY23" fmla="*/ 6103 h 10000"/>
                <a:gd name="connsiteX24" fmla="*/ 4355 w 10000"/>
                <a:gd name="connsiteY24" fmla="*/ 6103 h 10000"/>
                <a:gd name="connsiteX25" fmla="*/ 4146 w 10000"/>
                <a:gd name="connsiteY25" fmla="*/ 6034 h 10000"/>
                <a:gd name="connsiteX26" fmla="*/ 3624 w 10000"/>
                <a:gd name="connsiteY26" fmla="*/ 6103 h 10000"/>
                <a:gd name="connsiteX27" fmla="*/ 3415 w 10000"/>
                <a:gd name="connsiteY27" fmla="*/ 6655 h 10000"/>
                <a:gd name="connsiteX28" fmla="*/ 3206 w 10000"/>
                <a:gd name="connsiteY28" fmla="*/ 6724 h 10000"/>
                <a:gd name="connsiteX29" fmla="*/ 2892 w 10000"/>
                <a:gd name="connsiteY29" fmla="*/ 7621 h 10000"/>
                <a:gd name="connsiteX30" fmla="*/ 2021 w 10000"/>
                <a:gd name="connsiteY30" fmla="*/ 8380 h 10000"/>
                <a:gd name="connsiteX31" fmla="*/ 1777 w 10000"/>
                <a:gd name="connsiteY31" fmla="*/ 9379 h 10000"/>
                <a:gd name="connsiteX32" fmla="*/ 1498 w 10000"/>
                <a:gd name="connsiteY32" fmla="*/ 9690 h 10000"/>
                <a:gd name="connsiteX33" fmla="*/ 1429 w 10000"/>
                <a:gd name="connsiteY33" fmla="*/ 9965 h 10000"/>
                <a:gd name="connsiteX34" fmla="*/ 0 w 10000"/>
                <a:gd name="connsiteY34" fmla="*/ 10000 h 10000"/>
                <a:gd name="connsiteX35" fmla="*/ 0 w 10000"/>
                <a:gd name="connsiteY35" fmla="*/ 10000 h 10000"/>
                <a:gd name="connsiteX36" fmla="*/ 35 w 10000"/>
                <a:gd name="connsiteY36" fmla="*/ 9690 h 10000"/>
                <a:gd name="connsiteX37" fmla="*/ 279 w 10000"/>
                <a:gd name="connsiteY37" fmla="*/ 9483 h 10000"/>
                <a:gd name="connsiteX38" fmla="*/ 488 w 10000"/>
                <a:gd name="connsiteY38" fmla="*/ 9104 h 10000"/>
                <a:gd name="connsiteX39" fmla="*/ 453 w 10000"/>
                <a:gd name="connsiteY39" fmla="*/ 8862 h 10000"/>
                <a:gd name="connsiteX40" fmla="*/ 697 w 10000"/>
                <a:gd name="connsiteY40" fmla="*/ 8345 h 10000"/>
                <a:gd name="connsiteX41" fmla="*/ 1045 w 10000"/>
                <a:gd name="connsiteY41" fmla="*/ 7896 h 10000"/>
                <a:gd name="connsiteX42" fmla="*/ 1289 w 10000"/>
                <a:gd name="connsiteY42" fmla="*/ 7793 h 10000"/>
                <a:gd name="connsiteX43" fmla="*/ 1463 w 10000"/>
                <a:gd name="connsiteY43" fmla="*/ 7379 h 10000"/>
                <a:gd name="connsiteX44" fmla="*/ 1463 w 10000"/>
                <a:gd name="connsiteY44" fmla="*/ 7000 h 10000"/>
                <a:gd name="connsiteX45" fmla="*/ 1707 w 10000"/>
                <a:gd name="connsiteY45" fmla="*/ 6552 h 10000"/>
                <a:gd name="connsiteX46" fmla="*/ 2125 w 10000"/>
                <a:gd name="connsiteY46" fmla="*/ 6276 h 10000"/>
                <a:gd name="connsiteX47" fmla="*/ 2544 w 10000"/>
                <a:gd name="connsiteY47" fmla="*/ 5552 h 10000"/>
                <a:gd name="connsiteX48" fmla="*/ 2578 w 10000"/>
                <a:gd name="connsiteY48" fmla="*/ 5552 h 10000"/>
                <a:gd name="connsiteX49" fmla="*/ 2892 w 10000"/>
                <a:gd name="connsiteY49" fmla="*/ 5276 h 10000"/>
                <a:gd name="connsiteX50" fmla="*/ 3449 w 10000"/>
                <a:gd name="connsiteY50" fmla="*/ 5207 h 10000"/>
                <a:gd name="connsiteX51" fmla="*/ 3972 w 10000"/>
                <a:gd name="connsiteY51" fmla="*/ 4723 h 10000"/>
                <a:gd name="connsiteX52" fmla="*/ 4286 w 10000"/>
                <a:gd name="connsiteY52" fmla="*/ 4517 h 10000"/>
                <a:gd name="connsiteX53" fmla="*/ 4808 w 10000"/>
                <a:gd name="connsiteY53" fmla="*/ 3931 h 10000"/>
                <a:gd name="connsiteX54" fmla="*/ 4669 w 10000"/>
                <a:gd name="connsiteY54" fmla="*/ 3035 h 10000"/>
                <a:gd name="connsiteX55" fmla="*/ 4913 w 10000"/>
                <a:gd name="connsiteY55" fmla="*/ 2414 h 10000"/>
                <a:gd name="connsiteX56" fmla="*/ 5017 w 10000"/>
                <a:gd name="connsiteY56" fmla="*/ 2034 h 10000"/>
                <a:gd name="connsiteX57" fmla="*/ 5436 w 10000"/>
                <a:gd name="connsiteY57" fmla="*/ 1552 h 10000"/>
                <a:gd name="connsiteX58" fmla="*/ 6028 w 10000"/>
                <a:gd name="connsiteY58" fmla="*/ 1241 h 10000"/>
                <a:gd name="connsiteX59" fmla="*/ 6481 w 10000"/>
                <a:gd name="connsiteY59" fmla="*/ 931 h 10000"/>
                <a:gd name="connsiteX60" fmla="*/ 6899 w 10000"/>
                <a:gd name="connsiteY60" fmla="*/ 207 h 10000"/>
                <a:gd name="connsiteX0" fmla="*/ 6481 w 10000"/>
                <a:gd name="connsiteY0" fmla="*/ 931 h 10000"/>
                <a:gd name="connsiteX1" fmla="*/ 8502 w 10000"/>
                <a:gd name="connsiteY1" fmla="*/ 0 h 10000"/>
                <a:gd name="connsiteX2" fmla="*/ 9094 w 10000"/>
                <a:gd name="connsiteY2" fmla="*/ 172 h 10000"/>
                <a:gd name="connsiteX3" fmla="*/ 9373 w 10000"/>
                <a:gd name="connsiteY3" fmla="*/ 172 h 10000"/>
                <a:gd name="connsiteX4" fmla="*/ 9582 w 10000"/>
                <a:gd name="connsiteY4" fmla="*/ 621 h 10000"/>
                <a:gd name="connsiteX5" fmla="*/ 9617 w 10000"/>
                <a:gd name="connsiteY5" fmla="*/ 1068 h 10000"/>
                <a:gd name="connsiteX6" fmla="*/ 9826 w 10000"/>
                <a:gd name="connsiteY6" fmla="*/ 1827 h 10000"/>
                <a:gd name="connsiteX7" fmla="*/ 10000 w 10000"/>
                <a:gd name="connsiteY7" fmla="*/ 1965 h 10000"/>
                <a:gd name="connsiteX8" fmla="*/ 9895 w 10000"/>
                <a:gd name="connsiteY8" fmla="*/ 2241 h 10000"/>
                <a:gd name="connsiteX9" fmla="*/ 9094 w 10000"/>
                <a:gd name="connsiteY9" fmla="*/ 2379 h 10000"/>
                <a:gd name="connsiteX10" fmla="*/ 8815 w 10000"/>
                <a:gd name="connsiteY10" fmla="*/ 2655 h 10000"/>
                <a:gd name="connsiteX11" fmla="*/ 8432 w 10000"/>
                <a:gd name="connsiteY11" fmla="*/ 2689 h 10000"/>
                <a:gd name="connsiteX12" fmla="*/ 8432 w 10000"/>
                <a:gd name="connsiteY12" fmla="*/ 3241 h 10000"/>
                <a:gd name="connsiteX13" fmla="*/ 7700 w 10000"/>
                <a:gd name="connsiteY13" fmla="*/ 3517 h 10000"/>
                <a:gd name="connsiteX14" fmla="*/ 7456 w 10000"/>
                <a:gd name="connsiteY14" fmla="*/ 3862 h 10000"/>
                <a:gd name="connsiteX15" fmla="*/ 6969 w 10000"/>
                <a:gd name="connsiteY15" fmla="*/ 4069 h 10000"/>
                <a:gd name="connsiteX16" fmla="*/ 6341 w 10000"/>
                <a:gd name="connsiteY16" fmla="*/ 4172 h 10000"/>
                <a:gd name="connsiteX17" fmla="*/ 5331 w 10000"/>
                <a:gd name="connsiteY17" fmla="*/ 4690 h 10000"/>
                <a:gd name="connsiteX18" fmla="*/ 5331 w 10000"/>
                <a:gd name="connsiteY18" fmla="*/ 5552 h 10000"/>
                <a:gd name="connsiteX19" fmla="*/ 5226 w 10000"/>
                <a:gd name="connsiteY19" fmla="*/ 5552 h 10000"/>
                <a:gd name="connsiteX20" fmla="*/ 5226 w 10000"/>
                <a:gd name="connsiteY20" fmla="*/ 5552 h 10000"/>
                <a:gd name="connsiteX21" fmla="*/ 5226 w 10000"/>
                <a:gd name="connsiteY21" fmla="*/ 5931 h 10000"/>
                <a:gd name="connsiteX22" fmla="*/ 4843 w 10000"/>
                <a:gd name="connsiteY22" fmla="*/ 5966 h 10000"/>
                <a:gd name="connsiteX23" fmla="*/ 4634 w 10000"/>
                <a:gd name="connsiteY23" fmla="*/ 6103 h 10000"/>
                <a:gd name="connsiteX24" fmla="*/ 4355 w 10000"/>
                <a:gd name="connsiteY24" fmla="*/ 6103 h 10000"/>
                <a:gd name="connsiteX25" fmla="*/ 4146 w 10000"/>
                <a:gd name="connsiteY25" fmla="*/ 6034 h 10000"/>
                <a:gd name="connsiteX26" fmla="*/ 3624 w 10000"/>
                <a:gd name="connsiteY26" fmla="*/ 6103 h 10000"/>
                <a:gd name="connsiteX27" fmla="*/ 3415 w 10000"/>
                <a:gd name="connsiteY27" fmla="*/ 6655 h 10000"/>
                <a:gd name="connsiteX28" fmla="*/ 3206 w 10000"/>
                <a:gd name="connsiteY28" fmla="*/ 6724 h 10000"/>
                <a:gd name="connsiteX29" fmla="*/ 2892 w 10000"/>
                <a:gd name="connsiteY29" fmla="*/ 7621 h 10000"/>
                <a:gd name="connsiteX30" fmla="*/ 2021 w 10000"/>
                <a:gd name="connsiteY30" fmla="*/ 8380 h 10000"/>
                <a:gd name="connsiteX31" fmla="*/ 1777 w 10000"/>
                <a:gd name="connsiteY31" fmla="*/ 9379 h 10000"/>
                <a:gd name="connsiteX32" fmla="*/ 1498 w 10000"/>
                <a:gd name="connsiteY32" fmla="*/ 9690 h 10000"/>
                <a:gd name="connsiteX33" fmla="*/ 1429 w 10000"/>
                <a:gd name="connsiteY33" fmla="*/ 9965 h 10000"/>
                <a:gd name="connsiteX34" fmla="*/ 0 w 10000"/>
                <a:gd name="connsiteY34" fmla="*/ 10000 h 10000"/>
                <a:gd name="connsiteX35" fmla="*/ 0 w 10000"/>
                <a:gd name="connsiteY35" fmla="*/ 10000 h 10000"/>
                <a:gd name="connsiteX36" fmla="*/ 35 w 10000"/>
                <a:gd name="connsiteY36" fmla="*/ 9690 h 10000"/>
                <a:gd name="connsiteX37" fmla="*/ 279 w 10000"/>
                <a:gd name="connsiteY37" fmla="*/ 9483 h 10000"/>
                <a:gd name="connsiteX38" fmla="*/ 488 w 10000"/>
                <a:gd name="connsiteY38" fmla="*/ 9104 h 10000"/>
                <a:gd name="connsiteX39" fmla="*/ 453 w 10000"/>
                <a:gd name="connsiteY39" fmla="*/ 8862 h 10000"/>
                <a:gd name="connsiteX40" fmla="*/ 697 w 10000"/>
                <a:gd name="connsiteY40" fmla="*/ 8345 h 10000"/>
                <a:gd name="connsiteX41" fmla="*/ 1045 w 10000"/>
                <a:gd name="connsiteY41" fmla="*/ 7896 h 10000"/>
                <a:gd name="connsiteX42" fmla="*/ 1289 w 10000"/>
                <a:gd name="connsiteY42" fmla="*/ 7793 h 10000"/>
                <a:gd name="connsiteX43" fmla="*/ 1463 w 10000"/>
                <a:gd name="connsiteY43" fmla="*/ 7379 h 10000"/>
                <a:gd name="connsiteX44" fmla="*/ 1463 w 10000"/>
                <a:gd name="connsiteY44" fmla="*/ 7000 h 10000"/>
                <a:gd name="connsiteX45" fmla="*/ 1707 w 10000"/>
                <a:gd name="connsiteY45" fmla="*/ 6552 h 10000"/>
                <a:gd name="connsiteX46" fmla="*/ 2125 w 10000"/>
                <a:gd name="connsiteY46" fmla="*/ 6276 h 10000"/>
                <a:gd name="connsiteX47" fmla="*/ 2544 w 10000"/>
                <a:gd name="connsiteY47" fmla="*/ 5552 h 10000"/>
                <a:gd name="connsiteX48" fmla="*/ 2578 w 10000"/>
                <a:gd name="connsiteY48" fmla="*/ 5552 h 10000"/>
                <a:gd name="connsiteX49" fmla="*/ 2892 w 10000"/>
                <a:gd name="connsiteY49" fmla="*/ 5276 h 10000"/>
                <a:gd name="connsiteX50" fmla="*/ 3449 w 10000"/>
                <a:gd name="connsiteY50" fmla="*/ 5207 h 10000"/>
                <a:gd name="connsiteX51" fmla="*/ 3972 w 10000"/>
                <a:gd name="connsiteY51" fmla="*/ 4723 h 10000"/>
                <a:gd name="connsiteX52" fmla="*/ 4286 w 10000"/>
                <a:gd name="connsiteY52" fmla="*/ 4517 h 10000"/>
                <a:gd name="connsiteX53" fmla="*/ 4808 w 10000"/>
                <a:gd name="connsiteY53" fmla="*/ 3931 h 10000"/>
                <a:gd name="connsiteX54" fmla="*/ 4669 w 10000"/>
                <a:gd name="connsiteY54" fmla="*/ 3035 h 10000"/>
                <a:gd name="connsiteX55" fmla="*/ 4913 w 10000"/>
                <a:gd name="connsiteY55" fmla="*/ 2414 h 10000"/>
                <a:gd name="connsiteX56" fmla="*/ 5017 w 10000"/>
                <a:gd name="connsiteY56" fmla="*/ 2034 h 10000"/>
                <a:gd name="connsiteX57" fmla="*/ 5436 w 10000"/>
                <a:gd name="connsiteY57" fmla="*/ 1552 h 10000"/>
                <a:gd name="connsiteX58" fmla="*/ 6028 w 10000"/>
                <a:gd name="connsiteY58" fmla="*/ 1241 h 10000"/>
                <a:gd name="connsiteX59" fmla="*/ 6481 w 10000"/>
                <a:gd name="connsiteY59" fmla="*/ 931 h 10000"/>
                <a:gd name="connsiteX0" fmla="*/ 6481 w 10000"/>
                <a:gd name="connsiteY0" fmla="*/ 759 h 9828"/>
                <a:gd name="connsiteX1" fmla="*/ 9094 w 10000"/>
                <a:gd name="connsiteY1" fmla="*/ 0 h 9828"/>
                <a:gd name="connsiteX2" fmla="*/ 9373 w 10000"/>
                <a:gd name="connsiteY2" fmla="*/ 0 h 9828"/>
                <a:gd name="connsiteX3" fmla="*/ 9582 w 10000"/>
                <a:gd name="connsiteY3" fmla="*/ 449 h 9828"/>
                <a:gd name="connsiteX4" fmla="*/ 9617 w 10000"/>
                <a:gd name="connsiteY4" fmla="*/ 896 h 9828"/>
                <a:gd name="connsiteX5" fmla="*/ 9826 w 10000"/>
                <a:gd name="connsiteY5" fmla="*/ 1655 h 9828"/>
                <a:gd name="connsiteX6" fmla="*/ 10000 w 10000"/>
                <a:gd name="connsiteY6" fmla="*/ 1793 h 9828"/>
                <a:gd name="connsiteX7" fmla="*/ 9895 w 10000"/>
                <a:gd name="connsiteY7" fmla="*/ 2069 h 9828"/>
                <a:gd name="connsiteX8" fmla="*/ 9094 w 10000"/>
                <a:gd name="connsiteY8" fmla="*/ 2207 h 9828"/>
                <a:gd name="connsiteX9" fmla="*/ 8815 w 10000"/>
                <a:gd name="connsiteY9" fmla="*/ 2483 h 9828"/>
                <a:gd name="connsiteX10" fmla="*/ 8432 w 10000"/>
                <a:gd name="connsiteY10" fmla="*/ 2517 h 9828"/>
                <a:gd name="connsiteX11" fmla="*/ 8432 w 10000"/>
                <a:gd name="connsiteY11" fmla="*/ 3069 h 9828"/>
                <a:gd name="connsiteX12" fmla="*/ 7700 w 10000"/>
                <a:gd name="connsiteY12" fmla="*/ 3345 h 9828"/>
                <a:gd name="connsiteX13" fmla="*/ 7456 w 10000"/>
                <a:gd name="connsiteY13" fmla="*/ 3690 h 9828"/>
                <a:gd name="connsiteX14" fmla="*/ 6969 w 10000"/>
                <a:gd name="connsiteY14" fmla="*/ 3897 h 9828"/>
                <a:gd name="connsiteX15" fmla="*/ 6341 w 10000"/>
                <a:gd name="connsiteY15" fmla="*/ 4000 h 9828"/>
                <a:gd name="connsiteX16" fmla="*/ 5331 w 10000"/>
                <a:gd name="connsiteY16" fmla="*/ 4518 h 9828"/>
                <a:gd name="connsiteX17" fmla="*/ 5331 w 10000"/>
                <a:gd name="connsiteY17" fmla="*/ 5380 h 9828"/>
                <a:gd name="connsiteX18" fmla="*/ 5226 w 10000"/>
                <a:gd name="connsiteY18" fmla="*/ 5380 h 9828"/>
                <a:gd name="connsiteX19" fmla="*/ 5226 w 10000"/>
                <a:gd name="connsiteY19" fmla="*/ 5380 h 9828"/>
                <a:gd name="connsiteX20" fmla="*/ 5226 w 10000"/>
                <a:gd name="connsiteY20" fmla="*/ 5759 h 9828"/>
                <a:gd name="connsiteX21" fmla="*/ 4843 w 10000"/>
                <a:gd name="connsiteY21" fmla="*/ 5794 h 9828"/>
                <a:gd name="connsiteX22" fmla="*/ 4634 w 10000"/>
                <a:gd name="connsiteY22" fmla="*/ 5931 h 9828"/>
                <a:gd name="connsiteX23" fmla="*/ 4355 w 10000"/>
                <a:gd name="connsiteY23" fmla="*/ 5931 h 9828"/>
                <a:gd name="connsiteX24" fmla="*/ 4146 w 10000"/>
                <a:gd name="connsiteY24" fmla="*/ 5862 h 9828"/>
                <a:gd name="connsiteX25" fmla="*/ 3624 w 10000"/>
                <a:gd name="connsiteY25" fmla="*/ 5931 h 9828"/>
                <a:gd name="connsiteX26" fmla="*/ 3415 w 10000"/>
                <a:gd name="connsiteY26" fmla="*/ 6483 h 9828"/>
                <a:gd name="connsiteX27" fmla="*/ 3206 w 10000"/>
                <a:gd name="connsiteY27" fmla="*/ 6552 h 9828"/>
                <a:gd name="connsiteX28" fmla="*/ 2892 w 10000"/>
                <a:gd name="connsiteY28" fmla="*/ 7449 h 9828"/>
                <a:gd name="connsiteX29" fmla="*/ 2021 w 10000"/>
                <a:gd name="connsiteY29" fmla="*/ 8208 h 9828"/>
                <a:gd name="connsiteX30" fmla="*/ 1777 w 10000"/>
                <a:gd name="connsiteY30" fmla="*/ 9207 h 9828"/>
                <a:gd name="connsiteX31" fmla="*/ 1498 w 10000"/>
                <a:gd name="connsiteY31" fmla="*/ 9518 h 9828"/>
                <a:gd name="connsiteX32" fmla="*/ 1429 w 10000"/>
                <a:gd name="connsiteY32" fmla="*/ 9793 h 9828"/>
                <a:gd name="connsiteX33" fmla="*/ 0 w 10000"/>
                <a:gd name="connsiteY33" fmla="*/ 9828 h 9828"/>
                <a:gd name="connsiteX34" fmla="*/ 0 w 10000"/>
                <a:gd name="connsiteY34" fmla="*/ 9828 h 9828"/>
                <a:gd name="connsiteX35" fmla="*/ 35 w 10000"/>
                <a:gd name="connsiteY35" fmla="*/ 9518 h 9828"/>
                <a:gd name="connsiteX36" fmla="*/ 279 w 10000"/>
                <a:gd name="connsiteY36" fmla="*/ 9311 h 9828"/>
                <a:gd name="connsiteX37" fmla="*/ 488 w 10000"/>
                <a:gd name="connsiteY37" fmla="*/ 8932 h 9828"/>
                <a:gd name="connsiteX38" fmla="*/ 453 w 10000"/>
                <a:gd name="connsiteY38" fmla="*/ 8690 h 9828"/>
                <a:gd name="connsiteX39" fmla="*/ 697 w 10000"/>
                <a:gd name="connsiteY39" fmla="*/ 8173 h 9828"/>
                <a:gd name="connsiteX40" fmla="*/ 1045 w 10000"/>
                <a:gd name="connsiteY40" fmla="*/ 7724 h 9828"/>
                <a:gd name="connsiteX41" fmla="*/ 1289 w 10000"/>
                <a:gd name="connsiteY41" fmla="*/ 7621 h 9828"/>
                <a:gd name="connsiteX42" fmla="*/ 1463 w 10000"/>
                <a:gd name="connsiteY42" fmla="*/ 7207 h 9828"/>
                <a:gd name="connsiteX43" fmla="*/ 1463 w 10000"/>
                <a:gd name="connsiteY43" fmla="*/ 6828 h 9828"/>
                <a:gd name="connsiteX44" fmla="*/ 1707 w 10000"/>
                <a:gd name="connsiteY44" fmla="*/ 6380 h 9828"/>
                <a:gd name="connsiteX45" fmla="*/ 2125 w 10000"/>
                <a:gd name="connsiteY45" fmla="*/ 6104 h 9828"/>
                <a:gd name="connsiteX46" fmla="*/ 2544 w 10000"/>
                <a:gd name="connsiteY46" fmla="*/ 5380 h 9828"/>
                <a:gd name="connsiteX47" fmla="*/ 2578 w 10000"/>
                <a:gd name="connsiteY47" fmla="*/ 5380 h 9828"/>
                <a:gd name="connsiteX48" fmla="*/ 2892 w 10000"/>
                <a:gd name="connsiteY48" fmla="*/ 5104 h 9828"/>
                <a:gd name="connsiteX49" fmla="*/ 3449 w 10000"/>
                <a:gd name="connsiteY49" fmla="*/ 5035 h 9828"/>
                <a:gd name="connsiteX50" fmla="*/ 3972 w 10000"/>
                <a:gd name="connsiteY50" fmla="*/ 4551 h 9828"/>
                <a:gd name="connsiteX51" fmla="*/ 4286 w 10000"/>
                <a:gd name="connsiteY51" fmla="*/ 4345 h 9828"/>
                <a:gd name="connsiteX52" fmla="*/ 4808 w 10000"/>
                <a:gd name="connsiteY52" fmla="*/ 3759 h 9828"/>
                <a:gd name="connsiteX53" fmla="*/ 4669 w 10000"/>
                <a:gd name="connsiteY53" fmla="*/ 2863 h 9828"/>
                <a:gd name="connsiteX54" fmla="*/ 4913 w 10000"/>
                <a:gd name="connsiteY54" fmla="*/ 2242 h 9828"/>
                <a:gd name="connsiteX55" fmla="*/ 5017 w 10000"/>
                <a:gd name="connsiteY55" fmla="*/ 1862 h 9828"/>
                <a:gd name="connsiteX56" fmla="*/ 5436 w 10000"/>
                <a:gd name="connsiteY56" fmla="*/ 1380 h 9828"/>
                <a:gd name="connsiteX57" fmla="*/ 6028 w 10000"/>
                <a:gd name="connsiteY57" fmla="*/ 1069 h 9828"/>
                <a:gd name="connsiteX58" fmla="*/ 6481 w 10000"/>
                <a:gd name="connsiteY58" fmla="*/ 759 h 9828"/>
                <a:gd name="connsiteX0" fmla="*/ 6481 w 10000"/>
                <a:gd name="connsiteY0" fmla="*/ 772 h 10000"/>
                <a:gd name="connsiteX1" fmla="*/ 9094 w 10000"/>
                <a:gd name="connsiteY1" fmla="*/ 0 h 10000"/>
                <a:gd name="connsiteX2" fmla="*/ 9582 w 10000"/>
                <a:gd name="connsiteY2" fmla="*/ 457 h 10000"/>
                <a:gd name="connsiteX3" fmla="*/ 9617 w 10000"/>
                <a:gd name="connsiteY3" fmla="*/ 912 h 10000"/>
                <a:gd name="connsiteX4" fmla="*/ 9826 w 10000"/>
                <a:gd name="connsiteY4" fmla="*/ 1684 h 10000"/>
                <a:gd name="connsiteX5" fmla="*/ 10000 w 10000"/>
                <a:gd name="connsiteY5" fmla="*/ 1824 h 10000"/>
                <a:gd name="connsiteX6" fmla="*/ 9895 w 10000"/>
                <a:gd name="connsiteY6" fmla="*/ 2105 h 10000"/>
                <a:gd name="connsiteX7" fmla="*/ 9094 w 10000"/>
                <a:gd name="connsiteY7" fmla="*/ 2246 h 10000"/>
                <a:gd name="connsiteX8" fmla="*/ 8815 w 10000"/>
                <a:gd name="connsiteY8" fmla="*/ 2526 h 10000"/>
                <a:gd name="connsiteX9" fmla="*/ 8432 w 10000"/>
                <a:gd name="connsiteY9" fmla="*/ 2561 h 10000"/>
                <a:gd name="connsiteX10" fmla="*/ 8432 w 10000"/>
                <a:gd name="connsiteY10" fmla="*/ 3123 h 10000"/>
                <a:gd name="connsiteX11" fmla="*/ 7700 w 10000"/>
                <a:gd name="connsiteY11" fmla="*/ 3404 h 10000"/>
                <a:gd name="connsiteX12" fmla="*/ 7456 w 10000"/>
                <a:gd name="connsiteY12" fmla="*/ 3755 h 10000"/>
                <a:gd name="connsiteX13" fmla="*/ 6969 w 10000"/>
                <a:gd name="connsiteY13" fmla="*/ 3965 h 10000"/>
                <a:gd name="connsiteX14" fmla="*/ 6341 w 10000"/>
                <a:gd name="connsiteY14" fmla="*/ 4070 h 10000"/>
                <a:gd name="connsiteX15" fmla="*/ 5331 w 10000"/>
                <a:gd name="connsiteY15" fmla="*/ 4597 h 10000"/>
                <a:gd name="connsiteX16" fmla="*/ 5331 w 10000"/>
                <a:gd name="connsiteY16" fmla="*/ 5474 h 10000"/>
                <a:gd name="connsiteX17" fmla="*/ 5226 w 10000"/>
                <a:gd name="connsiteY17" fmla="*/ 5474 h 10000"/>
                <a:gd name="connsiteX18" fmla="*/ 5226 w 10000"/>
                <a:gd name="connsiteY18" fmla="*/ 5474 h 10000"/>
                <a:gd name="connsiteX19" fmla="*/ 5226 w 10000"/>
                <a:gd name="connsiteY19" fmla="*/ 5860 h 10000"/>
                <a:gd name="connsiteX20" fmla="*/ 4843 w 10000"/>
                <a:gd name="connsiteY20" fmla="*/ 5895 h 10000"/>
                <a:gd name="connsiteX21" fmla="*/ 4634 w 10000"/>
                <a:gd name="connsiteY21" fmla="*/ 6035 h 10000"/>
                <a:gd name="connsiteX22" fmla="*/ 4355 w 10000"/>
                <a:gd name="connsiteY22" fmla="*/ 6035 h 10000"/>
                <a:gd name="connsiteX23" fmla="*/ 4146 w 10000"/>
                <a:gd name="connsiteY23" fmla="*/ 5965 h 10000"/>
                <a:gd name="connsiteX24" fmla="*/ 3624 w 10000"/>
                <a:gd name="connsiteY24" fmla="*/ 6035 h 10000"/>
                <a:gd name="connsiteX25" fmla="*/ 3415 w 10000"/>
                <a:gd name="connsiteY25" fmla="*/ 6596 h 10000"/>
                <a:gd name="connsiteX26" fmla="*/ 3206 w 10000"/>
                <a:gd name="connsiteY26" fmla="*/ 6667 h 10000"/>
                <a:gd name="connsiteX27" fmla="*/ 2892 w 10000"/>
                <a:gd name="connsiteY27" fmla="*/ 7579 h 10000"/>
                <a:gd name="connsiteX28" fmla="*/ 2021 w 10000"/>
                <a:gd name="connsiteY28" fmla="*/ 8352 h 10000"/>
                <a:gd name="connsiteX29" fmla="*/ 1777 w 10000"/>
                <a:gd name="connsiteY29" fmla="*/ 9368 h 10000"/>
                <a:gd name="connsiteX30" fmla="*/ 1498 w 10000"/>
                <a:gd name="connsiteY30" fmla="*/ 9685 h 10000"/>
                <a:gd name="connsiteX31" fmla="*/ 1429 w 10000"/>
                <a:gd name="connsiteY31" fmla="*/ 9964 h 10000"/>
                <a:gd name="connsiteX32" fmla="*/ 0 w 10000"/>
                <a:gd name="connsiteY32" fmla="*/ 10000 h 10000"/>
                <a:gd name="connsiteX33" fmla="*/ 0 w 10000"/>
                <a:gd name="connsiteY33" fmla="*/ 10000 h 10000"/>
                <a:gd name="connsiteX34" fmla="*/ 35 w 10000"/>
                <a:gd name="connsiteY34" fmla="*/ 9685 h 10000"/>
                <a:gd name="connsiteX35" fmla="*/ 279 w 10000"/>
                <a:gd name="connsiteY35" fmla="*/ 9474 h 10000"/>
                <a:gd name="connsiteX36" fmla="*/ 488 w 10000"/>
                <a:gd name="connsiteY36" fmla="*/ 9088 h 10000"/>
                <a:gd name="connsiteX37" fmla="*/ 453 w 10000"/>
                <a:gd name="connsiteY37" fmla="*/ 8842 h 10000"/>
                <a:gd name="connsiteX38" fmla="*/ 697 w 10000"/>
                <a:gd name="connsiteY38" fmla="*/ 8316 h 10000"/>
                <a:gd name="connsiteX39" fmla="*/ 1045 w 10000"/>
                <a:gd name="connsiteY39" fmla="*/ 7859 h 10000"/>
                <a:gd name="connsiteX40" fmla="*/ 1289 w 10000"/>
                <a:gd name="connsiteY40" fmla="*/ 7754 h 10000"/>
                <a:gd name="connsiteX41" fmla="*/ 1463 w 10000"/>
                <a:gd name="connsiteY41" fmla="*/ 7333 h 10000"/>
                <a:gd name="connsiteX42" fmla="*/ 1463 w 10000"/>
                <a:gd name="connsiteY42" fmla="*/ 6947 h 10000"/>
                <a:gd name="connsiteX43" fmla="*/ 1707 w 10000"/>
                <a:gd name="connsiteY43" fmla="*/ 6492 h 10000"/>
                <a:gd name="connsiteX44" fmla="*/ 2125 w 10000"/>
                <a:gd name="connsiteY44" fmla="*/ 6211 h 10000"/>
                <a:gd name="connsiteX45" fmla="*/ 2544 w 10000"/>
                <a:gd name="connsiteY45" fmla="*/ 5474 h 10000"/>
                <a:gd name="connsiteX46" fmla="*/ 2578 w 10000"/>
                <a:gd name="connsiteY46" fmla="*/ 5474 h 10000"/>
                <a:gd name="connsiteX47" fmla="*/ 2892 w 10000"/>
                <a:gd name="connsiteY47" fmla="*/ 5193 h 10000"/>
                <a:gd name="connsiteX48" fmla="*/ 3449 w 10000"/>
                <a:gd name="connsiteY48" fmla="*/ 5123 h 10000"/>
                <a:gd name="connsiteX49" fmla="*/ 3972 w 10000"/>
                <a:gd name="connsiteY49" fmla="*/ 4631 h 10000"/>
                <a:gd name="connsiteX50" fmla="*/ 4286 w 10000"/>
                <a:gd name="connsiteY50" fmla="*/ 4421 h 10000"/>
                <a:gd name="connsiteX51" fmla="*/ 4808 w 10000"/>
                <a:gd name="connsiteY51" fmla="*/ 3825 h 10000"/>
                <a:gd name="connsiteX52" fmla="*/ 4669 w 10000"/>
                <a:gd name="connsiteY52" fmla="*/ 2913 h 10000"/>
                <a:gd name="connsiteX53" fmla="*/ 4913 w 10000"/>
                <a:gd name="connsiteY53" fmla="*/ 2281 h 10000"/>
                <a:gd name="connsiteX54" fmla="*/ 5017 w 10000"/>
                <a:gd name="connsiteY54" fmla="*/ 1895 h 10000"/>
                <a:gd name="connsiteX55" fmla="*/ 5436 w 10000"/>
                <a:gd name="connsiteY55" fmla="*/ 1404 h 10000"/>
                <a:gd name="connsiteX56" fmla="*/ 6028 w 10000"/>
                <a:gd name="connsiteY56" fmla="*/ 1088 h 10000"/>
                <a:gd name="connsiteX57" fmla="*/ 6481 w 10000"/>
                <a:gd name="connsiteY57" fmla="*/ 772 h 10000"/>
                <a:gd name="connsiteX0" fmla="*/ 6481 w 10000"/>
                <a:gd name="connsiteY0" fmla="*/ 315 h 9543"/>
                <a:gd name="connsiteX1" fmla="*/ 9582 w 10000"/>
                <a:gd name="connsiteY1" fmla="*/ 0 h 9543"/>
                <a:gd name="connsiteX2" fmla="*/ 9617 w 10000"/>
                <a:gd name="connsiteY2" fmla="*/ 455 h 9543"/>
                <a:gd name="connsiteX3" fmla="*/ 9826 w 10000"/>
                <a:gd name="connsiteY3" fmla="*/ 1227 h 9543"/>
                <a:gd name="connsiteX4" fmla="*/ 10000 w 10000"/>
                <a:gd name="connsiteY4" fmla="*/ 1367 h 9543"/>
                <a:gd name="connsiteX5" fmla="*/ 9895 w 10000"/>
                <a:gd name="connsiteY5" fmla="*/ 1648 h 9543"/>
                <a:gd name="connsiteX6" fmla="*/ 9094 w 10000"/>
                <a:gd name="connsiteY6" fmla="*/ 1789 h 9543"/>
                <a:gd name="connsiteX7" fmla="*/ 8815 w 10000"/>
                <a:gd name="connsiteY7" fmla="*/ 2069 h 9543"/>
                <a:gd name="connsiteX8" fmla="*/ 8432 w 10000"/>
                <a:gd name="connsiteY8" fmla="*/ 2104 h 9543"/>
                <a:gd name="connsiteX9" fmla="*/ 8432 w 10000"/>
                <a:gd name="connsiteY9" fmla="*/ 2666 h 9543"/>
                <a:gd name="connsiteX10" fmla="*/ 7700 w 10000"/>
                <a:gd name="connsiteY10" fmla="*/ 2947 h 9543"/>
                <a:gd name="connsiteX11" fmla="*/ 7456 w 10000"/>
                <a:gd name="connsiteY11" fmla="*/ 3298 h 9543"/>
                <a:gd name="connsiteX12" fmla="*/ 6969 w 10000"/>
                <a:gd name="connsiteY12" fmla="*/ 3508 h 9543"/>
                <a:gd name="connsiteX13" fmla="*/ 6341 w 10000"/>
                <a:gd name="connsiteY13" fmla="*/ 3613 h 9543"/>
                <a:gd name="connsiteX14" fmla="*/ 5331 w 10000"/>
                <a:gd name="connsiteY14" fmla="*/ 4140 h 9543"/>
                <a:gd name="connsiteX15" fmla="*/ 5331 w 10000"/>
                <a:gd name="connsiteY15" fmla="*/ 5017 h 9543"/>
                <a:gd name="connsiteX16" fmla="*/ 5226 w 10000"/>
                <a:gd name="connsiteY16" fmla="*/ 5017 h 9543"/>
                <a:gd name="connsiteX17" fmla="*/ 5226 w 10000"/>
                <a:gd name="connsiteY17" fmla="*/ 5017 h 9543"/>
                <a:gd name="connsiteX18" fmla="*/ 5226 w 10000"/>
                <a:gd name="connsiteY18" fmla="*/ 5403 h 9543"/>
                <a:gd name="connsiteX19" fmla="*/ 4843 w 10000"/>
                <a:gd name="connsiteY19" fmla="*/ 5438 h 9543"/>
                <a:gd name="connsiteX20" fmla="*/ 4634 w 10000"/>
                <a:gd name="connsiteY20" fmla="*/ 5578 h 9543"/>
                <a:gd name="connsiteX21" fmla="*/ 4355 w 10000"/>
                <a:gd name="connsiteY21" fmla="*/ 5578 h 9543"/>
                <a:gd name="connsiteX22" fmla="*/ 4146 w 10000"/>
                <a:gd name="connsiteY22" fmla="*/ 5508 h 9543"/>
                <a:gd name="connsiteX23" fmla="*/ 3624 w 10000"/>
                <a:gd name="connsiteY23" fmla="*/ 5578 h 9543"/>
                <a:gd name="connsiteX24" fmla="*/ 3415 w 10000"/>
                <a:gd name="connsiteY24" fmla="*/ 6139 h 9543"/>
                <a:gd name="connsiteX25" fmla="*/ 3206 w 10000"/>
                <a:gd name="connsiteY25" fmla="*/ 6210 h 9543"/>
                <a:gd name="connsiteX26" fmla="*/ 2892 w 10000"/>
                <a:gd name="connsiteY26" fmla="*/ 7122 h 9543"/>
                <a:gd name="connsiteX27" fmla="*/ 2021 w 10000"/>
                <a:gd name="connsiteY27" fmla="*/ 7895 h 9543"/>
                <a:gd name="connsiteX28" fmla="*/ 1777 w 10000"/>
                <a:gd name="connsiteY28" fmla="*/ 8911 h 9543"/>
                <a:gd name="connsiteX29" fmla="*/ 1498 w 10000"/>
                <a:gd name="connsiteY29" fmla="*/ 9228 h 9543"/>
                <a:gd name="connsiteX30" fmla="*/ 1429 w 10000"/>
                <a:gd name="connsiteY30" fmla="*/ 9507 h 9543"/>
                <a:gd name="connsiteX31" fmla="*/ 0 w 10000"/>
                <a:gd name="connsiteY31" fmla="*/ 9543 h 9543"/>
                <a:gd name="connsiteX32" fmla="*/ 0 w 10000"/>
                <a:gd name="connsiteY32" fmla="*/ 9543 h 9543"/>
                <a:gd name="connsiteX33" fmla="*/ 35 w 10000"/>
                <a:gd name="connsiteY33" fmla="*/ 9228 h 9543"/>
                <a:gd name="connsiteX34" fmla="*/ 279 w 10000"/>
                <a:gd name="connsiteY34" fmla="*/ 9017 h 9543"/>
                <a:gd name="connsiteX35" fmla="*/ 488 w 10000"/>
                <a:gd name="connsiteY35" fmla="*/ 8631 h 9543"/>
                <a:gd name="connsiteX36" fmla="*/ 453 w 10000"/>
                <a:gd name="connsiteY36" fmla="*/ 8385 h 9543"/>
                <a:gd name="connsiteX37" fmla="*/ 697 w 10000"/>
                <a:gd name="connsiteY37" fmla="*/ 7859 h 9543"/>
                <a:gd name="connsiteX38" fmla="*/ 1045 w 10000"/>
                <a:gd name="connsiteY38" fmla="*/ 7402 h 9543"/>
                <a:gd name="connsiteX39" fmla="*/ 1289 w 10000"/>
                <a:gd name="connsiteY39" fmla="*/ 7297 h 9543"/>
                <a:gd name="connsiteX40" fmla="*/ 1463 w 10000"/>
                <a:gd name="connsiteY40" fmla="*/ 6876 h 9543"/>
                <a:gd name="connsiteX41" fmla="*/ 1463 w 10000"/>
                <a:gd name="connsiteY41" fmla="*/ 6490 h 9543"/>
                <a:gd name="connsiteX42" fmla="*/ 1707 w 10000"/>
                <a:gd name="connsiteY42" fmla="*/ 6035 h 9543"/>
                <a:gd name="connsiteX43" fmla="*/ 2125 w 10000"/>
                <a:gd name="connsiteY43" fmla="*/ 5754 h 9543"/>
                <a:gd name="connsiteX44" fmla="*/ 2544 w 10000"/>
                <a:gd name="connsiteY44" fmla="*/ 5017 h 9543"/>
                <a:gd name="connsiteX45" fmla="*/ 2578 w 10000"/>
                <a:gd name="connsiteY45" fmla="*/ 5017 h 9543"/>
                <a:gd name="connsiteX46" fmla="*/ 2892 w 10000"/>
                <a:gd name="connsiteY46" fmla="*/ 4736 h 9543"/>
                <a:gd name="connsiteX47" fmla="*/ 3449 w 10000"/>
                <a:gd name="connsiteY47" fmla="*/ 4666 h 9543"/>
                <a:gd name="connsiteX48" fmla="*/ 3972 w 10000"/>
                <a:gd name="connsiteY48" fmla="*/ 4174 h 9543"/>
                <a:gd name="connsiteX49" fmla="*/ 4286 w 10000"/>
                <a:gd name="connsiteY49" fmla="*/ 3964 h 9543"/>
                <a:gd name="connsiteX50" fmla="*/ 4808 w 10000"/>
                <a:gd name="connsiteY50" fmla="*/ 3368 h 9543"/>
                <a:gd name="connsiteX51" fmla="*/ 4669 w 10000"/>
                <a:gd name="connsiteY51" fmla="*/ 2456 h 9543"/>
                <a:gd name="connsiteX52" fmla="*/ 4913 w 10000"/>
                <a:gd name="connsiteY52" fmla="*/ 1824 h 9543"/>
                <a:gd name="connsiteX53" fmla="*/ 5017 w 10000"/>
                <a:gd name="connsiteY53" fmla="*/ 1438 h 9543"/>
                <a:gd name="connsiteX54" fmla="*/ 5436 w 10000"/>
                <a:gd name="connsiteY54" fmla="*/ 947 h 9543"/>
                <a:gd name="connsiteX55" fmla="*/ 6028 w 10000"/>
                <a:gd name="connsiteY55" fmla="*/ 631 h 9543"/>
                <a:gd name="connsiteX56" fmla="*/ 6481 w 10000"/>
                <a:gd name="connsiteY56" fmla="*/ 315 h 9543"/>
                <a:gd name="connsiteX0" fmla="*/ 6481 w 10000"/>
                <a:gd name="connsiteY0" fmla="*/ 330 h 10000"/>
                <a:gd name="connsiteX1" fmla="*/ 9582 w 10000"/>
                <a:gd name="connsiteY1" fmla="*/ 0 h 10000"/>
                <a:gd name="connsiteX2" fmla="*/ 9826 w 10000"/>
                <a:gd name="connsiteY2" fmla="*/ 1286 h 10000"/>
                <a:gd name="connsiteX3" fmla="*/ 10000 w 10000"/>
                <a:gd name="connsiteY3" fmla="*/ 1432 h 10000"/>
                <a:gd name="connsiteX4" fmla="*/ 9895 w 10000"/>
                <a:gd name="connsiteY4" fmla="*/ 1727 h 10000"/>
                <a:gd name="connsiteX5" fmla="*/ 9094 w 10000"/>
                <a:gd name="connsiteY5" fmla="*/ 1875 h 10000"/>
                <a:gd name="connsiteX6" fmla="*/ 8815 w 10000"/>
                <a:gd name="connsiteY6" fmla="*/ 2168 h 10000"/>
                <a:gd name="connsiteX7" fmla="*/ 8432 w 10000"/>
                <a:gd name="connsiteY7" fmla="*/ 2205 h 10000"/>
                <a:gd name="connsiteX8" fmla="*/ 8432 w 10000"/>
                <a:gd name="connsiteY8" fmla="*/ 2794 h 10000"/>
                <a:gd name="connsiteX9" fmla="*/ 7700 w 10000"/>
                <a:gd name="connsiteY9" fmla="*/ 3088 h 10000"/>
                <a:gd name="connsiteX10" fmla="*/ 7456 w 10000"/>
                <a:gd name="connsiteY10" fmla="*/ 3456 h 10000"/>
                <a:gd name="connsiteX11" fmla="*/ 6969 w 10000"/>
                <a:gd name="connsiteY11" fmla="*/ 3676 h 10000"/>
                <a:gd name="connsiteX12" fmla="*/ 6341 w 10000"/>
                <a:gd name="connsiteY12" fmla="*/ 3786 h 10000"/>
                <a:gd name="connsiteX13" fmla="*/ 5331 w 10000"/>
                <a:gd name="connsiteY13" fmla="*/ 4338 h 10000"/>
                <a:gd name="connsiteX14" fmla="*/ 5331 w 10000"/>
                <a:gd name="connsiteY14" fmla="*/ 5257 h 10000"/>
                <a:gd name="connsiteX15" fmla="*/ 5226 w 10000"/>
                <a:gd name="connsiteY15" fmla="*/ 5257 h 10000"/>
                <a:gd name="connsiteX16" fmla="*/ 5226 w 10000"/>
                <a:gd name="connsiteY16" fmla="*/ 5257 h 10000"/>
                <a:gd name="connsiteX17" fmla="*/ 5226 w 10000"/>
                <a:gd name="connsiteY17" fmla="*/ 5662 h 10000"/>
                <a:gd name="connsiteX18" fmla="*/ 4843 w 10000"/>
                <a:gd name="connsiteY18" fmla="*/ 5698 h 10000"/>
                <a:gd name="connsiteX19" fmla="*/ 4634 w 10000"/>
                <a:gd name="connsiteY19" fmla="*/ 5845 h 10000"/>
                <a:gd name="connsiteX20" fmla="*/ 4355 w 10000"/>
                <a:gd name="connsiteY20" fmla="*/ 5845 h 10000"/>
                <a:gd name="connsiteX21" fmla="*/ 4146 w 10000"/>
                <a:gd name="connsiteY21" fmla="*/ 5772 h 10000"/>
                <a:gd name="connsiteX22" fmla="*/ 3624 w 10000"/>
                <a:gd name="connsiteY22" fmla="*/ 5845 h 10000"/>
                <a:gd name="connsiteX23" fmla="*/ 3415 w 10000"/>
                <a:gd name="connsiteY23" fmla="*/ 6433 h 10000"/>
                <a:gd name="connsiteX24" fmla="*/ 3206 w 10000"/>
                <a:gd name="connsiteY24" fmla="*/ 6507 h 10000"/>
                <a:gd name="connsiteX25" fmla="*/ 2892 w 10000"/>
                <a:gd name="connsiteY25" fmla="*/ 7463 h 10000"/>
                <a:gd name="connsiteX26" fmla="*/ 2021 w 10000"/>
                <a:gd name="connsiteY26" fmla="*/ 8273 h 10000"/>
                <a:gd name="connsiteX27" fmla="*/ 1777 w 10000"/>
                <a:gd name="connsiteY27" fmla="*/ 9338 h 10000"/>
                <a:gd name="connsiteX28" fmla="*/ 1498 w 10000"/>
                <a:gd name="connsiteY28" fmla="*/ 9670 h 10000"/>
                <a:gd name="connsiteX29" fmla="*/ 1429 w 10000"/>
                <a:gd name="connsiteY29" fmla="*/ 9962 h 10000"/>
                <a:gd name="connsiteX30" fmla="*/ 0 w 10000"/>
                <a:gd name="connsiteY30" fmla="*/ 10000 h 10000"/>
                <a:gd name="connsiteX31" fmla="*/ 0 w 10000"/>
                <a:gd name="connsiteY31" fmla="*/ 10000 h 10000"/>
                <a:gd name="connsiteX32" fmla="*/ 35 w 10000"/>
                <a:gd name="connsiteY32" fmla="*/ 9670 h 10000"/>
                <a:gd name="connsiteX33" fmla="*/ 279 w 10000"/>
                <a:gd name="connsiteY33" fmla="*/ 9449 h 10000"/>
                <a:gd name="connsiteX34" fmla="*/ 488 w 10000"/>
                <a:gd name="connsiteY34" fmla="*/ 9044 h 10000"/>
                <a:gd name="connsiteX35" fmla="*/ 453 w 10000"/>
                <a:gd name="connsiteY35" fmla="*/ 8787 h 10000"/>
                <a:gd name="connsiteX36" fmla="*/ 697 w 10000"/>
                <a:gd name="connsiteY36" fmla="*/ 8235 h 10000"/>
                <a:gd name="connsiteX37" fmla="*/ 1045 w 10000"/>
                <a:gd name="connsiteY37" fmla="*/ 7756 h 10000"/>
                <a:gd name="connsiteX38" fmla="*/ 1289 w 10000"/>
                <a:gd name="connsiteY38" fmla="*/ 7646 h 10000"/>
                <a:gd name="connsiteX39" fmla="*/ 1463 w 10000"/>
                <a:gd name="connsiteY39" fmla="*/ 7205 h 10000"/>
                <a:gd name="connsiteX40" fmla="*/ 1463 w 10000"/>
                <a:gd name="connsiteY40" fmla="*/ 6801 h 10000"/>
                <a:gd name="connsiteX41" fmla="*/ 1707 w 10000"/>
                <a:gd name="connsiteY41" fmla="*/ 6324 h 10000"/>
                <a:gd name="connsiteX42" fmla="*/ 2125 w 10000"/>
                <a:gd name="connsiteY42" fmla="*/ 6030 h 10000"/>
                <a:gd name="connsiteX43" fmla="*/ 2544 w 10000"/>
                <a:gd name="connsiteY43" fmla="*/ 5257 h 10000"/>
                <a:gd name="connsiteX44" fmla="*/ 2578 w 10000"/>
                <a:gd name="connsiteY44" fmla="*/ 5257 h 10000"/>
                <a:gd name="connsiteX45" fmla="*/ 2892 w 10000"/>
                <a:gd name="connsiteY45" fmla="*/ 4963 h 10000"/>
                <a:gd name="connsiteX46" fmla="*/ 3449 w 10000"/>
                <a:gd name="connsiteY46" fmla="*/ 4889 h 10000"/>
                <a:gd name="connsiteX47" fmla="*/ 3972 w 10000"/>
                <a:gd name="connsiteY47" fmla="*/ 4374 h 10000"/>
                <a:gd name="connsiteX48" fmla="*/ 4286 w 10000"/>
                <a:gd name="connsiteY48" fmla="*/ 4154 h 10000"/>
                <a:gd name="connsiteX49" fmla="*/ 4808 w 10000"/>
                <a:gd name="connsiteY49" fmla="*/ 3529 h 10000"/>
                <a:gd name="connsiteX50" fmla="*/ 4669 w 10000"/>
                <a:gd name="connsiteY50" fmla="*/ 2574 h 10000"/>
                <a:gd name="connsiteX51" fmla="*/ 4913 w 10000"/>
                <a:gd name="connsiteY51" fmla="*/ 1911 h 10000"/>
                <a:gd name="connsiteX52" fmla="*/ 5017 w 10000"/>
                <a:gd name="connsiteY52" fmla="*/ 1507 h 10000"/>
                <a:gd name="connsiteX53" fmla="*/ 5436 w 10000"/>
                <a:gd name="connsiteY53" fmla="*/ 992 h 10000"/>
                <a:gd name="connsiteX54" fmla="*/ 6028 w 10000"/>
                <a:gd name="connsiteY54" fmla="*/ 661 h 10000"/>
                <a:gd name="connsiteX55" fmla="*/ 6481 w 10000"/>
                <a:gd name="connsiteY55" fmla="*/ 330 h 10000"/>
                <a:gd name="connsiteX0" fmla="*/ 6481 w 10000"/>
                <a:gd name="connsiteY0" fmla="*/ 0 h 9670"/>
                <a:gd name="connsiteX1" fmla="*/ 9826 w 10000"/>
                <a:gd name="connsiteY1" fmla="*/ 956 h 9670"/>
                <a:gd name="connsiteX2" fmla="*/ 10000 w 10000"/>
                <a:gd name="connsiteY2" fmla="*/ 1102 h 9670"/>
                <a:gd name="connsiteX3" fmla="*/ 9895 w 10000"/>
                <a:gd name="connsiteY3" fmla="*/ 1397 h 9670"/>
                <a:gd name="connsiteX4" fmla="*/ 9094 w 10000"/>
                <a:gd name="connsiteY4" fmla="*/ 1545 h 9670"/>
                <a:gd name="connsiteX5" fmla="*/ 8815 w 10000"/>
                <a:gd name="connsiteY5" fmla="*/ 1838 h 9670"/>
                <a:gd name="connsiteX6" fmla="*/ 8432 w 10000"/>
                <a:gd name="connsiteY6" fmla="*/ 1875 h 9670"/>
                <a:gd name="connsiteX7" fmla="*/ 8432 w 10000"/>
                <a:gd name="connsiteY7" fmla="*/ 2464 h 9670"/>
                <a:gd name="connsiteX8" fmla="*/ 7700 w 10000"/>
                <a:gd name="connsiteY8" fmla="*/ 2758 h 9670"/>
                <a:gd name="connsiteX9" fmla="*/ 7456 w 10000"/>
                <a:gd name="connsiteY9" fmla="*/ 3126 h 9670"/>
                <a:gd name="connsiteX10" fmla="*/ 6969 w 10000"/>
                <a:gd name="connsiteY10" fmla="*/ 3346 h 9670"/>
                <a:gd name="connsiteX11" fmla="*/ 6341 w 10000"/>
                <a:gd name="connsiteY11" fmla="*/ 3456 h 9670"/>
                <a:gd name="connsiteX12" fmla="*/ 5331 w 10000"/>
                <a:gd name="connsiteY12" fmla="*/ 4008 h 9670"/>
                <a:gd name="connsiteX13" fmla="*/ 5331 w 10000"/>
                <a:gd name="connsiteY13" fmla="*/ 4927 h 9670"/>
                <a:gd name="connsiteX14" fmla="*/ 5226 w 10000"/>
                <a:gd name="connsiteY14" fmla="*/ 4927 h 9670"/>
                <a:gd name="connsiteX15" fmla="*/ 5226 w 10000"/>
                <a:gd name="connsiteY15" fmla="*/ 4927 h 9670"/>
                <a:gd name="connsiteX16" fmla="*/ 5226 w 10000"/>
                <a:gd name="connsiteY16" fmla="*/ 5332 h 9670"/>
                <a:gd name="connsiteX17" fmla="*/ 4843 w 10000"/>
                <a:gd name="connsiteY17" fmla="*/ 5368 h 9670"/>
                <a:gd name="connsiteX18" fmla="*/ 4634 w 10000"/>
                <a:gd name="connsiteY18" fmla="*/ 5515 h 9670"/>
                <a:gd name="connsiteX19" fmla="*/ 4355 w 10000"/>
                <a:gd name="connsiteY19" fmla="*/ 5515 h 9670"/>
                <a:gd name="connsiteX20" fmla="*/ 4146 w 10000"/>
                <a:gd name="connsiteY20" fmla="*/ 5442 h 9670"/>
                <a:gd name="connsiteX21" fmla="*/ 3624 w 10000"/>
                <a:gd name="connsiteY21" fmla="*/ 5515 h 9670"/>
                <a:gd name="connsiteX22" fmla="*/ 3415 w 10000"/>
                <a:gd name="connsiteY22" fmla="*/ 6103 h 9670"/>
                <a:gd name="connsiteX23" fmla="*/ 3206 w 10000"/>
                <a:gd name="connsiteY23" fmla="*/ 6177 h 9670"/>
                <a:gd name="connsiteX24" fmla="*/ 2892 w 10000"/>
                <a:gd name="connsiteY24" fmla="*/ 7133 h 9670"/>
                <a:gd name="connsiteX25" fmla="*/ 2021 w 10000"/>
                <a:gd name="connsiteY25" fmla="*/ 7943 h 9670"/>
                <a:gd name="connsiteX26" fmla="*/ 1777 w 10000"/>
                <a:gd name="connsiteY26" fmla="*/ 9008 h 9670"/>
                <a:gd name="connsiteX27" fmla="*/ 1498 w 10000"/>
                <a:gd name="connsiteY27" fmla="*/ 9340 h 9670"/>
                <a:gd name="connsiteX28" fmla="*/ 1429 w 10000"/>
                <a:gd name="connsiteY28" fmla="*/ 9632 h 9670"/>
                <a:gd name="connsiteX29" fmla="*/ 0 w 10000"/>
                <a:gd name="connsiteY29" fmla="*/ 9670 h 9670"/>
                <a:gd name="connsiteX30" fmla="*/ 0 w 10000"/>
                <a:gd name="connsiteY30" fmla="*/ 9670 h 9670"/>
                <a:gd name="connsiteX31" fmla="*/ 35 w 10000"/>
                <a:gd name="connsiteY31" fmla="*/ 9340 h 9670"/>
                <a:gd name="connsiteX32" fmla="*/ 279 w 10000"/>
                <a:gd name="connsiteY32" fmla="*/ 9119 h 9670"/>
                <a:gd name="connsiteX33" fmla="*/ 488 w 10000"/>
                <a:gd name="connsiteY33" fmla="*/ 8714 h 9670"/>
                <a:gd name="connsiteX34" fmla="*/ 453 w 10000"/>
                <a:gd name="connsiteY34" fmla="*/ 8457 h 9670"/>
                <a:gd name="connsiteX35" fmla="*/ 697 w 10000"/>
                <a:gd name="connsiteY35" fmla="*/ 7905 h 9670"/>
                <a:gd name="connsiteX36" fmla="*/ 1045 w 10000"/>
                <a:gd name="connsiteY36" fmla="*/ 7426 h 9670"/>
                <a:gd name="connsiteX37" fmla="*/ 1289 w 10000"/>
                <a:gd name="connsiteY37" fmla="*/ 7316 h 9670"/>
                <a:gd name="connsiteX38" fmla="*/ 1463 w 10000"/>
                <a:gd name="connsiteY38" fmla="*/ 6875 h 9670"/>
                <a:gd name="connsiteX39" fmla="*/ 1463 w 10000"/>
                <a:gd name="connsiteY39" fmla="*/ 6471 h 9670"/>
                <a:gd name="connsiteX40" fmla="*/ 1707 w 10000"/>
                <a:gd name="connsiteY40" fmla="*/ 5994 h 9670"/>
                <a:gd name="connsiteX41" fmla="*/ 2125 w 10000"/>
                <a:gd name="connsiteY41" fmla="*/ 5700 h 9670"/>
                <a:gd name="connsiteX42" fmla="*/ 2544 w 10000"/>
                <a:gd name="connsiteY42" fmla="*/ 4927 h 9670"/>
                <a:gd name="connsiteX43" fmla="*/ 2578 w 10000"/>
                <a:gd name="connsiteY43" fmla="*/ 4927 h 9670"/>
                <a:gd name="connsiteX44" fmla="*/ 2892 w 10000"/>
                <a:gd name="connsiteY44" fmla="*/ 4633 h 9670"/>
                <a:gd name="connsiteX45" fmla="*/ 3449 w 10000"/>
                <a:gd name="connsiteY45" fmla="*/ 4559 h 9670"/>
                <a:gd name="connsiteX46" fmla="*/ 3972 w 10000"/>
                <a:gd name="connsiteY46" fmla="*/ 4044 h 9670"/>
                <a:gd name="connsiteX47" fmla="*/ 4286 w 10000"/>
                <a:gd name="connsiteY47" fmla="*/ 3824 h 9670"/>
                <a:gd name="connsiteX48" fmla="*/ 4808 w 10000"/>
                <a:gd name="connsiteY48" fmla="*/ 3199 h 9670"/>
                <a:gd name="connsiteX49" fmla="*/ 4669 w 10000"/>
                <a:gd name="connsiteY49" fmla="*/ 2244 h 9670"/>
                <a:gd name="connsiteX50" fmla="*/ 4913 w 10000"/>
                <a:gd name="connsiteY50" fmla="*/ 1581 h 9670"/>
                <a:gd name="connsiteX51" fmla="*/ 5017 w 10000"/>
                <a:gd name="connsiteY51" fmla="*/ 1177 h 9670"/>
                <a:gd name="connsiteX52" fmla="*/ 5436 w 10000"/>
                <a:gd name="connsiteY52" fmla="*/ 662 h 9670"/>
                <a:gd name="connsiteX53" fmla="*/ 6028 w 10000"/>
                <a:gd name="connsiteY53" fmla="*/ 331 h 9670"/>
                <a:gd name="connsiteX54" fmla="*/ 6481 w 10000"/>
                <a:gd name="connsiteY54" fmla="*/ 0 h 9670"/>
                <a:gd name="connsiteX0" fmla="*/ 6028 w 10000"/>
                <a:gd name="connsiteY0" fmla="*/ 0 h 9658"/>
                <a:gd name="connsiteX1" fmla="*/ 9826 w 10000"/>
                <a:gd name="connsiteY1" fmla="*/ 647 h 9658"/>
                <a:gd name="connsiteX2" fmla="*/ 10000 w 10000"/>
                <a:gd name="connsiteY2" fmla="*/ 798 h 9658"/>
                <a:gd name="connsiteX3" fmla="*/ 9895 w 10000"/>
                <a:gd name="connsiteY3" fmla="*/ 1103 h 9658"/>
                <a:gd name="connsiteX4" fmla="*/ 9094 w 10000"/>
                <a:gd name="connsiteY4" fmla="*/ 1256 h 9658"/>
                <a:gd name="connsiteX5" fmla="*/ 8815 w 10000"/>
                <a:gd name="connsiteY5" fmla="*/ 1559 h 9658"/>
                <a:gd name="connsiteX6" fmla="*/ 8432 w 10000"/>
                <a:gd name="connsiteY6" fmla="*/ 1597 h 9658"/>
                <a:gd name="connsiteX7" fmla="*/ 8432 w 10000"/>
                <a:gd name="connsiteY7" fmla="*/ 2206 h 9658"/>
                <a:gd name="connsiteX8" fmla="*/ 7700 w 10000"/>
                <a:gd name="connsiteY8" fmla="*/ 2510 h 9658"/>
                <a:gd name="connsiteX9" fmla="*/ 7456 w 10000"/>
                <a:gd name="connsiteY9" fmla="*/ 2891 h 9658"/>
                <a:gd name="connsiteX10" fmla="*/ 6969 w 10000"/>
                <a:gd name="connsiteY10" fmla="*/ 3118 h 9658"/>
                <a:gd name="connsiteX11" fmla="*/ 6341 w 10000"/>
                <a:gd name="connsiteY11" fmla="*/ 3232 h 9658"/>
                <a:gd name="connsiteX12" fmla="*/ 5331 w 10000"/>
                <a:gd name="connsiteY12" fmla="*/ 3803 h 9658"/>
                <a:gd name="connsiteX13" fmla="*/ 5331 w 10000"/>
                <a:gd name="connsiteY13" fmla="*/ 4753 h 9658"/>
                <a:gd name="connsiteX14" fmla="*/ 5226 w 10000"/>
                <a:gd name="connsiteY14" fmla="*/ 4753 h 9658"/>
                <a:gd name="connsiteX15" fmla="*/ 5226 w 10000"/>
                <a:gd name="connsiteY15" fmla="*/ 4753 h 9658"/>
                <a:gd name="connsiteX16" fmla="*/ 5226 w 10000"/>
                <a:gd name="connsiteY16" fmla="*/ 5172 h 9658"/>
                <a:gd name="connsiteX17" fmla="*/ 4843 w 10000"/>
                <a:gd name="connsiteY17" fmla="*/ 5209 h 9658"/>
                <a:gd name="connsiteX18" fmla="*/ 4634 w 10000"/>
                <a:gd name="connsiteY18" fmla="*/ 5361 h 9658"/>
                <a:gd name="connsiteX19" fmla="*/ 4355 w 10000"/>
                <a:gd name="connsiteY19" fmla="*/ 5361 h 9658"/>
                <a:gd name="connsiteX20" fmla="*/ 4146 w 10000"/>
                <a:gd name="connsiteY20" fmla="*/ 5286 h 9658"/>
                <a:gd name="connsiteX21" fmla="*/ 3624 w 10000"/>
                <a:gd name="connsiteY21" fmla="*/ 5361 h 9658"/>
                <a:gd name="connsiteX22" fmla="*/ 3415 w 10000"/>
                <a:gd name="connsiteY22" fmla="*/ 5969 h 9658"/>
                <a:gd name="connsiteX23" fmla="*/ 3206 w 10000"/>
                <a:gd name="connsiteY23" fmla="*/ 6046 h 9658"/>
                <a:gd name="connsiteX24" fmla="*/ 2892 w 10000"/>
                <a:gd name="connsiteY24" fmla="*/ 7034 h 9658"/>
                <a:gd name="connsiteX25" fmla="*/ 2021 w 10000"/>
                <a:gd name="connsiteY25" fmla="*/ 7872 h 9658"/>
                <a:gd name="connsiteX26" fmla="*/ 1777 w 10000"/>
                <a:gd name="connsiteY26" fmla="*/ 8973 h 9658"/>
                <a:gd name="connsiteX27" fmla="*/ 1498 w 10000"/>
                <a:gd name="connsiteY27" fmla="*/ 9317 h 9658"/>
                <a:gd name="connsiteX28" fmla="*/ 1429 w 10000"/>
                <a:gd name="connsiteY28" fmla="*/ 9619 h 9658"/>
                <a:gd name="connsiteX29" fmla="*/ 0 w 10000"/>
                <a:gd name="connsiteY29" fmla="*/ 9658 h 9658"/>
                <a:gd name="connsiteX30" fmla="*/ 0 w 10000"/>
                <a:gd name="connsiteY30" fmla="*/ 9658 h 9658"/>
                <a:gd name="connsiteX31" fmla="*/ 35 w 10000"/>
                <a:gd name="connsiteY31" fmla="*/ 9317 h 9658"/>
                <a:gd name="connsiteX32" fmla="*/ 279 w 10000"/>
                <a:gd name="connsiteY32" fmla="*/ 9088 h 9658"/>
                <a:gd name="connsiteX33" fmla="*/ 488 w 10000"/>
                <a:gd name="connsiteY33" fmla="*/ 8669 h 9658"/>
                <a:gd name="connsiteX34" fmla="*/ 453 w 10000"/>
                <a:gd name="connsiteY34" fmla="*/ 8404 h 9658"/>
                <a:gd name="connsiteX35" fmla="*/ 697 w 10000"/>
                <a:gd name="connsiteY35" fmla="*/ 7833 h 9658"/>
                <a:gd name="connsiteX36" fmla="*/ 1045 w 10000"/>
                <a:gd name="connsiteY36" fmla="*/ 7337 h 9658"/>
                <a:gd name="connsiteX37" fmla="*/ 1289 w 10000"/>
                <a:gd name="connsiteY37" fmla="*/ 7224 h 9658"/>
                <a:gd name="connsiteX38" fmla="*/ 1463 w 10000"/>
                <a:gd name="connsiteY38" fmla="*/ 6768 h 9658"/>
                <a:gd name="connsiteX39" fmla="*/ 1463 w 10000"/>
                <a:gd name="connsiteY39" fmla="*/ 6350 h 9658"/>
                <a:gd name="connsiteX40" fmla="*/ 1707 w 10000"/>
                <a:gd name="connsiteY40" fmla="*/ 5857 h 9658"/>
                <a:gd name="connsiteX41" fmla="*/ 2125 w 10000"/>
                <a:gd name="connsiteY41" fmla="*/ 5553 h 9658"/>
                <a:gd name="connsiteX42" fmla="*/ 2544 w 10000"/>
                <a:gd name="connsiteY42" fmla="*/ 4753 h 9658"/>
                <a:gd name="connsiteX43" fmla="*/ 2578 w 10000"/>
                <a:gd name="connsiteY43" fmla="*/ 4753 h 9658"/>
                <a:gd name="connsiteX44" fmla="*/ 2892 w 10000"/>
                <a:gd name="connsiteY44" fmla="*/ 4449 h 9658"/>
                <a:gd name="connsiteX45" fmla="*/ 3449 w 10000"/>
                <a:gd name="connsiteY45" fmla="*/ 4373 h 9658"/>
                <a:gd name="connsiteX46" fmla="*/ 3972 w 10000"/>
                <a:gd name="connsiteY46" fmla="*/ 3840 h 9658"/>
                <a:gd name="connsiteX47" fmla="*/ 4286 w 10000"/>
                <a:gd name="connsiteY47" fmla="*/ 3612 h 9658"/>
                <a:gd name="connsiteX48" fmla="*/ 4808 w 10000"/>
                <a:gd name="connsiteY48" fmla="*/ 2966 h 9658"/>
                <a:gd name="connsiteX49" fmla="*/ 4669 w 10000"/>
                <a:gd name="connsiteY49" fmla="*/ 1979 h 9658"/>
                <a:gd name="connsiteX50" fmla="*/ 4913 w 10000"/>
                <a:gd name="connsiteY50" fmla="*/ 1293 h 9658"/>
                <a:gd name="connsiteX51" fmla="*/ 5017 w 10000"/>
                <a:gd name="connsiteY51" fmla="*/ 875 h 9658"/>
                <a:gd name="connsiteX52" fmla="*/ 5436 w 10000"/>
                <a:gd name="connsiteY52" fmla="*/ 343 h 9658"/>
                <a:gd name="connsiteX53" fmla="*/ 6028 w 10000"/>
                <a:gd name="connsiteY53" fmla="*/ 0 h 9658"/>
                <a:gd name="connsiteX0" fmla="*/ 5436 w 10000"/>
                <a:gd name="connsiteY0" fmla="*/ 0 h 9645"/>
                <a:gd name="connsiteX1" fmla="*/ 9826 w 10000"/>
                <a:gd name="connsiteY1" fmla="*/ 315 h 9645"/>
                <a:gd name="connsiteX2" fmla="*/ 10000 w 10000"/>
                <a:gd name="connsiteY2" fmla="*/ 471 h 9645"/>
                <a:gd name="connsiteX3" fmla="*/ 9895 w 10000"/>
                <a:gd name="connsiteY3" fmla="*/ 787 h 9645"/>
                <a:gd name="connsiteX4" fmla="*/ 9094 w 10000"/>
                <a:gd name="connsiteY4" fmla="*/ 945 h 9645"/>
                <a:gd name="connsiteX5" fmla="*/ 8815 w 10000"/>
                <a:gd name="connsiteY5" fmla="*/ 1259 h 9645"/>
                <a:gd name="connsiteX6" fmla="*/ 8432 w 10000"/>
                <a:gd name="connsiteY6" fmla="*/ 1299 h 9645"/>
                <a:gd name="connsiteX7" fmla="*/ 8432 w 10000"/>
                <a:gd name="connsiteY7" fmla="*/ 1929 h 9645"/>
                <a:gd name="connsiteX8" fmla="*/ 7700 w 10000"/>
                <a:gd name="connsiteY8" fmla="*/ 2244 h 9645"/>
                <a:gd name="connsiteX9" fmla="*/ 7456 w 10000"/>
                <a:gd name="connsiteY9" fmla="*/ 2638 h 9645"/>
                <a:gd name="connsiteX10" fmla="*/ 6969 w 10000"/>
                <a:gd name="connsiteY10" fmla="*/ 2873 h 9645"/>
                <a:gd name="connsiteX11" fmla="*/ 6341 w 10000"/>
                <a:gd name="connsiteY11" fmla="*/ 2991 h 9645"/>
                <a:gd name="connsiteX12" fmla="*/ 5331 w 10000"/>
                <a:gd name="connsiteY12" fmla="*/ 3583 h 9645"/>
                <a:gd name="connsiteX13" fmla="*/ 5331 w 10000"/>
                <a:gd name="connsiteY13" fmla="*/ 4566 h 9645"/>
                <a:gd name="connsiteX14" fmla="*/ 5226 w 10000"/>
                <a:gd name="connsiteY14" fmla="*/ 4566 h 9645"/>
                <a:gd name="connsiteX15" fmla="*/ 5226 w 10000"/>
                <a:gd name="connsiteY15" fmla="*/ 4566 h 9645"/>
                <a:gd name="connsiteX16" fmla="*/ 5226 w 10000"/>
                <a:gd name="connsiteY16" fmla="*/ 5000 h 9645"/>
                <a:gd name="connsiteX17" fmla="*/ 4843 w 10000"/>
                <a:gd name="connsiteY17" fmla="*/ 5038 h 9645"/>
                <a:gd name="connsiteX18" fmla="*/ 4634 w 10000"/>
                <a:gd name="connsiteY18" fmla="*/ 5196 h 9645"/>
                <a:gd name="connsiteX19" fmla="*/ 4355 w 10000"/>
                <a:gd name="connsiteY19" fmla="*/ 5196 h 9645"/>
                <a:gd name="connsiteX20" fmla="*/ 4146 w 10000"/>
                <a:gd name="connsiteY20" fmla="*/ 5118 h 9645"/>
                <a:gd name="connsiteX21" fmla="*/ 3624 w 10000"/>
                <a:gd name="connsiteY21" fmla="*/ 5196 h 9645"/>
                <a:gd name="connsiteX22" fmla="*/ 3415 w 10000"/>
                <a:gd name="connsiteY22" fmla="*/ 5825 h 9645"/>
                <a:gd name="connsiteX23" fmla="*/ 3206 w 10000"/>
                <a:gd name="connsiteY23" fmla="*/ 5905 h 9645"/>
                <a:gd name="connsiteX24" fmla="*/ 2892 w 10000"/>
                <a:gd name="connsiteY24" fmla="*/ 6928 h 9645"/>
                <a:gd name="connsiteX25" fmla="*/ 2021 w 10000"/>
                <a:gd name="connsiteY25" fmla="*/ 7796 h 9645"/>
                <a:gd name="connsiteX26" fmla="*/ 1777 w 10000"/>
                <a:gd name="connsiteY26" fmla="*/ 8936 h 9645"/>
                <a:gd name="connsiteX27" fmla="*/ 1498 w 10000"/>
                <a:gd name="connsiteY27" fmla="*/ 9292 h 9645"/>
                <a:gd name="connsiteX28" fmla="*/ 1429 w 10000"/>
                <a:gd name="connsiteY28" fmla="*/ 9605 h 9645"/>
                <a:gd name="connsiteX29" fmla="*/ 0 w 10000"/>
                <a:gd name="connsiteY29" fmla="*/ 9645 h 9645"/>
                <a:gd name="connsiteX30" fmla="*/ 0 w 10000"/>
                <a:gd name="connsiteY30" fmla="*/ 9645 h 9645"/>
                <a:gd name="connsiteX31" fmla="*/ 35 w 10000"/>
                <a:gd name="connsiteY31" fmla="*/ 9292 h 9645"/>
                <a:gd name="connsiteX32" fmla="*/ 279 w 10000"/>
                <a:gd name="connsiteY32" fmla="*/ 9055 h 9645"/>
                <a:gd name="connsiteX33" fmla="*/ 488 w 10000"/>
                <a:gd name="connsiteY33" fmla="*/ 8621 h 9645"/>
                <a:gd name="connsiteX34" fmla="*/ 453 w 10000"/>
                <a:gd name="connsiteY34" fmla="*/ 8347 h 9645"/>
                <a:gd name="connsiteX35" fmla="*/ 697 w 10000"/>
                <a:gd name="connsiteY35" fmla="*/ 7755 h 9645"/>
                <a:gd name="connsiteX36" fmla="*/ 1045 w 10000"/>
                <a:gd name="connsiteY36" fmla="*/ 7242 h 9645"/>
                <a:gd name="connsiteX37" fmla="*/ 1289 w 10000"/>
                <a:gd name="connsiteY37" fmla="*/ 7125 h 9645"/>
                <a:gd name="connsiteX38" fmla="*/ 1463 w 10000"/>
                <a:gd name="connsiteY38" fmla="*/ 6653 h 9645"/>
                <a:gd name="connsiteX39" fmla="*/ 1463 w 10000"/>
                <a:gd name="connsiteY39" fmla="*/ 6220 h 9645"/>
                <a:gd name="connsiteX40" fmla="*/ 1707 w 10000"/>
                <a:gd name="connsiteY40" fmla="*/ 5709 h 9645"/>
                <a:gd name="connsiteX41" fmla="*/ 2125 w 10000"/>
                <a:gd name="connsiteY41" fmla="*/ 5395 h 9645"/>
                <a:gd name="connsiteX42" fmla="*/ 2544 w 10000"/>
                <a:gd name="connsiteY42" fmla="*/ 4566 h 9645"/>
                <a:gd name="connsiteX43" fmla="*/ 2578 w 10000"/>
                <a:gd name="connsiteY43" fmla="*/ 4566 h 9645"/>
                <a:gd name="connsiteX44" fmla="*/ 2892 w 10000"/>
                <a:gd name="connsiteY44" fmla="*/ 4252 h 9645"/>
                <a:gd name="connsiteX45" fmla="*/ 3449 w 10000"/>
                <a:gd name="connsiteY45" fmla="*/ 4173 h 9645"/>
                <a:gd name="connsiteX46" fmla="*/ 3972 w 10000"/>
                <a:gd name="connsiteY46" fmla="*/ 3621 h 9645"/>
                <a:gd name="connsiteX47" fmla="*/ 4286 w 10000"/>
                <a:gd name="connsiteY47" fmla="*/ 3385 h 9645"/>
                <a:gd name="connsiteX48" fmla="*/ 4808 w 10000"/>
                <a:gd name="connsiteY48" fmla="*/ 2716 h 9645"/>
                <a:gd name="connsiteX49" fmla="*/ 4669 w 10000"/>
                <a:gd name="connsiteY49" fmla="*/ 1694 h 9645"/>
                <a:gd name="connsiteX50" fmla="*/ 4913 w 10000"/>
                <a:gd name="connsiteY50" fmla="*/ 984 h 9645"/>
                <a:gd name="connsiteX51" fmla="*/ 5017 w 10000"/>
                <a:gd name="connsiteY51" fmla="*/ 551 h 9645"/>
                <a:gd name="connsiteX52" fmla="*/ 5436 w 10000"/>
                <a:gd name="connsiteY52" fmla="*/ 0 h 9645"/>
                <a:gd name="connsiteX0" fmla="*/ 5017 w 10000"/>
                <a:gd name="connsiteY0" fmla="*/ 244 h 9673"/>
                <a:gd name="connsiteX1" fmla="*/ 9826 w 10000"/>
                <a:gd name="connsiteY1" fmla="*/ 0 h 9673"/>
                <a:gd name="connsiteX2" fmla="*/ 10000 w 10000"/>
                <a:gd name="connsiteY2" fmla="*/ 161 h 9673"/>
                <a:gd name="connsiteX3" fmla="*/ 9895 w 10000"/>
                <a:gd name="connsiteY3" fmla="*/ 489 h 9673"/>
                <a:gd name="connsiteX4" fmla="*/ 9094 w 10000"/>
                <a:gd name="connsiteY4" fmla="*/ 653 h 9673"/>
                <a:gd name="connsiteX5" fmla="*/ 8815 w 10000"/>
                <a:gd name="connsiteY5" fmla="*/ 978 h 9673"/>
                <a:gd name="connsiteX6" fmla="*/ 8432 w 10000"/>
                <a:gd name="connsiteY6" fmla="*/ 1020 h 9673"/>
                <a:gd name="connsiteX7" fmla="*/ 8432 w 10000"/>
                <a:gd name="connsiteY7" fmla="*/ 1673 h 9673"/>
                <a:gd name="connsiteX8" fmla="*/ 7700 w 10000"/>
                <a:gd name="connsiteY8" fmla="*/ 2000 h 9673"/>
                <a:gd name="connsiteX9" fmla="*/ 7456 w 10000"/>
                <a:gd name="connsiteY9" fmla="*/ 2408 h 9673"/>
                <a:gd name="connsiteX10" fmla="*/ 6969 w 10000"/>
                <a:gd name="connsiteY10" fmla="*/ 2652 h 9673"/>
                <a:gd name="connsiteX11" fmla="*/ 6341 w 10000"/>
                <a:gd name="connsiteY11" fmla="*/ 2774 h 9673"/>
                <a:gd name="connsiteX12" fmla="*/ 5331 w 10000"/>
                <a:gd name="connsiteY12" fmla="*/ 3388 h 9673"/>
                <a:gd name="connsiteX13" fmla="*/ 5331 w 10000"/>
                <a:gd name="connsiteY13" fmla="*/ 4407 h 9673"/>
                <a:gd name="connsiteX14" fmla="*/ 5226 w 10000"/>
                <a:gd name="connsiteY14" fmla="*/ 4407 h 9673"/>
                <a:gd name="connsiteX15" fmla="*/ 5226 w 10000"/>
                <a:gd name="connsiteY15" fmla="*/ 4407 h 9673"/>
                <a:gd name="connsiteX16" fmla="*/ 5226 w 10000"/>
                <a:gd name="connsiteY16" fmla="*/ 4857 h 9673"/>
                <a:gd name="connsiteX17" fmla="*/ 4843 w 10000"/>
                <a:gd name="connsiteY17" fmla="*/ 4896 h 9673"/>
                <a:gd name="connsiteX18" fmla="*/ 4634 w 10000"/>
                <a:gd name="connsiteY18" fmla="*/ 5060 h 9673"/>
                <a:gd name="connsiteX19" fmla="*/ 4355 w 10000"/>
                <a:gd name="connsiteY19" fmla="*/ 5060 h 9673"/>
                <a:gd name="connsiteX20" fmla="*/ 4146 w 10000"/>
                <a:gd name="connsiteY20" fmla="*/ 4979 h 9673"/>
                <a:gd name="connsiteX21" fmla="*/ 3624 w 10000"/>
                <a:gd name="connsiteY21" fmla="*/ 5060 h 9673"/>
                <a:gd name="connsiteX22" fmla="*/ 3415 w 10000"/>
                <a:gd name="connsiteY22" fmla="*/ 5712 h 9673"/>
                <a:gd name="connsiteX23" fmla="*/ 3206 w 10000"/>
                <a:gd name="connsiteY23" fmla="*/ 5795 h 9673"/>
                <a:gd name="connsiteX24" fmla="*/ 2892 w 10000"/>
                <a:gd name="connsiteY24" fmla="*/ 6856 h 9673"/>
                <a:gd name="connsiteX25" fmla="*/ 2021 w 10000"/>
                <a:gd name="connsiteY25" fmla="*/ 7756 h 9673"/>
                <a:gd name="connsiteX26" fmla="*/ 1777 w 10000"/>
                <a:gd name="connsiteY26" fmla="*/ 8938 h 9673"/>
                <a:gd name="connsiteX27" fmla="*/ 1498 w 10000"/>
                <a:gd name="connsiteY27" fmla="*/ 9307 h 9673"/>
                <a:gd name="connsiteX28" fmla="*/ 1429 w 10000"/>
                <a:gd name="connsiteY28" fmla="*/ 9632 h 9673"/>
                <a:gd name="connsiteX29" fmla="*/ 0 w 10000"/>
                <a:gd name="connsiteY29" fmla="*/ 9673 h 9673"/>
                <a:gd name="connsiteX30" fmla="*/ 0 w 10000"/>
                <a:gd name="connsiteY30" fmla="*/ 9673 h 9673"/>
                <a:gd name="connsiteX31" fmla="*/ 35 w 10000"/>
                <a:gd name="connsiteY31" fmla="*/ 9307 h 9673"/>
                <a:gd name="connsiteX32" fmla="*/ 279 w 10000"/>
                <a:gd name="connsiteY32" fmla="*/ 9061 h 9673"/>
                <a:gd name="connsiteX33" fmla="*/ 488 w 10000"/>
                <a:gd name="connsiteY33" fmla="*/ 8611 h 9673"/>
                <a:gd name="connsiteX34" fmla="*/ 453 w 10000"/>
                <a:gd name="connsiteY34" fmla="*/ 8327 h 9673"/>
                <a:gd name="connsiteX35" fmla="*/ 697 w 10000"/>
                <a:gd name="connsiteY35" fmla="*/ 7713 h 9673"/>
                <a:gd name="connsiteX36" fmla="*/ 1045 w 10000"/>
                <a:gd name="connsiteY36" fmla="*/ 7182 h 9673"/>
                <a:gd name="connsiteX37" fmla="*/ 1289 w 10000"/>
                <a:gd name="connsiteY37" fmla="*/ 7060 h 9673"/>
                <a:gd name="connsiteX38" fmla="*/ 1463 w 10000"/>
                <a:gd name="connsiteY38" fmla="*/ 6571 h 9673"/>
                <a:gd name="connsiteX39" fmla="*/ 1463 w 10000"/>
                <a:gd name="connsiteY39" fmla="*/ 6122 h 9673"/>
                <a:gd name="connsiteX40" fmla="*/ 1707 w 10000"/>
                <a:gd name="connsiteY40" fmla="*/ 5592 h 9673"/>
                <a:gd name="connsiteX41" fmla="*/ 2125 w 10000"/>
                <a:gd name="connsiteY41" fmla="*/ 5267 h 9673"/>
                <a:gd name="connsiteX42" fmla="*/ 2544 w 10000"/>
                <a:gd name="connsiteY42" fmla="*/ 4407 h 9673"/>
                <a:gd name="connsiteX43" fmla="*/ 2578 w 10000"/>
                <a:gd name="connsiteY43" fmla="*/ 4407 h 9673"/>
                <a:gd name="connsiteX44" fmla="*/ 2892 w 10000"/>
                <a:gd name="connsiteY44" fmla="*/ 4082 h 9673"/>
                <a:gd name="connsiteX45" fmla="*/ 3449 w 10000"/>
                <a:gd name="connsiteY45" fmla="*/ 4000 h 9673"/>
                <a:gd name="connsiteX46" fmla="*/ 3972 w 10000"/>
                <a:gd name="connsiteY46" fmla="*/ 3427 h 9673"/>
                <a:gd name="connsiteX47" fmla="*/ 4286 w 10000"/>
                <a:gd name="connsiteY47" fmla="*/ 3183 h 9673"/>
                <a:gd name="connsiteX48" fmla="*/ 4808 w 10000"/>
                <a:gd name="connsiteY48" fmla="*/ 2489 h 9673"/>
                <a:gd name="connsiteX49" fmla="*/ 4669 w 10000"/>
                <a:gd name="connsiteY49" fmla="*/ 1429 h 9673"/>
                <a:gd name="connsiteX50" fmla="*/ 4913 w 10000"/>
                <a:gd name="connsiteY50" fmla="*/ 693 h 9673"/>
                <a:gd name="connsiteX51" fmla="*/ 5017 w 10000"/>
                <a:gd name="connsiteY51" fmla="*/ 244 h 9673"/>
                <a:gd name="connsiteX0" fmla="*/ 5017 w 9895"/>
                <a:gd name="connsiteY0" fmla="*/ 252 h 10000"/>
                <a:gd name="connsiteX1" fmla="*/ 9826 w 9895"/>
                <a:gd name="connsiteY1" fmla="*/ 0 h 10000"/>
                <a:gd name="connsiteX2" fmla="*/ 9895 w 9895"/>
                <a:gd name="connsiteY2" fmla="*/ 506 h 10000"/>
                <a:gd name="connsiteX3" fmla="*/ 9094 w 9895"/>
                <a:gd name="connsiteY3" fmla="*/ 675 h 10000"/>
                <a:gd name="connsiteX4" fmla="*/ 8815 w 9895"/>
                <a:gd name="connsiteY4" fmla="*/ 1011 h 10000"/>
                <a:gd name="connsiteX5" fmla="*/ 8432 w 9895"/>
                <a:gd name="connsiteY5" fmla="*/ 1054 h 10000"/>
                <a:gd name="connsiteX6" fmla="*/ 8432 w 9895"/>
                <a:gd name="connsiteY6" fmla="*/ 1730 h 10000"/>
                <a:gd name="connsiteX7" fmla="*/ 7700 w 9895"/>
                <a:gd name="connsiteY7" fmla="*/ 2068 h 10000"/>
                <a:gd name="connsiteX8" fmla="*/ 7456 w 9895"/>
                <a:gd name="connsiteY8" fmla="*/ 2489 h 10000"/>
                <a:gd name="connsiteX9" fmla="*/ 6969 w 9895"/>
                <a:gd name="connsiteY9" fmla="*/ 2742 h 10000"/>
                <a:gd name="connsiteX10" fmla="*/ 6341 w 9895"/>
                <a:gd name="connsiteY10" fmla="*/ 2868 h 10000"/>
                <a:gd name="connsiteX11" fmla="*/ 5331 w 9895"/>
                <a:gd name="connsiteY11" fmla="*/ 3503 h 10000"/>
                <a:gd name="connsiteX12" fmla="*/ 5331 w 9895"/>
                <a:gd name="connsiteY12" fmla="*/ 4556 h 10000"/>
                <a:gd name="connsiteX13" fmla="*/ 5226 w 9895"/>
                <a:gd name="connsiteY13" fmla="*/ 4556 h 10000"/>
                <a:gd name="connsiteX14" fmla="*/ 5226 w 9895"/>
                <a:gd name="connsiteY14" fmla="*/ 4556 h 10000"/>
                <a:gd name="connsiteX15" fmla="*/ 5226 w 9895"/>
                <a:gd name="connsiteY15" fmla="*/ 5021 h 10000"/>
                <a:gd name="connsiteX16" fmla="*/ 4843 w 9895"/>
                <a:gd name="connsiteY16" fmla="*/ 5062 h 10000"/>
                <a:gd name="connsiteX17" fmla="*/ 4634 w 9895"/>
                <a:gd name="connsiteY17" fmla="*/ 5231 h 10000"/>
                <a:gd name="connsiteX18" fmla="*/ 4355 w 9895"/>
                <a:gd name="connsiteY18" fmla="*/ 5231 h 10000"/>
                <a:gd name="connsiteX19" fmla="*/ 4146 w 9895"/>
                <a:gd name="connsiteY19" fmla="*/ 5147 h 10000"/>
                <a:gd name="connsiteX20" fmla="*/ 3624 w 9895"/>
                <a:gd name="connsiteY20" fmla="*/ 5231 h 10000"/>
                <a:gd name="connsiteX21" fmla="*/ 3415 w 9895"/>
                <a:gd name="connsiteY21" fmla="*/ 5905 h 10000"/>
                <a:gd name="connsiteX22" fmla="*/ 3206 w 9895"/>
                <a:gd name="connsiteY22" fmla="*/ 5991 h 10000"/>
                <a:gd name="connsiteX23" fmla="*/ 2892 w 9895"/>
                <a:gd name="connsiteY23" fmla="*/ 7088 h 10000"/>
                <a:gd name="connsiteX24" fmla="*/ 2021 w 9895"/>
                <a:gd name="connsiteY24" fmla="*/ 8018 h 10000"/>
                <a:gd name="connsiteX25" fmla="*/ 1777 w 9895"/>
                <a:gd name="connsiteY25" fmla="*/ 9240 h 10000"/>
                <a:gd name="connsiteX26" fmla="*/ 1498 w 9895"/>
                <a:gd name="connsiteY26" fmla="*/ 9622 h 10000"/>
                <a:gd name="connsiteX27" fmla="*/ 1429 w 9895"/>
                <a:gd name="connsiteY27" fmla="*/ 9958 h 10000"/>
                <a:gd name="connsiteX28" fmla="*/ 0 w 9895"/>
                <a:gd name="connsiteY28" fmla="*/ 10000 h 10000"/>
                <a:gd name="connsiteX29" fmla="*/ 0 w 9895"/>
                <a:gd name="connsiteY29" fmla="*/ 10000 h 10000"/>
                <a:gd name="connsiteX30" fmla="*/ 35 w 9895"/>
                <a:gd name="connsiteY30" fmla="*/ 9622 h 10000"/>
                <a:gd name="connsiteX31" fmla="*/ 279 w 9895"/>
                <a:gd name="connsiteY31" fmla="*/ 9367 h 10000"/>
                <a:gd name="connsiteX32" fmla="*/ 488 w 9895"/>
                <a:gd name="connsiteY32" fmla="*/ 8902 h 10000"/>
                <a:gd name="connsiteX33" fmla="*/ 453 w 9895"/>
                <a:gd name="connsiteY33" fmla="*/ 8608 h 10000"/>
                <a:gd name="connsiteX34" fmla="*/ 697 w 9895"/>
                <a:gd name="connsiteY34" fmla="*/ 7974 h 10000"/>
                <a:gd name="connsiteX35" fmla="*/ 1045 w 9895"/>
                <a:gd name="connsiteY35" fmla="*/ 7425 h 10000"/>
                <a:gd name="connsiteX36" fmla="*/ 1289 w 9895"/>
                <a:gd name="connsiteY36" fmla="*/ 7299 h 10000"/>
                <a:gd name="connsiteX37" fmla="*/ 1463 w 9895"/>
                <a:gd name="connsiteY37" fmla="*/ 6793 h 10000"/>
                <a:gd name="connsiteX38" fmla="*/ 1463 w 9895"/>
                <a:gd name="connsiteY38" fmla="*/ 6329 h 10000"/>
                <a:gd name="connsiteX39" fmla="*/ 1707 w 9895"/>
                <a:gd name="connsiteY39" fmla="*/ 5781 h 10000"/>
                <a:gd name="connsiteX40" fmla="*/ 2125 w 9895"/>
                <a:gd name="connsiteY40" fmla="*/ 5445 h 10000"/>
                <a:gd name="connsiteX41" fmla="*/ 2544 w 9895"/>
                <a:gd name="connsiteY41" fmla="*/ 4556 h 10000"/>
                <a:gd name="connsiteX42" fmla="*/ 2578 w 9895"/>
                <a:gd name="connsiteY42" fmla="*/ 4556 h 10000"/>
                <a:gd name="connsiteX43" fmla="*/ 2892 w 9895"/>
                <a:gd name="connsiteY43" fmla="*/ 4220 h 10000"/>
                <a:gd name="connsiteX44" fmla="*/ 3449 w 9895"/>
                <a:gd name="connsiteY44" fmla="*/ 4135 h 10000"/>
                <a:gd name="connsiteX45" fmla="*/ 3972 w 9895"/>
                <a:gd name="connsiteY45" fmla="*/ 3543 h 10000"/>
                <a:gd name="connsiteX46" fmla="*/ 4286 w 9895"/>
                <a:gd name="connsiteY46" fmla="*/ 3291 h 10000"/>
                <a:gd name="connsiteX47" fmla="*/ 4808 w 9895"/>
                <a:gd name="connsiteY47" fmla="*/ 2573 h 10000"/>
                <a:gd name="connsiteX48" fmla="*/ 4669 w 9895"/>
                <a:gd name="connsiteY48" fmla="*/ 1477 h 10000"/>
                <a:gd name="connsiteX49" fmla="*/ 4913 w 9895"/>
                <a:gd name="connsiteY49" fmla="*/ 716 h 10000"/>
                <a:gd name="connsiteX50" fmla="*/ 5017 w 9895"/>
                <a:gd name="connsiteY50" fmla="*/ 252 h 10000"/>
                <a:gd name="connsiteX0" fmla="*/ 5070 w 10000"/>
                <a:gd name="connsiteY0" fmla="*/ 0 h 9748"/>
                <a:gd name="connsiteX1" fmla="*/ 10000 w 10000"/>
                <a:gd name="connsiteY1" fmla="*/ 254 h 9748"/>
                <a:gd name="connsiteX2" fmla="*/ 9191 w 10000"/>
                <a:gd name="connsiteY2" fmla="*/ 423 h 9748"/>
                <a:gd name="connsiteX3" fmla="*/ 8909 w 10000"/>
                <a:gd name="connsiteY3" fmla="*/ 759 h 9748"/>
                <a:gd name="connsiteX4" fmla="*/ 8521 w 10000"/>
                <a:gd name="connsiteY4" fmla="*/ 802 h 9748"/>
                <a:gd name="connsiteX5" fmla="*/ 8521 w 10000"/>
                <a:gd name="connsiteY5" fmla="*/ 1478 h 9748"/>
                <a:gd name="connsiteX6" fmla="*/ 7782 w 10000"/>
                <a:gd name="connsiteY6" fmla="*/ 1816 h 9748"/>
                <a:gd name="connsiteX7" fmla="*/ 7535 w 10000"/>
                <a:gd name="connsiteY7" fmla="*/ 2237 h 9748"/>
                <a:gd name="connsiteX8" fmla="*/ 7043 w 10000"/>
                <a:gd name="connsiteY8" fmla="*/ 2490 h 9748"/>
                <a:gd name="connsiteX9" fmla="*/ 6408 w 10000"/>
                <a:gd name="connsiteY9" fmla="*/ 2616 h 9748"/>
                <a:gd name="connsiteX10" fmla="*/ 5388 w 10000"/>
                <a:gd name="connsiteY10" fmla="*/ 3251 h 9748"/>
                <a:gd name="connsiteX11" fmla="*/ 5388 w 10000"/>
                <a:gd name="connsiteY11" fmla="*/ 4304 h 9748"/>
                <a:gd name="connsiteX12" fmla="*/ 5281 w 10000"/>
                <a:gd name="connsiteY12" fmla="*/ 4304 h 9748"/>
                <a:gd name="connsiteX13" fmla="*/ 5281 w 10000"/>
                <a:gd name="connsiteY13" fmla="*/ 4304 h 9748"/>
                <a:gd name="connsiteX14" fmla="*/ 5281 w 10000"/>
                <a:gd name="connsiteY14" fmla="*/ 4769 h 9748"/>
                <a:gd name="connsiteX15" fmla="*/ 4894 w 10000"/>
                <a:gd name="connsiteY15" fmla="*/ 4810 h 9748"/>
                <a:gd name="connsiteX16" fmla="*/ 4683 w 10000"/>
                <a:gd name="connsiteY16" fmla="*/ 4979 h 9748"/>
                <a:gd name="connsiteX17" fmla="*/ 4401 w 10000"/>
                <a:gd name="connsiteY17" fmla="*/ 4979 h 9748"/>
                <a:gd name="connsiteX18" fmla="*/ 4190 w 10000"/>
                <a:gd name="connsiteY18" fmla="*/ 4895 h 9748"/>
                <a:gd name="connsiteX19" fmla="*/ 3662 w 10000"/>
                <a:gd name="connsiteY19" fmla="*/ 4979 h 9748"/>
                <a:gd name="connsiteX20" fmla="*/ 3451 w 10000"/>
                <a:gd name="connsiteY20" fmla="*/ 5653 h 9748"/>
                <a:gd name="connsiteX21" fmla="*/ 3240 w 10000"/>
                <a:gd name="connsiteY21" fmla="*/ 5739 h 9748"/>
                <a:gd name="connsiteX22" fmla="*/ 2923 w 10000"/>
                <a:gd name="connsiteY22" fmla="*/ 6836 h 9748"/>
                <a:gd name="connsiteX23" fmla="*/ 2042 w 10000"/>
                <a:gd name="connsiteY23" fmla="*/ 7766 h 9748"/>
                <a:gd name="connsiteX24" fmla="*/ 1796 w 10000"/>
                <a:gd name="connsiteY24" fmla="*/ 8988 h 9748"/>
                <a:gd name="connsiteX25" fmla="*/ 1514 w 10000"/>
                <a:gd name="connsiteY25" fmla="*/ 9370 h 9748"/>
                <a:gd name="connsiteX26" fmla="*/ 1444 w 10000"/>
                <a:gd name="connsiteY26" fmla="*/ 9706 h 9748"/>
                <a:gd name="connsiteX27" fmla="*/ 0 w 10000"/>
                <a:gd name="connsiteY27" fmla="*/ 9748 h 9748"/>
                <a:gd name="connsiteX28" fmla="*/ 0 w 10000"/>
                <a:gd name="connsiteY28" fmla="*/ 9748 h 9748"/>
                <a:gd name="connsiteX29" fmla="*/ 35 w 10000"/>
                <a:gd name="connsiteY29" fmla="*/ 9370 h 9748"/>
                <a:gd name="connsiteX30" fmla="*/ 282 w 10000"/>
                <a:gd name="connsiteY30" fmla="*/ 9115 h 9748"/>
                <a:gd name="connsiteX31" fmla="*/ 493 w 10000"/>
                <a:gd name="connsiteY31" fmla="*/ 8650 h 9748"/>
                <a:gd name="connsiteX32" fmla="*/ 458 w 10000"/>
                <a:gd name="connsiteY32" fmla="*/ 8356 h 9748"/>
                <a:gd name="connsiteX33" fmla="*/ 704 w 10000"/>
                <a:gd name="connsiteY33" fmla="*/ 7722 h 9748"/>
                <a:gd name="connsiteX34" fmla="*/ 1056 w 10000"/>
                <a:gd name="connsiteY34" fmla="*/ 7173 h 9748"/>
                <a:gd name="connsiteX35" fmla="*/ 1303 w 10000"/>
                <a:gd name="connsiteY35" fmla="*/ 7047 h 9748"/>
                <a:gd name="connsiteX36" fmla="*/ 1479 w 10000"/>
                <a:gd name="connsiteY36" fmla="*/ 6541 h 9748"/>
                <a:gd name="connsiteX37" fmla="*/ 1479 w 10000"/>
                <a:gd name="connsiteY37" fmla="*/ 6077 h 9748"/>
                <a:gd name="connsiteX38" fmla="*/ 1725 w 10000"/>
                <a:gd name="connsiteY38" fmla="*/ 5529 h 9748"/>
                <a:gd name="connsiteX39" fmla="*/ 2148 w 10000"/>
                <a:gd name="connsiteY39" fmla="*/ 5193 h 9748"/>
                <a:gd name="connsiteX40" fmla="*/ 2571 w 10000"/>
                <a:gd name="connsiteY40" fmla="*/ 4304 h 9748"/>
                <a:gd name="connsiteX41" fmla="*/ 2605 w 10000"/>
                <a:gd name="connsiteY41" fmla="*/ 4304 h 9748"/>
                <a:gd name="connsiteX42" fmla="*/ 2923 w 10000"/>
                <a:gd name="connsiteY42" fmla="*/ 3968 h 9748"/>
                <a:gd name="connsiteX43" fmla="*/ 3486 w 10000"/>
                <a:gd name="connsiteY43" fmla="*/ 3883 h 9748"/>
                <a:gd name="connsiteX44" fmla="*/ 4014 w 10000"/>
                <a:gd name="connsiteY44" fmla="*/ 3291 h 9748"/>
                <a:gd name="connsiteX45" fmla="*/ 4331 w 10000"/>
                <a:gd name="connsiteY45" fmla="*/ 3039 h 9748"/>
                <a:gd name="connsiteX46" fmla="*/ 4859 w 10000"/>
                <a:gd name="connsiteY46" fmla="*/ 2321 h 9748"/>
                <a:gd name="connsiteX47" fmla="*/ 4719 w 10000"/>
                <a:gd name="connsiteY47" fmla="*/ 1225 h 9748"/>
                <a:gd name="connsiteX48" fmla="*/ 4965 w 10000"/>
                <a:gd name="connsiteY48" fmla="*/ 464 h 9748"/>
                <a:gd name="connsiteX49" fmla="*/ 5070 w 10000"/>
                <a:gd name="connsiteY49" fmla="*/ 0 h 9748"/>
                <a:gd name="connsiteX0" fmla="*/ 5070 w 9191"/>
                <a:gd name="connsiteY0" fmla="*/ 0 h 10000"/>
                <a:gd name="connsiteX1" fmla="*/ 9191 w 9191"/>
                <a:gd name="connsiteY1" fmla="*/ 434 h 10000"/>
                <a:gd name="connsiteX2" fmla="*/ 8909 w 9191"/>
                <a:gd name="connsiteY2" fmla="*/ 779 h 10000"/>
                <a:gd name="connsiteX3" fmla="*/ 8521 w 9191"/>
                <a:gd name="connsiteY3" fmla="*/ 823 h 10000"/>
                <a:gd name="connsiteX4" fmla="*/ 8521 w 9191"/>
                <a:gd name="connsiteY4" fmla="*/ 1516 h 10000"/>
                <a:gd name="connsiteX5" fmla="*/ 7782 w 9191"/>
                <a:gd name="connsiteY5" fmla="*/ 1863 h 10000"/>
                <a:gd name="connsiteX6" fmla="*/ 7535 w 9191"/>
                <a:gd name="connsiteY6" fmla="*/ 2295 h 10000"/>
                <a:gd name="connsiteX7" fmla="*/ 7043 w 9191"/>
                <a:gd name="connsiteY7" fmla="*/ 2554 h 10000"/>
                <a:gd name="connsiteX8" fmla="*/ 6408 w 9191"/>
                <a:gd name="connsiteY8" fmla="*/ 2684 h 10000"/>
                <a:gd name="connsiteX9" fmla="*/ 5388 w 9191"/>
                <a:gd name="connsiteY9" fmla="*/ 3335 h 10000"/>
                <a:gd name="connsiteX10" fmla="*/ 5388 w 9191"/>
                <a:gd name="connsiteY10" fmla="*/ 4415 h 10000"/>
                <a:gd name="connsiteX11" fmla="*/ 5281 w 9191"/>
                <a:gd name="connsiteY11" fmla="*/ 4415 h 10000"/>
                <a:gd name="connsiteX12" fmla="*/ 5281 w 9191"/>
                <a:gd name="connsiteY12" fmla="*/ 4415 h 10000"/>
                <a:gd name="connsiteX13" fmla="*/ 5281 w 9191"/>
                <a:gd name="connsiteY13" fmla="*/ 4892 h 10000"/>
                <a:gd name="connsiteX14" fmla="*/ 4894 w 9191"/>
                <a:gd name="connsiteY14" fmla="*/ 4934 h 10000"/>
                <a:gd name="connsiteX15" fmla="*/ 4683 w 9191"/>
                <a:gd name="connsiteY15" fmla="*/ 5108 h 10000"/>
                <a:gd name="connsiteX16" fmla="*/ 4401 w 9191"/>
                <a:gd name="connsiteY16" fmla="*/ 5108 h 10000"/>
                <a:gd name="connsiteX17" fmla="*/ 4190 w 9191"/>
                <a:gd name="connsiteY17" fmla="*/ 5022 h 10000"/>
                <a:gd name="connsiteX18" fmla="*/ 3662 w 9191"/>
                <a:gd name="connsiteY18" fmla="*/ 5108 h 10000"/>
                <a:gd name="connsiteX19" fmla="*/ 3451 w 9191"/>
                <a:gd name="connsiteY19" fmla="*/ 5799 h 10000"/>
                <a:gd name="connsiteX20" fmla="*/ 3240 w 9191"/>
                <a:gd name="connsiteY20" fmla="*/ 5887 h 10000"/>
                <a:gd name="connsiteX21" fmla="*/ 2923 w 9191"/>
                <a:gd name="connsiteY21" fmla="*/ 7013 h 10000"/>
                <a:gd name="connsiteX22" fmla="*/ 2042 w 9191"/>
                <a:gd name="connsiteY22" fmla="*/ 7967 h 10000"/>
                <a:gd name="connsiteX23" fmla="*/ 1796 w 9191"/>
                <a:gd name="connsiteY23" fmla="*/ 9220 h 10000"/>
                <a:gd name="connsiteX24" fmla="*/ 1514 w 9191"/>
                <a:gd name="connsiteY24" fmla="*/ 9612 h 10000"/>
                <a:gd name="connsiteX25" fmla="*/ 1444 w 9191"/>
                <a:gd name="connsiteY25" fmla="*/ 9957 h 10000"/>
                <a:gd name="connsiteX26" fmla="*/ 0 w 9191"/>
                <a:gd name="connsiteY26" fmla="*/ 10000 h 10000"/>
                <a:gd name="connsiteX27" fmla="*/ 0 w 9191"/>
                <a:gd name="connsiteY27" fmla="*/ 10000 h 10000"/>
                <a:gd name="connsiteX28" fmla="*/ 35 w 9191"/>
                <a:gd name="connsiteY28" fmla="*/ 9612 h 10000"/>
                <a:gd name="connsiteX29" fmla="*/ 282 w 9191"/>
                <a:gd name="connsiteY29" fmla="*/ 9351 h 10000"/>
                <a:gd name="connsiteX30" fmla="*/ 493 w 9191"/>
                <a:gd name="connsiteY30" fmla="*/ 8874 h 10000"/>
                <a:gd name="connsiteX31" fmla="*/ 458 w 9191"/>
                <a:gd name="connsiteY31" fmla="*/ 8572 h 10000"/>
                <a:gd name="connsiteX32" fmla="*/ 704 w 9191"/>
                <a:gd name="connsiteY32" fmla="*/ 7922 h 10000"/>
                <a:gd name="connsiteX33" fmla="*/ 1056 w 9191"/>
                <a:gd name="connsiteY33" fmla="*/ 7358 h 10000"/>
                <a:gd name="connsiteX34" fmla="*/ 1303 w 9191"/>
                <a:gd name="connsiteY34" fmla="*/ 7229 h 10000"/>
                <a:gd name="connsiteX35" fmla="*/ 1479 w 9191"/>
                <a:gd name="connsiteY35" fmla="*/ 6710 h 10000"/>
                <a:gd name="connsiteX36" fmla="*/ 1479 w 9191"/>
                <a:gd name="connsiteY36" fmla="*/ 6234 h 10000"/>
                <a:gd name="connsiteX37" fmla="*/ 1725 w 9191"/>
                <a:gd name="connsiteY37" fmla="*/ 5672 h 10000"/>
                <a:gd name="connsiteX38" fmla="*/ 2148 w 9191"/>
                <a:gd name="connsiteY38" fmla="*/ 5327 h 10000"/>
                <a:gd name="connsiteX39" fmla="*/ 2571 w 9191"/>
                <a:gd name="connsiteY39" fmla="*/ 4415 h 10000"/>
                <a:gd name="connsiteX40" fmla="*/ 2605 w 9191"/>
                <a:gd name="connsiteY40" fmla="*/ 4415 h 10000"/>
                <a:gd name="connsiteX41" fmla="*/ 2923 w 9191"/>
                <a:gd name="connsiteY41" fmla="*/ 4071 h 10000"/>
                <a:gd name="connsiteX42" fmla="*/ 3486 w 9191"/>
                <a:gd name="connsiteY42" fmla="*/ 3983 h 10000"/>
                <a:gd name="connsiteX43" fmla="*/ 4014 w 9191"/>
                <a:gd name="connsiteY43" fmla="*/ 3376 h 10000"/>
                <a:gd name="connsiteX44" fmla="*/ 4331 w 9191"/>
                <a:gd name="connsiteY44" fmla="*/ 3118 h 10000"/>
                <a:gd name="connsiteX45" fmla="*/ 4859 w 9191"/>
                <a:gd name="connsiteY45" fmla="*/ 2381 h 10000"/>
                <a:gd name="connsiteX46" fmla="*/ 4719 w 9191"/>
                <a:gd name="connsiteY46" fmla="*/ 1257 h 10000"/>
                <a:gd name="connsiteX47" fmla="*/ 4965 w 9191"/>
                <a:gd name="connsiteY47" fmla="*/ 476 h 10000"/>
                <a:gd name="connsiteX48" fmla="*/ 5070 w 9191"/>
                <a:gd name="connsiteY48" fmla="*/ 0 h 10000"/>
                <a:gd name="connsiteX0" fmla="*/ 5516 w 9693"/>
                <a:gd name="connsiteY0" fmla="*/ 0 h 10000"/>
                <a:gd name="connsiteX1" fmla="*/ 9693 w 9693"/>
                <a:gd name="connsiteY1" fmla="*/ 779 h 10000"/>
                <a:gd name="connsiteX2" fmla="*/ 9271 w 9693"/>
                <a:gd name="connsiteY2" fmla="*/ 823 h 10000"/>
                <a:gd name="connsiteX3" fmla="*/ 9271 w 9693"/>
                <a:gd name="connsiteY3" fmla="*/ 1516 h 10000"/>
                <a:gd name="connsiteX4" fmla="*/ 8467 w 9693"/>
                <a:gd name="connsiteY4" fmla="*/ 1863 h 10000"/>
                <a:gd name="connsiteX5" fmla="*/ 8198 w 9693"/>
                <a:gd name="connsiteY5" fmla="*/ 2295 h 10000"/>
                <a:gd name="connsiteX6" fmla="*/ 7663 w 9693"/>
                <a:gd name="connsiteY6" fmla="*/ 2554 h 10000"/>
                <a:gd name="connsiteX7" fmla="*/ 6972 w 9693"/>
                <a:gd name="connsiteY7" fmla="*/ 2684 h 10000"/>
                <a:gd name="connsiteX8" fmla="*/ 5862 w 9693"/>
                <a:gd name="connsiteY8" fmla="*/ 3335 h 10000"/>
                <a:gd name="connsiteX9" fmla="*/ 5862 w 9693"/>
                <a:gd name="connsiteY9" fmla="*/ 4415 h 10000"/>
                <a:gd name="connsiteX10" fmla="*/ 5746 w 9693"/>
                <a:gd name="connsiteY10" fmla="*/ 4415 h 10000"/>
                <a:gd name="connsiteX11" fmla="*/ 5746 w 9693"/>
                <a:gd name="connsiteY11" fmla="*/ 4415 h 10000"/>
                <a:gd name="connsiteX12" fmla="*/ 5746 w 9693"/>
                <a:gd name="connsiteY12" fmla="*/ 4892 h 10000"/>
                <a:gd name="connsiteX13" fmla="*/ 5325 w 9693"/>
                <a:gd name="connsiteY13" fmla="*/ 4934 h 10000"/>
                <a:gd name="connsiteX14" fmla="*/ 5095 w 9693"/>
                <a:gd name="connsiteY14" fmla="*/ 5108 h 10000"/>
                <a:gd name="connsiteX15" fmla="*/ 4788 w 9693"/>
                <a:gd name="connsiteY15" fmla="*/ 5108 h 10000"/>
                <a:gd name="connsiteX16" fmla="*/ 4559 w 9693"/>
                <a:gd name="connsiteY16" fmla="*/ 5022 h 10000"/>
                <a:gd name="connsiteX17" fmla="*/ 3984 w 9693"/>
                <a:gd name="connsiteY17" fmla="*/ 5108 h 10000"/>
                <a:gd name="connsiteX18" fmla="*/ 3755 w 9693"/>
                <a:gd name="connsiteY18" fmla="*/ 5799 h 10000"/>
                <a:gd name="connsiteX19" fmla="*/ 3525 w 9693"/>
                <a:gd name="connsiteY19" fmla="*/ 5887 h 10000"/>
                <a:gd name="connsiteX20" fmla="*/ 3180 w 9693"/>
                <a:gd name="connsiteY20" fmla="*/ 7013 h 10000"/>
                <a:gd name="connsiteX21" fmla="*/ 2222 w 9693"/>
                <a:gd name="connsiteY21" fmla="*/ 7967 h 10000"/>
                <a:gd name="connsiteX22" fmla="*/ 1954 w 9693"/>
                <a:gd name="connsiteY22" fmla="*/ 9220 h 10000"/>
                <a:gd name="connsiteX23" fmla="*/ 1647 w 9693"/>
                <a:gd name="connsiteY23" fmla="*/ 9612 h 10000"/>
                <a:gd name="connsiteX24" fmla="*/ 1571 w 9693"/>
                <a:gd name="connsiteY24" fmla="*/ 9957 h 10000"/>
                <a:gd name="connsiteX25" fmla="*/ 0 w 9693"/>
                <a:gd name="connsiteY25" fmla="*/ 10000 h 10000"/>
                <a:gd name="connsiteX26" fmla="*/ 0 w 9693"/>
                <a:gd name="connsiteY26" fmla="*/ 10000 h 10000"/>
                <a:gd name="connsiteX27" fmla="*/ 38 w 9693"/>
                <a:gd name="connsiteY27" fmla="*/ 9612 h 10000"/>
                <a:gd name="connsiteX28" fmla="*/ 307 w 9693"/>
                <a:gd name="connsiteY28" fmla="*/ 9351 h 10000"/>
                <a:gd name="connsiteX29" fmla="*/ 536 w 9693"/>
                <a:gd name="connsiteY29" fmla="*/ 8874 h 10000"/>
                <a:gd name="connsiteX30" fmla="*/ 498 w 9693"/>
                <a:gd name="connsiteY30" fmla="*/ 8572 h 10000"/>
                <a:gd name="connsiteX31" fmla="*/ 766 w 9693"/>
                <a:gd name="connsiteY31" fmla="*/ 7922 h 10000"/>
                <a:gd name="connsiteX32" fmla="*/ 1149 w 9693"/>
                <a:gd name="connsiteY32" fmla="*/ 7358 h 10000"/>
                <a:gd name="connsiteX33" fmla="*/ 1418 w 9693"/>
                <a:gd name="connsiteY33" fmla="*/ 7229 h 10000"/>
                <a:gd name="connsiteX34" fmla="*/ 1609 w 9693"/>
                <a:gd name="connsiteY34" fmla="*/ 6710 h 10000"/>
                <a:gd name="connsiteX35" fmla="*/ 1609 w 9693"/>
                <a:gd name="connsiteY35" fmla="*/ 6234 h 10000"/>
                <a:gd name="connsiteX36" fmla="*/ 1877 w 9693"/>
                <a:gd name="connsiteY36" fmla="*/ 5672 h 10000"/>
                <a:gd name="connsiteX37" fmla="*/ 2337 w 9693"/>
                <a:gd name="connsiteY37" fmla="*/ 5327 h 10000"/>
                <a:gd name="connsiteX38" fmla="*/ 2797 w 9693"/>
                <a:gd name="connsiteY38" fmla="*/ 4415 h 10000"/>
                <a:gd name="connsiteX39" fmla="*/ 2834 w 9693"/>
                <a:gd name="connsiteY39" fmla="*/ 4415 h 10000"/>
                <a:gd name="connsiteX40" fmla="*/ 3180 w 9693"/>
                <a:gd name="connsiteY40" fmla="*/ 4071 h 10000"/>
                <a:gd name="connsiteX41" fmla="*/ 3793 w 9693"/>
                <a:gd name="connsiteY41" fmla="*/ 3983 h 10000"/>
                <a:gd name="connsiteX42" fmla="*/ 4367 w 9693"/>
                <a:gd name="connsiteY42" fmla="*/ 3376 h 10000"/>
                <a:gd name="connsiteX43" fmla="*/ 4712 w 9693"/>
                <a:gd name="connsiteY43" fmla="*/ 3118 h 10000"/>
                <a:gd name="connsiteX44" fmla="*/ 5287 w 9693"/>
                <a:gd name="connsiteY44" fmla="*/ 2381 h 10000"/>
                <a:gd name="connsiteX45" fmla="*/ 5134 w 9693"/>
                <a:gd name="connsiteY45" fmla="*/ 1257 h 10000"/>
                <a:gd name="connsiteX46" fmla="*/ 5402 w 9693"/>
                <a:gd name="connsiteY46" fmla="*/ 476 h 10000"/>
                <a:gd name="connsiteX47" fmla="*/ 5516 w 9693"/>
                <a:gd name="connsiteY47" fmla="*/ 0 h 10000"/>
                <a:gd name="connsiteX0" fmla="*/ 5573 w 10000"/>
                <a:gd name="connsiteY0" fmla="*/ 13 h 9537"/>
                <a:gd name="connsiteX1" fmla="*/ 10000 w 10000"/>
                <a:gd name="connsiteY1" fmla="*/ 316 h 9537"/>
                <a:gd name="connsiteX2" fmla="*/ 9565 w 10000"/>
                <a:gd name="connsiteY2" fmla="*/ 360 h 9537"/>
                <a:gd name="connsiteX3" fmla="*/ 9565 w 10000"/>
                <a:gd name="connsiteY3" fmla="*/ 1053 h 9537"/>
                <a:gd name="connsiteX4" fmla="*/ 8735 w 10000"/>
                <a:gd name="connsiteY4" fmla="*/ 1400 h 9537"/>
                <a:gd name="connsiteX5" fmla="*/ 8458 w 10000"/>
                <a:gd name="connsiteY5" fmla="*/ 1832 h 9537"/>
                <a:gd name="connsiteX6" fmla="*/ 7906 w 10000"/>
                <a:gd name="connsiteY6" fmla="*/ 2091 h 9537"/>
                <a:gd name="connsiteX7" fmla="*/ 7193 w 10000"/>
                <a:gd name="connsiteY7" fmla="*/ 2221 h 9537"/>
                <a:gd name="connsiteX8" fmla="*/ 6048 w 10000"/>
                <a:gd name="connsiteY8" fmla="*/ 2872 h 9537"/>
                <a:gd name="connsiteX9" fmla="*/ 6048 w 10000"/>
                <a:gd name="connsiteY9" fmla="*/ 3952 h 9537"/>
                <a:gd name="connsiteX10" fmla="*/ 5928 w 10000"/>
                <a:gd name="connsiteY10" fmla="*/ 3952 h 9537"/>
                <a:gd name="connsiteX11" fmla="*/ 5928 w 10000"/>
                <a:gd name="connsiteY11" fmla="*/ 3952 h 9537"/>
                <a:gd name="connsiteX12" fmla="*/ 5928 w 10000"/>
                <a:gd name="connsiteY12" fmla="*/ 4429 h 9537"/>
                <a:gd name="connsiteX13" fmla="*/ 5494 w 10000"/>
                <a:gd name="connsiteY13" fmla="*/ 4471 h 9537"/>
                <a:gd name="connsiteX14" fmla="*/ 5256 w 10000"/>
                <a:gd name="connsiteY14" fmla="*/ 4645 h 9537"/>
                <a:gd name="connsiteX15" fmla="*/ 4940 w 10000"/>
                <a:gd name="connsiteY15" fmla="*/ 4645 h 9537"/>
                <a:gd name="connsiteX16" fmla="*/ 4703 w 10000"/>
                <a:gd name="connsiteY16" fmla="*/ 4559 h 9537"/>
                <a:gd name="connsiteX17" fmla="*/ 4110 w 10000"/>
                <a:gd name="connsiteY17" fmla="*/ 4645 h 9537"/>
                <a:gd name="connsiteX18" fmla="*/ 3874 w 10000"/>
                <a:gd name="connsiteY18" fmla="*/ 5336 h 9537"/>
                <a:gd name="connsiteX19" fmla="*/ 3637 w 10000"/>
                <a:gd name="connsiteY19" fmla="*/ 5424 h 9537"/>
                <a:gd name="connsiteX20" fmla="*/ 3281 w 10000"/>
                <a:gd name="connsiteY20" fmla="*/ 6550 h 9537"/>
                <a:gd name="connsiteX21" fmla="*/ 2292 w 10000"/>
                <a:gd name="connsiteY21" fmla="*/ 7504 h 9537"/>
                <a:gd name="connsiteX22" fmla="*/ 2016 w 10000"/>
                <a:gd name="connsiteY22" fmla="*/ 8757 h 9537"/>
                <a:gd name="connsiteX23" fmla="*/ 1699 w 10000"/>
                <a:gd name="connsiteY23" fmla="*/ 9149 h 9537"/>
                <a:gd name="connsiteX24" fmla="*/ 1621 w 10000"/>
                <a:gd name="connsiteY24" fmla="*/ 9494 h 9537"/>
                <a:gd name="connsiteX25" fmla="*/ 0 w 10000"/>
                <a:gd name="connsiteY25" fmla="*/ 9537 h 9537"/>
                <a:gd name="connsiteX26" fmla="*/ 0 w 10000"/>
                <a:gd name="connsiteY26" fmla="*/ 9537 h 9537"/>
                <a:gd name="connsiteX27" fmla="*/ 39 w 10000"/>
                <a:gd name="connsiteY27" fmla="*/ 9149 h 9537"/>
                <a:gd name="connsiteX28" fmla="*/ 317 w 10000"/>
                <a:gd name="connsiteY28" fmla="*/ 8888 h 9537"/>
                <a:gd name="connsiteX29" fmla="*/ 553 w 10000"/>
                <a:gd name="connsiteY29" fmla="*/ 8411 h 9537"/>
                <a:gd name="connsiteX30" fmla="*/ 514 w 10000"/>
                <a:gd name="connsiteY30" fmla="*/ 8109 h 9537"/>
                <a:gd name="connsiteX31" fmla="*/ 790 w 10000"/>
                <a:gd name="connsiteY31" fmla="*/ 7459 h 9537"/>
                <a:gd name="connsiteX32" fmla="*/ 1185 w 10000"/>
                <a:gd name="connsiteY32" fmla="*/ 6895 h 9537"/>
                <a:gd name="connsiteX33" fmla="*/ 1463 w 10000"/>
                <a:gd name="connsiteY33" fmla="*/ 6766 h 9537"/>
                <a:gd name="connsiteX34" fmla="*/ 1660 w 10000"/>
                <a:gd name="connsiteY34" fmla="*/ 6247 h 9537"/>
                <a:gd name="connsiteX35" fmla="*/ 1660 w 10000"/>
                <a:gd name="connsiteY35" fmla="*/ 5771 h 9537"/>
                <a:gd name="connsiteX36" fmla="*/ 1936 w 10000"/>
                <a:gd name="connsiteY36" fmla="*/ 5209 h 9537"/>
                <a:gd name="connsiteX37" fmla="*/ 2411 w 10000"/>
                <a:gd name="connsiteY37" fmla="*/ 4864 h 9537"/>
                <a:gd name="connsiteX38" fmla="*/ 2886 w 10000"/>
                <a:gd name="connsiteY38" fmla="*/ 3952 h 9537"/>
                <a:gd name="connsiteX39" fmla="*/ 2924 w 10000"/>
                <a:gd name="connsiteY39" fmla="*/ 3952 h 9537"/>
                <a:gd name="connsiteX40" fmla="*/ 3281 w 10000"/>
                <a:gd name="connsiteY40" fmla="*/ 3608 h 9537"/>
                <a:gd name="connsiteX41" fmla="*/ 3913 w 10000"/>
                <a:gd name="connsiteY41" fmla="*/ 3520 h 9537"/>
                <a:gd name="connsiteX42" fmla="*/ 4505 w 10000"/>
                <a:gd name="connsiteY42" fmla="*/ 2913 h 9537"/>
                <a:gd name="connsiteX43" fmla="*/ 4861 w 10000"/>
                <a:gd name="connsiteY43" fmla="*/ 2655 h 9537"/>
                <a:gd name="connsiteX44" fmla="*/ 5454 w 10000"/>
                <a:gd name="connsiteY44" fmla="*/ 1918 h 9537"/>
                <a:gd name="connsiteX45" fmla="*/ 5297 w 10000"/>
                <a:gd name="connsiteY45" fmla="*/ 794 h 9537"/>
                <a:gd name="connsiteX46" fmla="*/ 5573 w 10000"/>
                <a:gd name="connsiteY46" fmla="*/ 13 h 9537"/>
                <a:gd name="connsiteX0" fmla="*/ 5297 w 10000"/>
                <a:gd name="connsiteY0" fmla="*/ 502 h 9669"/>
                <a:gd name="connsiteX1" fmla="*/ 10000 w 10000"/>
                <a:gd name="connsiteY1" fmla="*/ 0 h 9669"/>
                <a:gd name="connsiteX2" fmla="*/ 9565 w 10000"/>
                <a:gd name="connsiteY2" fmla="*/ 46 h 9669"/>
                <a:gd name="connsiteX3" fmla="*/ 9565 w 10000"/>
                <a:gd name="connsiteY3" fmla="*/ 773 h 9669"/>
                <a:gd name="connsiteX4" fmla="*/ 8735 w 10000"/>
                <a:gd name="connsiteY4" fmla="*/ 1137 h 9669"/>
                <a:gd name="connsiteX5" fmla="*/ 8458 w 10000"/>
                <a:gd name="connsiteY5" fmla="*/ 1590 h 9669"/>
                <a:gd name="connsiteX6" fmla="*/ 7906 w 10000"/>
                <a:gd name="connsiteY6" fmla="*/ 1862 h 9669"/>
                <a:gd name="connsiteX7" fmla="*/ 7193 w 10000"/>
                <a:gd name="connsiteY7" fmla="*/ 1998 h 9669"/>
                <a:gd name="connsiteX8" fmla="*/ 6048 w 10000"/>
                <a:gd name="connsiteY8" fmla="*/ 2680 h 9669"/>
                <a:gd name="connsiteX9" fmla="*/ 6048 w 10000"/>
                <a:gd name="connsiteY9" fmla="*/ 3813 h 9669"/>
                <a:gd name="connsiteX10" fmla="*/ 5928 w 10000"/>
                <a:gd name="connsiteY10" fmla="*/ 3813 h 9669"/>
                <a:gd name="connsiteX11" fmla="*/ 5928 w 10000"/>
                <a:gd name="connsiteY11" fmla="*/ 3813 h 9669"/>
                <a:gd name="connsiteX12" fmla="*/ 5928 w 10000"/>
                <a:gd name="connsiteY12" fmla="*/ 4313 h 9669"/>
                <a:gd name="connsiteX13" fmla="*/ 5494 w 10000"/>
                <a:gd name="connsiteY13" fmla="*/ 4357 h 9669"/>
                <a:gd name="connsiteX14" fmla="*/ 5256 w 10000"/>
                <a:gd name="connsiteY14" fmla="*/ 4540 h 9669"/>
                <a:gd name="connsiteX15" fmla="*/ 4940 w 10000"/>
                <a:gd name="connsiteY15" fmla="*/ 4540 h 9669"/>
                <a:gd name="connsiteX16" fmla="*/ 4703 w 10000"/>
                <a:gd name="connsiteY16" fmla="*/ 4449 h 9669"/>
                <a:gd name="connsiteX17" fmla="*/ 4110 w 10000"/>
                <a:gd name="connsiteY17" fmla="*/ 4540 h 9669"/>
                <a:gd name="connsiteX18" fmla="*/ 3874 w 10000"/>
                <a:gd name="connsiteY18" fmla="*/ 5264 h 9669"/>
                <a:gd name="connsiteX19" fmla="*/ 3637 w 10000"/>
                <a:gd name="connsiteY19" fmla="*/ 5356 h 9669"/>
                <a:gd name="connsiteX20" fmla="*/ 3281 w 10000"/>
                <a:gd name="connsiteY20" fmla="*/ 6537 h 9669"/>
                <a:gd name="connsiteX21" fmla="*/ 2292 w 10000"/>
                <a:gd name="connsiteY21" fmla="*/ 7537 h 9669"/>
                <a:gd name="connsiteX22" fmla="*/ 2016 w 10000"/>
                <a:gd name="connsiteY22" fmla="*/ 8851 h 9669"/>
                <a:gd name="connsiteX23" fmla="*/ 1699 w 10000"/>
                <a:gd name="connsiteY23" fmla="*/ 9262 h 9669"/>
                <a:gd name="connsiteX24" fmla="*/ 1621 w 10000"/>
                <a:gd name="connsiteY24" fmla="*/ 9624 h 9669"/>
                <a:gd name="connsiteX25" fmla="*/ 0 w 10000"/>
                <a:gd name="connsiteY25" fmla="*/ 9669 h 9669"/>
                <a:gd name="connsiteX26" fmla="*/ 0 w 10000"/>
                <a:gd name="connsiteY26" fmla="*/ 9669 h 9669"/>
                <a:gd name="connsiteX27" fmla="*/ 39 w 10000"/>
                <a:gd name="connsiteY27" fmla="*/ 9262 h 9669"/>
                <a:gd name="connsiteX28" fmla="*/ 317 w 10000"/>
                <a:gd name="connsiteY28" fmla="*/ 8988 h 9669"/>
                <a:gd name="connsiteX29" fmla="*/ 553 w 10000"/>
                <a:gd name="connsiteY29" fmla="*/ 8488 h 9669"/>
                <a:gd name="connsiteX30" fmla="*/ 514 w 10000"/>
                <a:gd name="connsiteY30" fmla="*/ 8172 h 9669"/>
                <a:gd name="connsiteX31" fmla="*/ 790 w 10000"/>
                <a:gd name="connsiteY31" fmla="*/ 7490 h 9669"/>
                <a:gd name="connsiteX32" fmla="*/ 1185 w 10000"/>
                <a:gd name="connsiteY32" fmla="*/ 6899 h 9669"/>
                <a:gd name="connsiteX33" fmla="*/ 1463 w 10000"/>
                <a:gd name="connsiteY33" fmla="*/ 6763 h 9669"/>
                <a:gd name="connsiteX34" fmla="*/ 1660 w 10000"/>
                <a:gd name="connsiteY34" fmla="*/ 6219 h 9669"/>
                <a:gd name="connsiteX35" fmla="*/ 1660 w 10000"/>
                <a:gd name="connsiteY35" fmla="*/ 5720 h 9669"/>
                <a:gd name="connsiteX36" fmla="*/ 1936 w 10000"/>
                <a:gd name="connsiteY36" fmla="*/ 5131 h 9669"/>
                <a:gd name="connsiteX37" fmla="*/ 2411 w 10000"/>
                <a:gd name="connsiteY37" fmla="*/ 4769 h 9669"/>
                <a:gd name="connsiteX38" fmla="*/ 2886 w 10000"/>
                <a:gd name="connsiteY38" fmla="*/ 3813 h 9669"/>
                <a:gd name="connsiteX39" fmla="*/ 2924 w 10000"/>
                <a:gd name="connsiteY39" fmla="*/ 3813 h 9669"/>
                <a:gd name="connsiteX40" fmla="*/ 3281 w 10000"/>
                <a:gd name="connsiteY40" fmla="*/ 3452 h 9669"/>
                <a:gd name="connsiteX41" fmla="*/ 3913 w 10000"/>
                <a:gd name="connsiteY41" fmla="*/ 3360 h 9669"/>
                <a:gd name="connsiteX42" fmla="*/ 4505 w 10000"/>
                <a:gd name="connsiteY42" fmla="*/ 2723 h 9669"/>
                <a:gd name="connsiteX43" fmla="*/ 4861 w 10000"/>
                <a:gd name="connsiteY43" fmla="*/ 2453 h 9669"/>
                <a:gd name="connsiteX44" fmla="*/ 5454 w 10000"/>
                <a:gd name="connsiteY44" fmla="*/ 1680 h 9669"/>
                <a:gd name="connsiteX45" fmla="*/ 5297 w 10000"/>
                <a:gd name="connsiteY45" fmla="*/ 502 h 9669"/>
                <a:gd name="connsiteX0" fmla="*/ 5297 w 10000"/>
                <a:gd name="connsiteY0" fmla="*/ 519 h 10000"/>
                <a:gd name="connsiteX1" fmla="*/ 10000 w 10000"/>
                <a:gd name="connsiteY1" fmla="*/ 0 h 10000"/>
                <a:gd name="connsiteX2" fmla="*/ 9565 w 10000"/>
                <a:gd name="connsiteY2" fmla="*/ 799 h 10000"/>
                <a:gd name="connsiteX3" fmla="*/ 8735 w 10000"/>
                <a:gd name="connsiteY3" fmla="*/ 1176 h 10000"/>
                <a:gd name="connsiteX4" fmla="*/ 8458 w 10000"/>
                <a:gd name="connsiteY4" fmla="*/ 1644 h 10000"/>
                <a:gd name="connsiteX5" fmla="*/ 7906 w 10000"/>
                <a:gd name="connsiteY5" fmla="*/ 1926 h 10000"/>
                <a:gd name="connsiteX6" fmla="*/ 7193 w 10000"/>
                <a:gd name="connsiteY6" fmla="*/ 2066 h 10000"/>
                <a:gd name="connsiteX7" fmla="*/ 6048 w 10000"/>
                <a:gd name="connsiteY7" fmla="*/ 2772 h 10000"/>
                <a:gd name="connsiteX8" fmla="*/ 6048 w 10000"/>
                <a:gd name="connsiteY8" fmla="*/ 3944 h 10000"/>
                <a:gd name="connsiteX9" fmla="*/ 5928 w 10000"/>
                <a:gd name="connsiteY9" fmla="*/ 3944 h 10000"/>
                <a:gd name="connsiteX10" fmla="*/ 5928 w 10000"/>
                <a:gd name="connsiteY10" fmla="*/ 3944 h 10000"/>
                <a:gd name="connsiteX11" fmla="*/ 5928 w 10000"/>
                <a:gd name="connsiteY11" fmla="*/ 4461 h 10000"/>
                <a:gd name="connsiteX12" fmla="*/ 5494 w 10000"/>
                <a:gd name="connsiteY12" fmla="*/ 4506 h 10000"/>
                <a:gd name="connsiteX13" fmla="*/ 5256 w 10000"/>
                <a:gd name="connsiteY13" fmla="*/ 4695 h 10000"/>
                <a:gd name="connsiteX14" fmla="*/ 4940 w 10000"/>
                <a:gd name="connsiteY14" fmla="*/ 4695 h 10000"/>
                <a:gd name="connsiteX15" fmla="*/ 4703 w 10000"/>
                <a:gd name="connsiteY15" fmla="*/ 4601 h 10000"/>
                <a:gd name="connsiteX16" fmla="*/ 4110 w 10000"/>
                <a:gd name="connsiteY16" fmla="*/ 4695 h 10000"/>
                <a:gd name="connsiteX17" fmla="*/ 3874 w 10000"/>
                <a:gd name="connsiteY17" fmla="*/ 5444 h 10000"/>
                <a:gd name="connsiteX18" fmla="*/ 3637 w 10000"/>
                <a:gd name="connsiteY18" fmla="*/ 5539 h 10000"/>
                <a:gd name="connsiteX19" fmla="*/ 3281 w 10000"/>
                <a:gd name="connsiteY19" fmla="*/ 6761 h 10000"/>
                <a:gd name="connsiteX20" fmla="*/ 2292 w 10000"/>
                <a:gd name="connsiteY20" fmla="*/ 7795 h 10000"/>
                <a:gd name="connsiteX21" fmla="*/ 2016 w 10000"/>
                <a:gd name="connsiteY21" fmla="*/ 9154 h 10000"/>
                <a:gd name="connsiteX22" fmla="*/ 1699 w 10000"/>
                <a:gd name="connsiteY22" fmla="*/ 9579 h 10000"/>
                <a:gd name="connsiteX23" fmla="*/ 1621 w 10000"/>
                <a:gd name="connsiteY23" fmla="*/ 9953 h 10000"/>
                <a:gd name="connsiteX24" fmla="*/ 0 w 10000"/>
                <a:gd name="connsiteY24" fmla="*/ 10000 h 10000"/>
                <a:gd name="connsiteX25" fmla="*/ 0 w 10000"/>
                <a:gd name="connsiteY25" fmla="*/ 10000 h 10000"/>
                <a:gd name="connsiteX26" fmla="*/ 39 w 10000"/>
                <a:gd name="connsiteY26" fmla="*/ 9579 h 10000"/>
                <a:gd name="connsiteX27" fmla="*/ 317 w 10000"/>
                <a:gd name="connsiteY27" fmla="*/ 9296 h 10000"/>
                <a:gd name="connsiteX28" fmla="*/ 553 w 10000"/>
                <a:gd name="connsiteY28" fmla="*/ 8779 h 10000"/>
                <a:gd name="connsiteX29" fmla="*/ 514 w 10000"/>
                <a:gd name="connsiteY29" fmla="*/ 8452 h 10000"/>
                <a:gd name="connsiteX30" fmla="*/ 790 w 10000"/>
                <a:gd name="connsiteY30" fmla="*/ 7746 h 10000"/>
                <a:gd name="connsiteX31" fmla="*/ 1185 w 10000"/>
                <a:gd name="connsiteY31" fmla="*/ 7135 h 10000"/>
                <a:gd name="connsiteX32" fmla="*/ 1463 w 10000"/>
                <a:gd name="connsiteY32" fmla="*/ 6995 h 10000"/>
                <a:gd name="connsiteX33" fmla="*/ 1660 w 10000"/>
                <a:gd name="connsiteY33" fmla="*/ 6432 h 10000"/>
                <a:gd name="connsiteX34" fmla="*/ 1660 w 10000"/>
                <a:gd name="connsiteY34" fmla="*/ 5916 h 10000"/>
                <a:gd name="connsiteX35" fmla="*/ 1936 w 10000"/>
                <a:gd name="connsiteY35" fmla="*/ 5307 h 10000"/>
                <a:gd name="connsiteX36" fmla="*/ 2411 w 10000"/>
                <a:gd name="connsiteY36" fmla="*/ 4932 h 10000"/>
                <a:gd name="connsiteX37" fmla="*/ 2886 w 10000"/>
                <a:gd name="connsiteY37" fmla="*/ 3944 h 10000"/>
                <a:gd name="connsiteX38" fmla="*/ 2924 w 10000"/>
                <a:gd name="connsiteY38" fmla="*/ 3944 h 10000"/>
                <a:gd name="connsiteX39" fmla="*/ 3281 w 10000"/>
                <a:gd name="connsiteY39" fmla="*/ 3570 h 10000"/>
                <a:gd name="connsiteX40" fmla="*/ 3913 w 10000"/>
                <a:gd name="connsiteY40" fmla="*/ 3475 h 10000"/>
                <a:gd name="connsiteX41" fmla="*/ 4505 w 10000"/>
                <a:gd name="connsiteY41" fmla="*/ 2816 h 10000"/>
                <a:gd name="connsiteX42" fmla="*/ 4861 w 10000"/>
                <a:gd name="connsiteY42" fmla="*/ 2537 h 10000"/>
                <a:gd name="connsiteX43" fmla="*/ 5454 w 10000"/>
                <a:gd name="connsiteY43" fmla="*/ 1738 h 10000"/>
                <a:gd name="connsiteX44" fmla="*/ 5297 w 10000"/>
                <a:gd name="connsiteY44" fmla="*/ 519 h 10000"/>
                <a:gd name="connsiteX0" fmla="*/ 5297 w 9565"/>
                <a:gd name="connsiteY0" fmla="*/ 42 h 9523"/>
                <a:gd name="connsiteX1" fmla="*/ 9565 w 9565"/>
                <a:gd name="connsiteY1" fmla="*/ 322 h 9523"/>
                <a:gd name="connsiteX2" fmla="*/ 8735 w 9565"/>
                <a:gd name="connsiteY2" fmla="*/ 699 h 9523"/>
                <a:gd name="connsiteX3" fmla="*/ 8458 w 9565"/>
                <a:gd name="connsiteY3" fmla="*/ 1167 h 9523"/>
                <a:gd name="connsiteX4" fmla="*/ 7906 w 9565"/>
                <a:gd name="connsiteY4" fmla="*/ 1449 h 9523"/>
                <a:gd name="connsiteX5" fmla="*/ 7193 w 9565"/>
                <a:gd name="connsiteY5" fmla="*/ 1589 h 9523"/>
                <a:gd name="connsiteX6" fmla="*/ 6048 w 9565"/>
                <a:gd name="connsiteY6" fmla="*/ 2295 h 9523"/>
                <a:gd name="connsiteX7" fmla="*/ 6048 w 9565"/>
                <a:gd name="connsiteY7" fmla="*/ 3467 h 9523"/>
                <a:gd name="connsiteX8" fmla="*/ 5928 w 9565"/>
                <a:gd name="connsiteY8" fmla="*/ 3467 h 9523"/>
                <a:gd name="connsiteX9" fmla="*/ 5928 w 9565"/>
                <a:gd name="connsiteY9" fmla="*/ 3467 h 9523"/>
                <a:gd name="connsiteX10" fmla="*/ 5928 w 9565"/>
                <a:gd name="connsiteY10" fmla="*/ 3984 h 9523"/>
                <a:gd name="connsiteX11" fmla="*/ 5494 w 9565"/>
                <a:gd name="connsiteY11" fmla="*/ 4029 h 9523"/>
                <a:gd name="connsiteX12" fmla="*/ 5256 w 9565"/>
                <a:gd name="connsiteY12" fmla="*/ 4218 h 9523"/>
                <a:gd name="connsiteX13" fmla="*/ 4940 w 9565"/>
                <a:gd name="connsiteY13" fmla="*/ 4218 h 9523"/>
                <a:gd name="connsiteX14" fmla="*/ 4703 w 9565"/>
                <a:gd name="connsiteY14" fmla="*/ 4124 h 9523"/>
                <a:gd name="connsiteX15" fmla="*/ 4110 w 9565"/>
                <a:gd name="connsiteY15" fmla="*/ 4218 h 9523"/>
                <a:gd name="connsiteX16" fmla="*/ 3874 w 9565"/>
                <a:gd name="connsiteY16" fmla="*/ 4967 h 9523"/>
                <a:gd name="connsiteX17" fmla="*/ 3637 w 9565"/>
                <a:gd name="connsiteY17" fmla="*/ 5062 h 9523"/>
                <a:gd name="connsiteX18" fmla="*/ 3281 w 9565"/>
                <a:gd name="connsiteY18" fmla="*/ 6284 h 9523"/>
                <a:gd name="connsiteX19" fmla="*/ 2292 w 9565"/>
                <a:gd name="connsiteY19" fmla="*/ 7318 h 9523"/>
                <a:gd name="connsiteX20" fmla="*/ 2016 w 9565"/>
                <a:gd name="connsiteY20" fmla="*/ 8677 h 9523"/>
                <a:gd name="connsiteX21" fmla="*/ 1699 w 9565"/>
                <a:gd name="connsiteY21" fmla="*/ 9102 h 9523"/>
                <a:gd name="connsiteX22" fmla="*/ 1621 w 9565"/>
                <a:gd name="connsiteY22" fmla="*/ 9476 h 9523"/>
                <a:gd name="connsiteX23" fmla="*/ 0 w 9565"/>
                <a:gd name="connsiteY23" fmla="*/ 9523 h 9523"/>
                <a:gd name="connsiteX24" fmla="*/ 0 w 9565"/>
                <a:gd name="connsiteY24" fmla="*/ 9523 h 9523"/>
                <a:gd name="connsiteX25" fmla="*/ 39 w 9565"/>
                <a:gd name="connsiteY25" fmla="*/ 9102 h 9523"/>
                <a:gd name="connsiteX26" fmla="*/ 317 w 9565"/>
                <a:gd name="connsiteY26" fmla="*/ 8819 h 9523"/>
                <a:gd name="connsiteX27" fmla="*/ 553 w 9565"/>
                <a:gd name="connsiteY27" fmla="*/ 8302 h 9523"/>
                <a:gd name="connsiteX28" fmla="*/ 514 w 9565"/>
                <a:gd name="connsiteY28" fmla="*/ 7975 h 9523"/>
                <a:gd name="connsiteX29" fmla="*/ 790 w 9565"/>
                <a:gd name="connsiteY29" fmla="*/ 7269 h 9523"/>
                <a:gd name="connsiteX30" fmla="*/ 1185 w 9565"/>
                <a:gd name="connsiteY30" fmla="*/ 6658 h 9523"/>
                <a:gd name="connsiteX31" fmla="*/ 1463 w 9565"/>
                <a:gd name="connsiteY31" fmla="*/ 6518 h 9523"/>
                <a:gd name="connsiteX32" fmla="*/ 1660 w 9565"/>
                <a:gd name="connsiteY32" fmla="*/ 5955 h 9523"/>
                <a:gd name="connsiteX33" fmla="*/ 1660 w 9565"/>
                <a:gd name="connsiteY33" fmla="*/ 5439 h 9523"/>
                <a:gd name="connsiteX34" fmla="*/ 1936 w 9565"/>
                <a:gd name="connsiteY34" fmla="*/ 4830 h 9523"/>
                <a:gd name="connsiteX35" fmla="*/ 2411 w 9565"/>
                <a:gd name="connsiteY35" fmla="*/ 4455 h 9523"/>
                <a:gd name="connsiteX36" fmla="*/ 2886 w 9565"/>
                <a:gd name="connsiteY36" fmla="*/ 3467 h 9523"/>
                <a:gd name="connsiteX37" fmla="*/ 2924 w 9565"/>
                <a:gd name="connsiteY37" fmla="*/ 3467 h 9523"/>
                <a:gd name="connsiteX38" fmla="*/ 3281 w 9565"/>
                <a:gd name="connsiteY38" fmla="*/ 3093 h 9523"/>
                <a:gd name="connsiteX39" fmla="*/ 3913 w 9565"/>
                <a:gd name="connsiteY39" fmla="*/ 2998 h 9523"/>
                <a:gd name="connsiteX40" fmla="*/ 4505 w 9565"/>
                <a:gd name="connsiteY40" fmla="*/ 2339 h 9523"/>
                <a:gd name="connsiteX41" fmla="*/ 4861 w 9565"/>
                <a:gd name="connsiteY41" fmla="*/ 2060 h 9523"/>
                <a:gd name="connsiteX42" fmla="*/ 5454 w 9565"/>
                <a:gd name="connsiteY42" fmla="*/ 1261 h 9523"/>
                <a:gd name="connsiteX43" fmla="*/ 5297 w 9565"/>
                <a:gd name="connsiteY43" fmla="*/ 42 h 9523"/>
                <a:gd name="connsiteX0" fmla="*/ 5538 w 9132"/>
                <a:gd name="connsiteY0" fmla="*/ 11 h 9967"/>
                <a:gd name="connsiteX1" fmla="*/ 9132 w 9132"/>
                <a:gd name="connsiteY1" fmla="*/ 701 h 9967"/>
                <a:gd name="connsiteX2" fmla="*/ 8843 w 9132"/>
                <a:gd name="connsiteY2" fmla="*/ 1192 h 9967"/>
                <a:gd name="connsiteX3" fmla="*/ 8266 w 9132"/>
                <a:gd name="connsiteY3" fmla="*/ 1489 h 9967"/>
                <a:gd name="connsiteX4" fmla="*/ 7520 w 9132"/>
                <a:gd name="connsiteY4" fmla="*/ 1636 h 9967"/>
                <a:gd name="connsiteX5" fmla="*/ 6323 w 9132"/>
                <a:gd name="connsiteY5" fmla="*/ 2377 h 9967"/>
                <a:gd name="connsiteX6" fmla="*/ 6323 w 9132"/>
                <a:gd name="connsiteY6" fmla="*/ 3608 h 9967"/>
                <a:gd name="connsiteX7" fmla="*/ 6198 w 9132"/>
                <a:gd name="connsiteY7" fmla="*/ 3608 h 9967"/>
                <a:gd name="connsiteX8" fmla="*/ 6198 w 9132"/>
                <a:gd name="connsiteY8" fmla="*/ 3608 h 9967"/>
                <a:gd name="connsiteX9" fmla="*/ 6198 w 9132"/>
                <a:gd name="connsiteY9" fmla="*/ 4151 h 9967"/>
                <a:gd name="connsiteX10" fmla="*/ 5744 w 9132"/>
                <a:gd name="connsiteY10" fmla="*/ 4198 h 9967"/>
                <a:gd name="connsiteX11" fmla="*/ 5495 w 9132"/>
                <a:gd name="connsiteY11" fmla="*/ 4396 h 9967"/>
                <a:gd name="connsiteX12" fmla="*/ 5165 w 9132"/>
                <a:gd name="connsiteY12" fmla="*/ 4396 h 9967"/>
                <a:gd name="connsiteX13" fmla="*/ 4917 w 9132"/>
                <a:gd name="connsiteY13" fmla="*/ 4298 h 9967"/>
                <a:gd name="connsiteX14" fmla="*/ 4297 w 9132"/>
                <a:gd name="connsiteY14" fmla="*/ 4396 h 9967"/>
                <a:gd name="connsiteX15" fmla="*/ 4050 w 9132"/>
                <a:gd name="connsiteY15" fmla="*/ 5183 h 9967"/>
                <a:gd name="connsiteX16" fmla="*/ 3802 w 9132"/>
                <a:gd name="connsiteY16" fmla="*/ 5283 h 9967"/>
                <a:gd name="connsiteX17" fmla="*/ 3430 w 9132"/>
                <a:gd name="connsiteY17" fmla="*/ 6566 h 9967"/>
                <a:gd name="connsiteX18" fmla="*/ 2396 w 9132"/>
                <a:gd name="connsiteY18" fmla="*/ 7652 h 9967"/>
                <a:gd name="connsiteX19" fmla="*/ 2108 w 9132"/>
                <a:gd name="connsiteY19" fmla="*/ 9079 h 9967"/>
                <a:gd name="connsiteX20" fmla="*/ 1776 w 9132"/>
                <a:gd name="connsiteY20" fmla="*/ 9525 h 9967"/>
                <a:gd name="connsiteX21" fmla="*/ 1695 w 9132"/>
                <a:gd name="connsiteY21" fmla="*/ 9918 h 9967"/>
                <a:gd name="connsiteX22" fmla="*/ 0 w 9132"/>
                <a:gd name="connsiteY22" fmla="*/ 9967 h 9967"/>
                <a:gd name="connsiteX23" fmla="*/ 0 w 9132"/>
                <a:gd name="connsiteY23" fmla="*/ 9967 h 9967"/>
                <a:gd name="connsiteX24" fmla="*/ 41 w 9132"/>
                <a:gd name="connsiteY24" fmla="*/ 9525 h 9967"/>
                <a:gd name="connsiteX25" fmla="*/ 331 w 9132"/>
                <a:gd name="connsiteY25" fmla="*/ 9228 h 9967"/>
                <a:gd name="connsiteX26" fmla="*/ 578 w 9132"/>
                <a:gd name="connsiteY26" fmla="*/ 8685 h 9967"/>
                <a:gd name="connsiteX27" fmla="*/ 537 w 9132"/>
                <a:gd name="connsiteY27" fmla="*/ 8341 h 9967"/>
                <a:gd name="connsiteX28" fmla="*/ 826 w 9132"/>
                <a:gd name="connsiteY28" fmla="*/ 7600 h 9967"/>
                <a:gd name="connsiteX29" fmla="*/ 1239 w 9132"/>
                <a:gd name="connsiteY29" fmla="*/ 6958 h 9967"/>
                <a:gd name="connsiteX30" fmla="*/ 1530 w 9132"/>
                <a:gd name="connsiteY30" fmla="*/ 6811 h 9967"/>
                <a:gd name="connsiteX31" fmla="*/ 1735 w 9132"/>
                <a:gd name="connsiteY31" fmla="*/ 6220 h 9967"/>
                <a:gd name="connsiteX32" fmla="*/ 1735 w 9132"/>
                <a:gd name="connsiteY32" fmla="*/ 5678 h 9967"/>
                <a:gd name="connsiteX33" fmla="*/ 2024 w 9132"/>
                <a:gd name="connsiteY33" fmla="*/ 5039 h 9967"/>
                <a:gd name="connsiteX34" fmla="*/ 2521 w 9132"/>
                <a:gd name="connsiteY34" fmla="*/ 4645 h 9967"/>
                <a:gd name="connsiteX35" fmla="*/ 3017 w 9132"/>
                <a:gd name="connsiteY35" fmla="*/ 3608 h 9967"/>
                <a:gd name="connsiteX36" fmla="*/ 3057 w 9132"/>
                <a:gd name="connsiteY36" fmla="*/ 3608 h 9967"/>
                <a:gd name="connsiteX37" fmla="*/ 3430 w 9132"/>
                <a:gd name="connsiteY37" fmla="*/ 3215 h 9967"/>
                <a:gd name="connsiteX38" fmla="*/ 4091 w 9132"/>
                <a:gd name="connsiteY38" fmla="*/ 3115 h 9967"/>
                <a:gd name="connsiteX39" fmla="*/ 4710 w 9132"/>
                <a:gd name="connsiteY39" fmla="*/ 2423 h 9967"/>
                <a:gd name="connsiteX40" fmla="*/ 5082 w 9132"/>
                <a:gd name="connsiteY40" fmla="*/ 2130 h 9967"/>
                <a:gd name="connsiteX41" fmla="*/ 5702 w 9132"/>
                <a:gd name="connsiteY41" fmla="*/ 1291 h 9967"/>
                <a:gd name="connsiteX42" fmla="*/ 5538 w 9132"/>
                <a:gd name="connsiteY42" fmla="*/ 11 h 9967"/>
                <a:gd name="connsiteX0" fmla="*/ 6244 w 10000"/>
                <a:gd name="connsiteY0" fmla="*/ 592 h 9297"/>
                <a:gd name="connsiteX1" fmla="*/ 10000 w 10000"/>
                <a:gd name="connsiteY1" fmla="*/ 0 h 9297"/>
                <a:gd name="connsiteX2" fmla="*/ 9684 w 10000"/>
                <a:gd name="connsiteY2" fmla="*/ 493 h 9297"/>
                <a:gd name="connsiteX3" fmla="*/ 9052 w 10000"/>
                <a:gd name="connsiteY3" fmla="*/ 791 h 9297"/>
                <a:gd name="connsiteX4" fmla="*/ 8235 w 10000"/>
                <a:gd name="connsiteY4" fmla="*/ 938 h 9297"/>
                <a:gd name="connsiteX5" fmla="*/ 6924 w 10000"/>
                <a:gd name="connsiteY5" fmla="*/ 1682 h 9297"/>
                <a:gd name="connsiteX6" fmla="*/ 6924 w 10000"/>
                <a:gd name="connsiteY6" fmla="*/ 2917 h 9297"/>
                <a:gd name="connsiteX7" fmla="*/ 6787 w 10000"/>
                <a:gd name="connsiteY7" fmla="*/ 2917 h 9297"/>
                <a:gd name="connsiteX8" fmla="*/ 6787 w 10000"/>
                <a:gd name="connsiteY8" fmla="*/ 2917 h 9297"/>
                <a:gd name="connsiteX9" fmla="*/ 6787 w 10000"/>
                <a:gd name="connsiteY9" fmla="*/ 3462 h 9297"/>
                <a:gd name="connsiteX10" fmla="*/ 6290 w 10000"/>
                <a:gd name="connsiteY10" fmla="*/ 3509 h 9297"/>
                <a:gd name="connsiteX11" fmla="*/ 6017 w 10000"/>
                <a:gd name="connsiteY11" fmla="*/ 3708 h 9297"/>
                <a:gd name="connsiteX12" fmla="*/ 5656 w 10000"/>
                <a:gd name="connsiteY12" fmla="*/ 3708 h 9297"/>
                <a:gd name="connsiteX13" fmla="*/ 5384 w 10000"/>
                <a:gd name="connsiteY13" fmla="*/ 3609 h 9297"/>
                <a:gd name="connsiteX14" fmla="*/ 4705 w 10000"/>
                <a:gd name="connsiteY14" fmla="*/ 3708 h 9297"/>
                <a:gd name="connsiteX15" fmla="*/ 4435 w 10000"/>
                <a:gd name="connsiteY15" fmla="*/ 4497 h 9297"/>
                <a:gd name="connsiteX16" fmla="*/ 4163 w 10000"/>
                <a:gd name="connsiteY16" fmla="*/ 4597 h 9297"/>
                <a:gd name="connsiteX17" fmla="*/ 3756 w 10000"/>
                <a:gd name="connsiteY17" fmla="*/ 5885 h 9297"/>
                <a:gd name="connsiteX18" fmla="*/ 2624 w 10000"/>
                <a:gd name="connsiteY18" fmla="*/ 6974 h 9297"/>
                <a:gd name="connsiteX19" fmla="*/ 2308 w 10000"/>
                <a:gd name="connsiteY19" fmla="*/ 8406 h 9297"/>
                <a:gd name="connsiteX20" fmla="*/ 1945 w 10000"/>
                <a:gd name="connsiteY20" fmla="*/ 8854 h 9297"/>
                <a:gd name="connsiteX21" fmla="*/ 1856 w 10000"/>
                <a:gd name="connsiteY21" fmla="*/ 9248 h 9297"/>
                <a:gd name="connsiteX22" fmla="*/ 0 w 10000"/>
                <a:gd name="connsiteY22" fmla="*/ 9297 h 9297"/>
                <a:gd name="connsiteX23" fmla="*/ 0 w 10000"/>
                <a:gd name="connsiteY23" fmla="*/ 9297 h 9297"/>
                <a:gd name="connsiteX24" fmla="*/ 45 w 10000"/>
                <a:gd name="connsiteY24" fmla="*/ 8854 h 9297"/>
                <a:gd name="connsiteX25" fmla="*/ 362 w 10000"/>
                <a:gd name="connsiteY25" fmla="*/ 8556 h 9297"/>
                <a:gd name="connsiteX26" fmla="*/ 633 w 10000"/>
                <a:gd name="connsiteY26" fmla="*/ 8011 h 9297"/>
                <a:gd name="connsiteX27" fmla="*/ 588 w 10000"/>
                <a:gd name="connsiteY27" fmla="*/ 7666 h 9297"/>
                <a:gd name="connsiteX28" fmla="*/ 905 w 10000"/>
                <a:gd name="connsiteY28" fmla="*/ 6922 h 9297"/>
                <a:gd name="connsiteX29" fmla="*/ 1357 w 10000"/>
                <a:gd name="connsiteY29" fmla="*/ 6278 h 9297"/>
                <a:gd name="connsiteX30" fmla="*/ 1675 w 10000"/>
                <a:gd name="connsiteY30" fmla="*/ 6131 h 9297"/>
                <a:gd name="connsiteX31" fmla="*/ 1900 w 10000"/>
                <a:gd name="connsiteY31" fmla="*/ 5538 h 9297"/>
                <a:gd name="connsiteX32" fmla="*/ 1900 w 10000"/>
                <a:gd name="connsiteY32" fmla="*/ 4994 h 9297"/>
                <a:gd name="connsiteX33" fmla="*/ 2216 w 10000"/>
                <a:gd name="connsiteY33" fmla="*/ 4353 h 9297"/>
                <a:gd name="connsiteX34" fmla="*/ 2761 w 10000"/>
                <a:gd name="connsiteY34" fmla="*/ 3957 h 9297"/>
                <a:gd name="connsiteX35" fmla="*/ 3304 w 10000"/>
                <a:gd name="connsiteY35" fmla="*/ 2917 h 9297"/>
                <a:gd name="connsiteX36" fmla="*/ 3348 w 10000"/>
                <a:gd name="connsiteY36" fmla="*/ 2917 h 9297"/>
                <a:gd name="connsiteX37" fmla="*/ 3756 w 10000"/>
                <a:gd name="connsiteY37" fmla="*/ 2523 h 9297"/>
                <a:gd name="connsiteX38" fmla="*/ 4480 w 10000"/>
                <a:gd name="connsiteY38" fmla="*/ 2422 h 9297"/>
                <a:gd name="connsiteX39" fmla="*/ 5158 w 10000"/>
                <a:gd name="connsiteY39" fmla="*/ 1728 h 9297"/>
                <a:gd name="connsiteX40" fmla="*/ 5565 w 10000"/>
                <a:gd name="connsiteY40" fmla="*/ 1434 h 9297"/>
                <a:gd name="connsiteX41" fmla="*/ 6244 w 10000"/>
                <a:gd name="connsiteY41" fmla="*/ 592 h 9297"/>
                <a:gd name="connsiteX0" fmla="*/ 6244 w 9684"/>
                <a:gd name="connsiteY0" fmla="*/ 134 h 9497"/>
                <a:gd name="connsiteX1" fmla="*/ 9684 w 9684"/>
                <a:gd name="connsiteY1" fmla="*/ 27 h 9497"/>
                <a:gd name="connsiteX2" fmla="*/ 9052 w 9684"/>
                <a:gd name="connsiteY2" fmla="*/ 348 h 9497"/>
                <a:gd name="connsiteX3" fmla="*/ 8235 w 9684"/>
                <a:gd name="connsiteY3" fmla="*/ 506 h 9497"/>
                <a:gd name="connsiteX4" fmla="*/ 6924 w 9684"/>
                <a:gd name="connsiteY4" fmla="*/ 1306 h 9497"/>
                <a:gd name="connsiteX5" fmla="*/ 6924 w 9684"/>
                <a:gd name="connsiteY5" fmla="*/ 2635 h 9497"/>
                <a:gd name="connsiteX6" fmla="*/ 6787 w 9684"/>
                <a:gd name="connsiteY6" fmla="*/ 2635 h 9497"/>
                <a:gd name="connsiteX7" fmla="*/ 6787 w 9684"/>
                <a:gd name="connsiteY7" fmla="*/ 2635 h 9497"/>
                <a:gd name="connsiteX8" fmla="*/ 6787 w 9684"/>
                <a:gd name="connsiteY8" fmla="*/ 3221 h 9497"/>
                <a:gd name="connsiteX9" fmla="*/ 6290 w 9684"/>
                <a:gd name="connsiteY9" fmla="*/ 3271 h 9497"/>
                <a:gd name="connsiteX10" fmla="*/ 6017 w 9684"/>
                <a:gd name="connsiteY10" fmla="*/ 3485 h 9497"/>
                <a:gd name="connsiteX11" fmla="*/ 5656 w 9684"/>
                <a:gd name="connsiteY11" fmla="*/ 3485 h 9497"/>
                <a:gd name="connsiteX12" fmla="*/ 5384 w 9684"/>
                <a:gd name="connsiteY12" fmla="*/ 3379 h 9497"/>
                <a:gd name="connsiteX13" fmla="*/ 4705 w 9684"/>
                <a:gd name="connsiteY13" fmla="*/ 3485 h 9497"/>
                <a:gd name="connsiteX14" fmla="*/ 4435 w 9684"/>
                <a:gd name="connsiteY14" fmla="*/ 4334 h 9497"/>
                <a:gd name="connsiteX15" fmla="*/ 4163 w 9684"/>
                <a:gd name="connsiteY15" fmla="*/ 4442 h 9497"/>
                <a:gd name="connsiteX16" fmla="*/ 3756 w 9684"/>
                <a:gd name="connsiteY16" fmla="*/ 5827 h 9497"/>
                <a:gd name="connsiteX17" fmla="*/ 2624 w 9684"/>
                <a:gd name="connsiteY17" fmla="*/ 6998 h 9497"/>
                <a:gd name="connsiteX18" fmla="*/ 2308 w 9684"/>
                <a:gd name="connsiteY18" fmla="*/ 8539 h 9497"/>
                <a:gd name="connsiteX19" fmla="*/ 1945 w 9684"/>
                <a:gd name="connsiteY19" fmla="*/ 9021 h 9497"/>
                <a:gd name="connsiteX20" fmla="*/ 1856 w 9684"/>
                <a:gd name="connsiteY20" fmla="*/ 9444 h 9497"/>
                <a:gd name="connsiteX21" fmla="*/ 0 w 9684"/>
                <a:gd name="connsiteY21" fmla="*/ 9497 h 9497"/>
                <a:gd name="connsiteX22" fmla="*/ 0 w 9684"/>
                <a:gd name="connsiteY22" fmla="*/ 9497 h 9497"/>
                <a:gd name="connsiteX23" fmla="*/ 45 w 9684"/>
                <a:gd name="connsiteY23" fmla="*/ 9021 h 9497"/>
                <a:gd name="connsiteX24" fmla="*/ 362 w 9684"/>
                <a:gd name="connsiteY24" fmla="*/ 8700 h 9497"/>
                <a:gd name="connsiteX25" fmla="*/ 633 w 9684"/>
                <a:gd name="connsiteY25" fmla="*/ 8114 h 9497"/>
                <a:gd name="connsiteX26" fmla="*/ 588 w 9684"/>
                <a:gd name="connsiteY26" fmla="*/ 7743 h 9497"/>
                <a:gd name="connsiteX27" fmla="*/ 905 w 9684"/>
                <a:gd name="connsiteY27" fmla="*/ 6942 h 9497"/>
                <a:gd name="connsiteX28" fmla="*/ 1357 w 9684"/>
                <a:gd name="connsiteY28" fmla="*/ 6250 h 9497"/>
                <a:gd name="connsiteX29" fmla="*/ 1675 w 9684"/>
                <a:gd name="connsiteY29" fmla="*/ 6092 h 9497"/>
                <a:gd name="connsiteX30" fmla="*/ 1900 w 9684"/>
                <a:gd name="connsiteY30" fmla="*/ 5454 h 9497"/>
                <a:gd name="connsiteX31" fmla="*/ 1900 w 9684"/>
                <a:gd name="connsiteY31" fmla="*/ 4869 h 9497"/>
                <a:gd name="connsiteX32" fmla="*/ 2216 w 9684"/>
                <a:gd name="connsiteY32" fmla="*/ 4179 h 9497"/>
                <a:gd name="connsiteX33" fmla="*/ 2761 w 9684"/>
                <a:gd name="connsiteY33" fmla="*/ 3753 h 9497"/>
                <a:gd name="connsiteX34" fmla="*/ 3304 w 9684"/>
                <a:gd name="connsiteY34" fmla="*/ 2635 h 9497"/>
                <a:gd name="connsiteX35" fmla="*/ 3348 w 9684"/>
                <a:gd name="connsiteY35" fmla="*/ 2635 h 9497"/>
                <a:gd name="connsiteX36" fmla="*/ 3756 w 9684"/>
                <a:gd name="connsiteY36" fmla="*/ 2211 h 9497"/>
                <a:gd name="connsiteX37" fmla="*/ 4480 w 9684"/>
                <a:gd name="connsiteY37" fmla="*/ 2102 h 9497"/>
                <a:gd name="connsiteX38" fmla="*/ 5158 w 9684"/>
                <a:gd name="connsiteY38" fmla="*/ 1356 h 9497"/>
                <a:gd name="connsiteX39" fmla="*/ 5565 w 9684"/>
                <a:gd name="connsiteY39" fmla="*/ 1039 h 9497"/>
                <a:gd name="connsiteX40" fmla="*/ 6244 w 9684"/>
                <a:gd name="connsiteY40" fmla="*/ 134 h 9497"/>
                <a:gd name="connsiteX0" fmla="*/ 6448 w 9347"/>
                <a:gd name="connsiteY0" fmla="*/ 30 h 9889"/>
                <a:gd name="connsiteX1" fmla="*/ 9347 w 9347"/>
                <a:gd name="connsiteY1" fmla="*/ 255 h 9889"/>
                <a:gd name="connsiteX2" fmla="*/ 8504 w 9347"/>
                <a:gd name="connsiteY2" fmla="*/ 422 h 9889"/>
                <a:gd name="connsiteX3" fmla="*/ 7150 w 9347"/>
                <a:gd name="connsiteY3" fmla="*/ 1264 h 9889"/>
                <a:gd name="connsiteX4" fmla="*/ 7150 w 9347"/>
                <a:gd name="connsiteY4" fmla="*/ 2664 h 9889"/>
                <a:gd name="connsiteX5" fmla="*/ 7008 w 9347"/>
                <a:gd name="connsiteY5" fmla="*/ 2664 h 9889"/>
                <a:gd name="connsiteX6" fmla="*/ 7008 w 9347"/>
                <a:gd name="connsiteY6" fmla="*/ 2664 h 9889"/>
                <a:gd name="connsiteX7" fmla="*/ 7008 w 9347"/>
                <a:gd name="connsiteY7" fmla="*/ 3281 h 9889"/>
                <a:gd name="connsiteX8" fmla="*/ 6495 w 9347"/>
                <a:gd name="connsiteY8" fmla="*/ 3333 h 9889"/>
                <a:gd name="connsiteX9" fmla="*/ 6213 w 9347"/>
                <a:gd name="connsiteY9" fmla="*/ 3559 h 9889"/>
                <a:gd name="connsiteX10" fmla="*/ 5841 w 9347"/>
                <a:gd name="connsiteY10" fmla="*/ 3559 h 9889"/>
                <a:gd name="connsiteX11" fmla="*/ 5560 w 9347"/>
                <a:gd name="connsiteY11" fmla="*/ 3447 h 9889"/>
                <a:gd name="connsiteX12" fmla="*/ 4859 w 9347"/>
                <a:gd name="connsiteY12" fmla="*/ 3559 h 9889"/>
                <a:gd name="connsiteX13" fmla="*/ 4580 w 9347"/>
                <a:gd name="connsiteY13" fmla="*/ 4453 h 9889"/>
                <a:gd name="connsiteX14" fmla="*/ 4299 w 9347"/>
                <a:gd name="connsiteY14" fmla="*/ 4566 h 9889"/>
                <a:gd name="connsiteX15" fmla="*/ 3879 w 9347"/>
                <a:gd name="connsiteY15" fmla="*/ 6025 h 9889"/>
                <a:gd name="connsiteX16" fmla="*/ 2710 w 9347"/>
                <a:gd name="connsiteY16" fmla="*/ 7258 h 9889"/>
                <a:gd name="connsiteX17" fmla="*/ 2383 w 9347"/>
                <a:gd name="connsiteY17" fmla="*/ 8880 h 9889"/>
                <a:gd name="connsiteX18" fmla="*/ 2008 w 9347"/>
                <a:gd name="connsiteY18" fmla="*/ 9388 h 9889"/>
                <a:gd name="connsiteX19" fmla="*/ 1917 w 9347"/>
                <a:gd name="connsiteY19" fmla="*/ 9833 h 9889"/>
                <a:gd name="connsiteX20" fmla="*/ 0 w 9347"/>
                <a:gd name="connsiteY20" fmla="*/ 9889 h 9889"/>
                <a:gd name="connsiteX21" fmla="*/ 0 w 9347"/>
                <a:gd name="connsiteY21" fmla="*/ 9889 h 9889"/>
                <a:gd name="connsiteX22" fmla="*/ 46 w 9347"/>
                <a:gd name="connsiteY22" fmla="*/ 9388 h 9889"/>
                <a:gd name="connsiteX23" fmla="*/ 374 w 9347"/>
                <a:gd name="connsiteY23" fmla="*/ 9050 h 9889"/>
                <a:gd name="connsiteX24" fmla="*/ 654 w 9347"/>
                <a:gd name="connsiteY24" fmla="*/ 8433 h 9889"/>
                <a:gd name="connsiteX25" fmla="*/ 607 w 9347"/>
                <a:gd name="connsiteY25" fmla="*/ 8042 h 9889"/>
                <a:gd name="connsiteX26" fmla="*/ 935 w 9347"/>
                <a:gd name="connsiteY26" fmla="*/ 7199 h 9889"/>
                <a:gd name="connsiteX27" fmla="*/ 1401 w 9347"/>
                <a:gd name="connsiteY27" fmla="*/ 6470 h 9889"/>
                <a:gd name="connsiteX28" fmla="*/ 1730 w 9347"/>
                <a:gd name="connsiteY28" fmla="*/ 6304 h 9889"/>
                <a:gd name="connsiteX29" fmla="*/ 1962 w 9347"/>
                <a:gd name="connsiteY29" fmla="*/ 5632 h 9889"/>
                <a:gd name="connsiteX30" fmla="*/ 1962 w 9347"/>
                <a:gd name="connsiteY30" fmla="*/ 5016 h 9889"/>
                <a:gd name="connsiteX31" fmla="*/ 2288 w 9347"/>
                <a:gd name="connsiteY31" fmla="*/ 4289 h 9889"/>
                <a:gd name="connsiteX32" fmla="*/ 2851 w 9347"/>
                <a:gd name="connsiteY32" fmla="*/ 3841 h 9889"/>
                <a:gd name="connsiteX33" fmla="*/ 3412 w 9347"/>
                <a:gd name="connsiteY33" fmla="*/ 2664 h 9889"/>
                <a:gd name="connsiteX34" fmla="*/ 3457 w 9347"/>
                <a:gd name="connsiteY34" fmla="*/ 2664 h 9889"/>
                <a:gd name="connsiteX35" fmla="*/ 3879 w 9347"/>
                <a:gd name="connsiteY35" fmla="*/ 2217 h 9889"/>
                <a:gd name="connsiteX36" fmla="*/ 4626 w 9347"/>
                <a:gd name="connsiteY36" fmla="*/ 2102 h 9889"/>
                <a:gd name="connsiteX37" fmla="*/ 5326 w 9347"/>
                <a:gd name="connsiteY37" fmla="*/ 1317 h 9889"/>
                <a:gd name="connsiteX38" fmla="*/ 5747 w 9347"/>
                <a:gd name="connsiteY38" fmla="*/ 983 h 9889"/>
                <a:gd name="connsiteX39" fmla="*/ 6448 w 9347"/>
                <a:gd name="connsiteY39" fmla="*/ 30 h 9889"/>
                <a:gd name="connsiteX0" fmla="*/ 6148 w 10000"/>
                <a:gd name="connsiteY0" fmla="*/ 736 h 9742"/>
                <a:gd name="connsiteX1" fmla="*/ 10000 w 10000"/>
                <a:gd name="connsiteY1" fmla="*/ 0 h 9742"/>
                <a:gd name="connsiteX2" fmla="*/ 9098 w 10000"/>
                <a:gd name="connsiteY2" fmla="*/ 169 h 9742"/>
                <a:gd name="connsiteX3" fmla="*/ 7650 w 10000"/>
                <a:gd name="connsiteY3" fmla="*/ 1020 h 9742"/>
                <a:gd name="connsiteX4" fmla="*/ 7650 w 10000"/>
                <a:gd name="connsiteY4" fmla="*/ 2436 h 9742"/>
                <a:gd name="connsiteX5" fmla="*/ 7498 w 10000"/>
                <a:gd name="connsiteY5" fmla="*/ 2436 h 9742"/>
                <a:gd name="connsiteX6" fmla="*/ 7498 w 10000"/>
                <a:gd name="connsiteY6" fmla="*/ 2436 h 9742"/>
                <a:gd name="connsiteX7" fmla="*/ 7498 w 10000"/>
                <a:gd name="connsiteY7" fmla="*/ 3060 h 9742"/>
                <a:gd name="connsiteX8" fmla="*/ 6949 w 10000"/>
                <a:gd name="connsiteY8" fmla="*/ 3112 h 9742"/>
                <a:gd name="connsiteX9" fmla="*/ 6647 w 10000"/>
                <a:gd name="connsiteY9" fmla="*/ 3341 h 9742"/>
                <a:gd name="connsiteX10" fmla="*/ 6249 w 10000"/>
                <a:gd name="connsiteY10" fmla="*/ 3341 h 9742"/>
                <a:gd name="connsiteX11" fmla="*/ 5948 w 10000"/>
                <a:gd name="connsiteY11" fmla="*/ 3228 h 9742"/>
                <a:gd name="connsiteX12" fmla="*/ 5198 w 10000"/>
                <a:gd name="connsiteY12" fmla="*/ 3341 h 9742"/>
                <a:gd name="connsiteX13" fmla="*/ 4900 w 10000"/>
                <a:gd name="connsiteY13" fmla="*/ 4245 h 9742"/>
                <a:gd name="connsiteX14" fmla="*/ 4599 w 10000"/>
                <a:gd name="connsiteY14" fmla="*/ 4359 h 9742"/>
                <a:gd name="connsiteX15" fmla="*/ 4150 w 10000"/>
                <a:gd name="connsiteY15" fmla="*/ 5835 h 9742"/>
                <a:gd name="connsiteX16" fmla="*/ 2899 w 10000"/>
                <a:gd name="connsiteY16" fmla="*/ 7081 h 9742"/>
                <a:gd name="connsiteX17" fmla="*/ 2549 w 10000"/>
                <a:gd name="connsiteY17" fmla="*/ 8722 h 9742"/>
                <a:gd name="connsiteX18" fmla="*/ 2148 w 10000"/>
                <a:gd name="connsiteY18" fmla="*/ 9235 h 9742"/>
                <a:gd name="connsiteX19" fmla="*/ 2051 w 10000"/>
                <a:gd name="connsiteY19" fmla="*/ 9685 h 9742"/>
                <a:gd name="connsiteX20" fmla="*/ 0 w 10000"/>
                <a:gd name="connsiteY20" fmla="*/ 9742 h 9742"/>
                <a:gd name="connsiteX21" fmla="*/ 0 w 10000"/>
                <a:gd name="connsiteY21" fmla="*/ 9742 h 9742"/>
                <a:gd name="connsiteX22" fmla="*/ 49 w 10000"/>
                <a:gd name="connsiteY22" fmla="*/ 9235 h 9742"/>
                <a:gd name="connsiteX23" fmla="*/ 400 w 10000"/>
                <a:gd name="connsiteY23" fmla="*/ 8894 h 9742"/>
                <a:gd name="connsiteX24" fmla="*/ 700 w 10000"/>
                <a:gd name="connsiteY24" fmla="*/ 8270 h 9742"/>
                <a:gd name="connsiteX25" fmla="*/ 649 w 10000"/>
                <a:gd name="connsiteY25" fmla="*/ 7874 h 9742"/>
                <a:gd name="connsiteX26" fmla="*/ 1000 w 10000"/>
                <a:gd name="connsiteY26" fmla="*/ 7022 h 9742"/>
                <a:gd name="connsiteX27" fmla="*/ 1499 w 10000"/>
                <a:gd name="connsiteY27" fmla="*/ 6285 h 9742"/>
                <a:gd name="connsiteX28" fmla="*/ 1851 w 10000"/>
                <a:gd name="connsiteY28" fmla="*/ 6117 h 9742"/>
                <a:gd name="connsiteX29" fmla="*/ 2099 w 10000"/>
                <a:gd name="connsiteY29" fmla="*/ 5437 h 9742"/>
                <a:gd name="connsiteX30" fmla="*/ 2099 w 10000"/>
                <a:gd name="connsiteY30" fmla="*/ 4814 h 9742"/>
                <a:gd name="connsiteX31" fmla="*/ 2448 w 10000"/>
                <a:gd name="connsiteY31" fmla="*/ 4079 h 9742"/>
                <a:gd name="connsiteX32" fmla="*/ 3050 w 10000"/>
                <a:gd name="connsiteY32" fmla="*/ 3626 h 9742"/>
                <a:gd name="connsiteX33" fmla="*/ 3650 w 10000"/>
                <a:gd name="connsiteY33" fmla="*/ 2436 h 9742"/>
                <a:gd name="connsiteX34" fmla="*/ 3699 w 10000"/>
                <a:gd name="connsiteY34" fmla="*/ 2436 h 9742"/>
                <a:gd name="connsiteX35" fmla="*/ 4150 w 10000"/>
                <a:gd name="connsiteY35" fmla="*/ 1984 h 9742"/>
                <a:gd name="connsiteX36" fmla="*/ 4949 w 10000"/>
                <a:gd name="connsiteY36" fmla="*/ 1868 h 9742"/>
                <a:gd name="connsiteX37" fmla="*/ 5698 w 10000"/>
                <a:gd name="connsiteY37" fmla="*/ 1074 h 9742"/>
                <a:gd name="connsiteX38" fmla="*/ 6148 w 10000"/>
                <a:gd name="connsiteY38" fmla="*/ 736 h 9742"/>
                <a:gd name="connsiteX0" fmla="*/ 6148 w 9098"/>
                <a:gd name="connsiteY0" fmla="*/ 582 h 9827"/>
                <a:gd name="connsiteX1" fmla="*/ 9098 w 9098"/>
                <a:gd name="connsiteY1" fmla="*/ 0 h 9827"/>
                <a:gd name="connsiteX2" fmla="*/ 7650 w 9098"/>
                <a:gd name="connsiteY2" fmla="*/ 874 h 9827"/>
                <a:gd name="connsiteX3" fmla="*/ 7650 w 9098"/>
                <a:gd name="connsiteY3" fmla="*/ 2328 h 9827"/>
                <a:gd name="connsiteX4" fmla="*/ 7498 w 9098"/>
                <a:gd name="connsiteY4" fmla="*/ 2328 h 9827"/>
                <a:gd name="connsiteX5" fmla="*/ 7498 w 9098"/>
                <a:gd name="connsiteY5" fmla="*/ 2328 h 9827"/>
                <a:gd name="connsiteX6" fmla="*/ 7498 w 9098"/>
                <a:gd name="connsiteY6" fmla="*/ 2968 h 9827"/>
                <a:gd name="connsiteX7" fmla="*/ 6949 w 9098"/>
                <a:gd name="connsiteY7" fmla="*/ 3021 h 9827"/>
                <a:gd name="connsiteX8" fmla="*/ 6647 w 9098"/>
                <a:gd name="connsiteY8" fmla="*/ 3256 h 9827"/>
                <a:gd name="connsiteX9" fmla="*/ 6249 w 9098"/>
                <a:gd name="connsiteY9" fmla="*/ 3256 h 9827"/>
                <a:gd name="connsiteX10" fmla="*/ 5948 w 9098"/>
                <a:gd name="connsiteY10" fmla="*/ 3140 h 9827"/>
                <a:gd name="connsiteX11" fmla="*/ 5198 w 9098"/>
                <a:gd name="connsiteY11" fmla="*/ 3256 h 9827"/>
                <a:gd name="connsiteX12" fmla="*/ 4900 w 9098"/>
                <a:gd name="connsiteY12" fmla="*/ 4184 h 9827"/>
                <a:gd name="connsiteX13" fmla="*/ 4599 w 9098"/>
                <a:gd name="connsiteY13" fmla="*/ 4301 h 9827"/>
                <a:gd name="connsiteX14" fmla="*/ 4150 w 9098"/>
                <a:gd name="connsiteY14" fmla="*/ 5817 h 9827"/>
                <a:gd name="connsiteX15" fmla="*/ 2899 w 9098"/>
                <a:gd name="connsiteY15" fmla="*/ 7096 h 9827"/>
                <a:gd name="connsiteX16" fmla="*/ 2549 w 9098"/>
                <a:gd name="connsiteY16" fmla="*/ 8780 h 9827"/>
                <a:gd name="connsiteX17" fmla="*/ 2148 w 9098"/>
                <a:gd name="connsiteY17" fmla="*/ 9307 h 9827"/>
                <a:gd name="connsiteX18" fmla="*/ 2051 w 9098"/>
                <a:gd name="connsiteY18" fmla="*/ 9768 h 9827"/>
                <a:gd name="connsiteX19" fmla="*/ 0 w 9098"/>
                <a:gd name="connsiteY19" fmla="*/ 9827 h 9827"/>
                <a:gd name="connsiteX20" fmla="*/ 0 w 9098"/>
                <a:gd name="connsiteY20" fmla="*/ 9827 h 9827"/>
                <a:gd name="connsiteX21" fmla="*/ 49 w 9098"/>
                <a:gd name="connsiteY21" fmla="*/ 9307 h 9827"/>
                <a:gd name="connsiteX22" fmla="*/ 400 w 9098"/>
                <a:gd name="connsiteY22" fmla="*/ 8957 h 9827"/>
                <a:gd name="connsiteX23" fmla="*/ 700 w 9098"/>
                <a:gd name="connsiteY23" fmla="*/ 8316 h 9827"/>
                <a:gd name="connsiteX24" fmla="*/ 649 w 9098"/>
                <a:gd name="connsiteY24" fmla="*/ 7910 h 9827"/>
                <a:gd name="connsiteX25" fmla="*/ 1000 w 9098"/>
                <a:gd name="connsiteY25" fmla="*/ 7035 h 9827"/>
                <a:gd name="connsiteX26" fmla="*/ 1499 w 9098"/>
                <a:gd name="connsiteY26" fmla="*/ 6278 h 9827"/>
                <a:gd name="connsiteX27" fmla="*/ 1851 w 9098"/>
                <a:gd name="connsiteY27" fmla="*/ 6106 h 9827"/>
                <a:gd name="connsiteX28" fmla="*/ 2099 w 9098"/>
                <a:gd name="connsiteY28" fmla="*/ 5408 h 9827"/>
                <a:gd name="connsiteX29" fmla="*/ 2099 w 9098"/>
                <a:gd name="connsiteY29" fmla="*/ 4768 h 9827"/>
                <a:gd name="connsiteX30" fmla="*/ 2448 w 9098"/>
                <a:gd name="connsiteY30" fmla="*/ 4014 h 9827"/>
                <a:gd name="connsiteX31" fmla="*/ 3050 w 9098"/>
                <a:gd name="connsiteY31" fmla="*/ 3549 h 9827"/>
                <a:gd name="connsiteX32" fmla="*/ 3650 w 9098"/>
                <a:gd name="connsiteY32" fmla="*/ 2328 h 9827"/>
                <a:gd name="connsiteX33" fmla="*/ 3699 w 9098"/>
                <a:gd name="connsiteY33" fmla="*/ 2328 h 9827"/>
                <a:gd name="connsiteX34" fmla="*/ 4150 w 9098"/>
                <a:gd name="connsiteY34" fmla="*/ 1864 h 9827"/>
                <a:gd name="connsiteX35" fmla="*/ 4949 w 9098"/>
                <a:gd name="connsiteY35" fmla="*/ 1744 h 9827"/>
                <a:gd name="connsiteX36" fmla="*/ 5698 w 9098"/>
                <a:gd name="connsiteY36" fmla="*/ 929 h 9827"/>
                <a:gd name="connsiteX37" fmla="*/ 6148 w 9098"/>
                <a:gd name="connsiteY37" fmla="*/ 582 h 9827"/>
                <a:gd name="connsiteX0" fmla="*/ 6758 w 8408"/>
                <a:gd name="connsiteY0" fmla="*/ 0 h 9408"/>
                <a:gd name="connsiteX1" fmla="*/ 8408 w 8408"/>
                <a:gd name="connsiteY1" fmla="*/ 297 h 9408"/>
                <a:gd name="connsiteX2" fmla="*/ 8408 w 8408"/>
                <a:gd name="connsiteY2" fmla="*/ 1777 h 9408"/>
                <a:gd name="connsiteX3" fmla="*/ 8241 w 8408"/>
                <a:gd name="connsiteY3" fmla="*/ 1777 h 9408"/>
                <a:gd name="connsiteX4" fmla="*/ 8241 w 8408"/>
                <a:gd name="connsiteY4" fmla="*/ 1777 h 9408"/>
                <a:gd name="connsiteX5" fmla="*/ 8241 w 8408"/>
                <a:gd name="connsiteY5" fmla="*/ 2428 h 9408"/>
                <a:gd name="connsiteX6" fmla="*/ 7638 w 8408"/>
                <a:gd name="connsiteY6" fmla="*/ 2482 h 9408"/>
                <a:gd name="connsiteX7" fmla="*/ 7306 w 8408"/>
                <a:gd name="connsiteY7" fmla="*/ 2721 h 9408"/>
                <a:gd name="connsiteX8" fmla="*/ 6869 w 8408"/>
                <a:gd name="connsiteY8" fmla="*/ 2721 h 9408"/>
                <a:gd name="connsiteX9" fmla="*/ 6538 w 8408"/>
                <a:gd name="connsiteY9" fmla="*/ 2603 h 9408"/>
                <a:gd name="connsiteX10" fmla="*/ 5713 w 8408"/>
                <a:gd name="connsiteY10" fmla="*/ 2721 h 9408"/>
                <a:gd name="connsiteX11" fmla="*/ 5386 w 8408"/>
                <a:gd name="connsiteY11" fmla="*/ 3666 h 9408"/>
                <a:gd name="connsiteX12" fmla="*/ 5055 w 8408"/>
                <a:gd name="connsiteY12" fmla="*/ 3785 h 9408"/>
                <a:gd name="connsiteX13" fmla="*/ 4561 w 8408"/>
                <a:gd name="connsiteY13" fmla="*/ 5327 h 9408"/>
                <a:gd name="connsiteX14" fmla="*/ 3186 w 8408"/>
                <a:gd name="connsiteY14" fmla="*/ 6629 h 9408"/>
                <a:gd name="connsiteX15" fmla="*/ 2802 w 8408"/>
                <a:gd name="connsiteY15" fmla="*/ 8343 h 9408"/>
                <a:gd name="connsiteX16" fmla="*/ 2361 w 8408"/>
                <a:gd name="connsiteY16" fmla="*/ 8879 h 9408"/>
                <a:gd name="connsiteX17" fmla="*/ 2254 w 8408"/>
                <a:gd name="connsiteY17" fmla="*/ 9348 h 9408"/>
                <a:gd name="connsiteX18" fmla="*/ 0 w 8408"/>
                <a:gd name="connsiteY18" fmla="*/ 9408 h 9408"/>
                <a:gd name="connsiteX19" fmla="*/ 0 w 8408"/>
                <a:gd name="connsiteY19" fmla="*/ 9408 h 9408"/>
                <a:gd name="connsiteX20" fmla="*/ 54 w 8408"/>
                <a:gd name="connsiteY20" fmla="*/ 8879 h 9408"/>
                <a:gd name="connsiteX21" fmla="*/ 440 w 8408"/>
                <a:gd name="connsiteY21" fmla="*/ 8523 h 9408"/>
                <a:gd name="connsiteX22" fmla="*/ 769 w 8408"/>
                <a:gd name="connsiteY22" fmla="*/ 7870 h 9408"/>
                <a:gd name="connsiteX23" fmla="*/ 713 w 8408"/>
                <a:gd name="connsiteY23" fmla="*/ 7457 h 9408"/>
                <a:gd name="connsiteX24" fmla="*/ 1099 w 8408"/>
                <a:gd name="connsiteY24" fmla="*/ 6567 h 9408"/>
                <a:gd name="connsiteX25" fmla="*/ 1648 w 8408"/>
                <a:gd name="connsiteY25" fmla="*/ 5797 h 9408"/>
                <a:gd name="connsiteX26" fmla="*/ 2035 w 8408"/>
                <a:gd name="connsiteY26" fmla="*/ 5621 h 9408"/>
                <a:gd name="connsiteX27" fmla="*/ 2307 w 8408"/>
                <a:gd name="connsiteY27" fmla="*/ 4911 h 9408"/>
                <a:gd name="connsiteX28" fmla="*/ 2307 w 8408"/>
                <a:gd name="connsiteY28" fmla="*/ 4260 h 9408"/>
                <a:gd name="connsiteX29" fmla="*/ 2691 w 8408"/>
                <a:gd name="connsiteY29" fmla="*/ 3493 h 9408"/>
                <a:gd name="connsiteX30" fmla="*/ 3352 w 8408"/>
                <a:gd name="connsiteY30" fmla="*/ 3019 h 9408"/>
                <a:gd name="connsiteX31" fmla="*/ 4012 w 8408"/>
                <a:gd name="connsiteY31" fmla="*/ 1777 h 9408"/>
                <a:gd name="connsiteX32" fmla="*/ 4066 w 8408"/>
                <a:gd name="connsiteY32" fmla="*/ 1777 h 9408"/>
                <a:gd name="connsiteX33" fmla="*/ 4561 w 8408"/>
                <a:gd name="connsiteY33" fmla="*/ 1305 h 9408"/>
                <a:gd name="connsiteX34" fmla="*/ 5440 w 8408"/>
                <a:gd name="connsiteY34" fmla="*/ 1183 h 9408"/>
                <a:gd name="connsiteX35" fmla="*/ 6263 w 8408"/>
                <a:gd name="connsiteY35" fmla="*/ 353 h 9408"/>
                <a:gd name="connsiteX36" fmla="*/ 6758 w 8408"/>
                <a:gd name="connsiteY36" fmla="*/ 0 h 9408"/>
                <a:gd name="connsiteX0" fmla="*/ 7449 w 10000"/>
                <a:gd name="connsiteY0" fmla="*/ 59 h 9684"/>
                <a:gd name="connsiteX1" fmla="*/ 10000 w 10000"/>
                <a:gd name="connsiteY1" fmla="*/ 0 h 9684"/>
                <a:gd name="connsiteX2" fmla="*/ 10000 w 10000"/>
                <a:gd name="connsiteY2" fmla="*/ 1573 h 9684"/>
                <a:gd name="connsiteX3" fmla="*/ 9801 w 10000"/>
                <a:gd name="connsiteY3" fmla="*/ 1573 h 9684"/>
                <a:gd name="connsiteX4" fmla="*/ 9801 w 10000"/>
                <a:gd name="connsiteY4" fmla="*/ 1573 h 9684"/>
                <a:gd name="connsiteX5" fmla="*/ 9801 w 10000"/>
                <a:gd name="connsiteY5" fmla="*/ 2265 h 9684"/>
                <a:gd name="connsiteX6" fmla="*/ 9084 w 10000"/>
                <a:gd name="connsiteY6" fmla="*/ 2322 h 9684"/>
                <a:gd name="connsiteX7" fmla="*/ 8689 w 10000"/>
                <a:gd name="connsiteY7" fmla="*/ 2576 h 9684"/>
                <a:gd name="connsiteX8" fmla="*/ 8170 w 10000"/>
                <a:gd name="connsiteY8" fmla="*/ 2576 h 9684"/>
                <a:gd name="connsiteX9" fmla="*/ 7776 w 10000"/>
                <a:gd name="connsiteY9" fmla="*/ 2451 h 9684"/>
                <a:gd name="connsiteX10" fmla="*/ 6795 w 10000"/>
                <a:gd name="connsiteY10" fmla="*/ 2576 h 9684"/>
                <a:gd name="connsiteX11" fmla="*/ 6406 w 10000"/>
                <a:gd name="connsiteY11" fmla="*/ 3581 h 9684"/>
                <a:gd name="connsiteX12" fmla="*/ 6012 w 10000"/>
                <a:gd name="connsiteY12" fmla="*/ 3707 h 9684"/>
                <a:gd name="connsiteX13" fmla="*/ 5425 w 10000"/>
                <a:gd name="connsiteY13" fmla="*/ 5346 h 9684"/>
                <a:gd name="connsiteX14" fmla="*/ 3789 w 10000"/>
                <a:gd name="connsiteY14" fmla="*/ 6730 h 9684"/>
                <a:gd name="connsiteX15" fmla="*/ 3333 w 10000"/>
                <a:gd name="connsiteY15" fmla="*/ 8552 h 9684"/>
                <a:gd name="connsiteX16" fmla="*/ 2808 w 10000"/>
                <a:gd name="connsiteY16" fmla="*/ 9122 h 9684"/>
                <a:gd name="connsiteX17" fmla="*/ 2681 w 10000"/>
                <a:gd name="connsiteY17" fmla="*/ 9620 h 9684"/>
                <a:gd name="connsiteX18" fmla="*/ 0 w 10000"/>
                <a:gd name="connsiteY18" fmla="*/ 9684 h 9684"/>
                <a:gd name="connsiteX19" fmla="*/ 0 w 10000"/>
                <a:gd name="connsiteY19" fmla="*/ 9684 h 9684"/>
                <a:gd name="connsiteX20" fmla="*/ 64 w 10000"/>
                <a:gd name="connsiteY20" fmla="*/ 9122 h 9684"/>
                <a:gd name="connsiteX21" fmla="*/ 523 w 10000"/>
                <a:gd name="connsiteY21" fmla="*/ 8743 h 9684"/>
                <a:gd name="connsiteX22" fmla="*/ 915 w 10000"/>
                <a:gd name="connsiteY22" fmla="*/ 8049 h 9684"/>
                <a:gd name="connsiteX23" fmla="*/ 848 w 10000"/>
                <a:gd name="connsiteY23" fmla="*/ 7610 h 9684"/>
                <a:gd name="connsiteX24" fmla="*/ 1307 w 10000"/>
                <a:gd name="connsiteY24" fmla="*/ 6664 h 9684"/>
                <a:gd name="connsiteX25" fmla="*/ 1960 w 10000"/>
                <a:gd name="connsiteY25" fmla="*/ 5846 h 9684"/>
                <a:gd name="connsiteX26" fmla="*/ 2420 w 10000"/>
                <a:gd name="connsiteY26" fmla="*/ 5659 h 9684"/>
                <a:gd name="connsiteX27" fmla="*/ 2744 w 10000"/>
                <a:gd name="connsiteY27" fmla="*/ 4904 h 9684"/>
                <a:gd name="connsiteX28" fmla="*/ 2744 w 10000"/>
                <a:gd name="connsiteY28" fmla="*/ 4212 h 9684"/>
                <a:gd name="connsiteX29" fmla="*/ 3201 w 10000"/>
                <a:gd name="connsiteY29" fmla="*/ 3397 h 9684"/>
                <a:gd name="connsiteX30" fmla="*/ 3987 w 10000"/>
                <a:gd name="connsiteY30" fmla="*/ 2893 h 9684"/>
                <a:gd name="connsiteX31" fmla="*/ 4772 w 10000"/>
                <a:gd name="connsiteY31" fmla="*/ 1573 h 9684"/>
                <a:gd name="connsiteX32" fmla="*/ 4836 w 10000"/>
                <a:gd name="connsiteY32" fmla="*/ 1573 h 9684"/>
                <a:gd name="connsiteX33" fmla="*/ 5425 w 10000"/>
                <a:gd name="connsiteY33" fmla="*/ 1071 h 9684"/>
                <a:gd name="connsiteX34" fmla="*/ 6470 w 10000"/>
                <a:gd name="connsiteY34" fmla="*/ 941 h 9684"/>
                <a:gd name="connsiteX35" fmla="*/ 7449 w 10000"/>
                <a:gd name="connsiteY35" fmla="*/ 59 h 9684"/>
                <a:gd name="connsiteX0" fmla="*/ 7449 w 10000"/>
                <a:gd name="connsiteY0" fmla="*/ 0 h 9939"/>
                <a:gd name="connsiteX1" fmla="*/ 10000 w 10000"/>
                <a:gd name="connsiteY1" fmla="*/ 1563 h 9939"/>
                <a:gd name="connsiteX2" fmla="*/ 9801 w 10000"/>
                <a:gd name="connsiteY2" fmla="*/ 1563 h 9939"/>
                <a:gd name="connsiteX3" fmla="*/ 9801 w 10000"/>
                <a:gd name="connsiteY3" fmla="*/ 1563 h 9939"/>
                <a:gd name="connsiteX4" fmla="*/ 9801 w 10000"/>
                <a:gd name="connsiteY4" fmla="*/ 2278 h 9939"/>
                <a:gd name="connsiteX5" fmla="*/ 9084 w 10000"/>
                <a:gd name="connsiteY5" fmla="*/ 2337 h 9939"/>
                <a:gd name="connsiteX6" fmla="*/ 8689 w 10000"/>
                <a:gd name="connsiteY6" fmla="*/ 2599 h 9939"/>
                <a:gd name="connsiteX7" fmla="*/ 8170 w 10000"/>
                <a:gd name="connsiteY7" fmla="*/ 2599 h 9939"/>
                <a:gd name="connsiteX8" fmla="*/ 7776 w 10000"/>
                <a:gd name="connsiteY8" fmla="*/ 2470 h 9939"/>
                <a:gd name="connsiteX9" fmla="*/ 6795 w 10000"/>
                <a:gd name="connsiteY9" fmla="*/ 2599 h 9939"/>
                <a:gd name="connsiteX10" fmla="*/ 6406 w 10000"/>
                <a:gd name="connsiteY10" fmla="*/ 3637 h 9939"/>
                <a:gd name="connsiteX11" fmla="*/ 6012 w 10000"/>
                <a:gd name="connsiteY11" fmla="*/ 3767 h 9939"/>
                <a:gd name="connsiteX12" fmla="*/ 5425 w 10000"/>
                <a:gd name="connsiteY12" fmla="*/ 5459 h 9939"/>
                <a:gd name="connsiteX13" fmla="*/ 3789 w 10000"/>
                <a:gd name="connsiteY13" fmla="*/ 6889 h 9939"/>
                <a:gd name="connsiteX14" fmla="*/ 3333 w 10000"/>
                <a:gd name="connsiteY14" fmla="*/ 8770 h 9939"/>
                <a:gd name="connsiteX15" fmla="*/ 2808 w 10000"/>
                <a:gd name="connsiteY15" fmla="*/ 9359 h 9939"/>
                <a:gd name="connsiteX16" fmla="*/ 2681 w 10000"/>
                <a:gd name="connsiteY16" fmla="*/ 9873 h 9939"/>
                <a:gd name="connsiteX17" fmla="*/ 0 w 10000"/>
                <a:gd name="connsiteY17" fmla="*/ 9939 h 9939"/>
                <a:gd name="connsiteX18" fmla="*/ 0 w 10000"/>
                <a:gd name="connsiteY18" fmla="*/ 9939 h 9939"/>
                <a:gd name="connsiteX19" fmla="*/ 64 w 10000"/>
                <a:gd name="connsiteY19" fmla="*/ 9359 h 9939"/>
                <a:gd name="connsiteX20" fmla="*/ 523 w 10000"/>
                <a:gd name="connsiteY20" fmla="*/ 8967 h 9939"/>
                <a:gd name="connsiteX21" fmla="*/ 915 w 10000"/>
                <a:gd name="connsiteY21" fmla="*/ 8251 h 9939"/>
                <a:gd name="connsiteX22" fmla="*/ 848 w 10000"/>
                <a:gd name="connsiteY22" fmla="*/ 7797 h 9939"/>
                <a:gd name="connsiteX23" fmla="*/ 1307 w 10000"/>
                <a:gd name="connsiteY23" fmla="*/ 6820 h 9939"/>
                <a:gd name="connsiteX24" fmla="*/ 1960 w 10000"/>
                <a:gd name="connsiteY24" fmla="*/ 5976 h 9939"/>
                <a:gd name="connsiteX25" fmla="*/ 2420 w 10000"/>
                <a:gd name="connsiteY25" fmla="*/ 5783 h 9939"/>
                <a:gd name="connsiteX26" fmla="*/ 2744 w 10000"/>
                <a:gd name="connsiteY26" fmla="*/ 5003 h 9939"/>
                <a:gd name="connsiteX27" fmla="*/ 2744 w 10000"/>
                <a:gd name="connsiteY27" fmla="*/ 4288 h 9939"/>
                <a:gd name="connsiteX28" fmla="*/ 3201 w 10000"/>
                <a:gd name="connsiteY28" fmla="*/ 3447 h 9939"/>
                <a:gd name="connsiteX29" fmla="*/ 3987 w 10000"/>
                <a:gd name="connsiteY29" fmla="*/ 2926 h 9939"/>
                <a:gd name="connsiteX30" fmla="*/ 4772 w 10000"/>
                <a:gd name="connsiteY30" fmla="*/ 1563 h 9939"/>
                <a:gd name="connsiteX31" fmla="*/ 4836 w 10000"/>
                <a:gd name="connsiteY31" fmla="*/ 1563 h 9939"/>
                <a:gd name="connsiteX32" fmla="*/ 5425 w 10000"/>
                <a:gd name="connsiteY32" fmla="*/ 1045 h 9939"/>
                <a:gd name="connsiteX33" fmla="*/ 6470 w 10000"/>
                <a:gd name="connsiteY33" fmla="*/ 911 h 9939"/>
                <a:gd name="connsiteX34" fmla="*/ 7449 w 10000"/>
                <a:gd name="connsiteY34" fmla="*/ 0 h 9939"/>
                <a:gd name="connsiteX0" fmla="*/ 6470 w 10000"/>
                <a:gd name="connsiteY0" fmla="*/ 0 h 9083"/>
                <a:gd name="connsiteX1" fmla="*/ 10000 w 10000"/>
                <a:gd name="connsiteY1" fmla="*/ 656 h 9083"/>
                <a:gd name="connsiteX2" fmla="*/ 9801 w 10000"/>
                <a:gd name="connsiteY2" fmla="*/ 656 h 9083"/>
                <a:gd name="connsiteX3" fmla="*/ 9801 w 10000"/>
                <a:gd name="connsiteY3" fmla="*/ 656 h 9083"/>
                <a:gd name="connsiteX4" fmla="*/ 9801 w 10000"/>
                <a:gd name="connsiteY4" fmla="*/ 1375 h 9083"/>
                <a:gd name="connsiteX5" fmla="*/ 9084 w 10000"/>
                <a:gd name="connsiteY5" fmla="*/ 1434 h 9083"/>
                <a:gd name="connsiteX6" fmla="*/ 8689 w 10000"/>
                <a:gd name="connsiteY6" fmla="*/ 1698 h 9083"/>
                <a:gd name="connsiteX7" fmla="*/ 8170 w 10000"/>
                <a:gd name="connsiteY7" fmla="*/ 1698 h 9083"/>
                <a:gd name="connsiteX8" fmla="*/ 7776 w 10000"/>
                <a:gd name="connsiteY8" fmla="*/ 1568 h 9083"/>
                <a:gd name="connsiteX9" fmla="*/ 6795 w 10000"/>
                <a:gd name="connsiteY9" fmla="*/ 1698 h 9083"/>
                <a:gd name="connsiteX10" fmla="*/ 6406 w 10000"/>
                <a:gd name="connsiteY10" fmla="*/ 2742 h 9083"/>
                <a:gd name="connsiteX11" fmla="*/ 6012 w 10000"/>
                <a:gd name="connsiteY11" fmla="*/ 2873 h 9083"/>
                <a:gd name="connsiteX12" fmla="*/ 5425 w 10000"/>
                <a:gd name="connsiteY12" fmla="*/ 4576 h 9083"/>
                <a:gd name="connsiteX13" fmla="*/ 3789 w 10000"/>
                <a:gd name="connsiteY13" fmla="*/ 6014 h 9083"/>
                <a:gd name="connsiteX14" fmla="*/ 3333 w 10000"/>
                <a:gd name="connsiteY14" fmla="*/ 7907 h 9083"/>
                <a:gd name="connsiteX15" fmla="*/ 2808 w 10000"/>
                <a:gd name="connsiteY15" fmla="*/ 8499 h 9083"/>
                <a:gd name="connsiteX16" fmla="*/ 2681 w 10000"/>
                <a:gd name="connsiteY16" fmla="*/ 9017 h 9083"/>
                <a:gd name="connsiteX17" fmla="*/ 0 w 10000"/>
                <a:gd name="connsiteY17" fmla="*/ 9083 h 9083"/>
                <a:gd name="connsiteX18" fmla="*/ 0 w 10000"/>
                <a:gd name="connsiteY18" fmla="*/ 9083 h 9083"/>
                <a:gd name="connsiteX19" fmla="*/ 64 w 10000"/>
                <a:gd name="connsiteY19" fmla="*/ 8499 h 9083"/>
                <a:gd name="connsiteX20" fmla="*/ 523 w 10000"/>
                <a:gd name="connsiteY20" fmla="*/ 8105 h 9083"/>
                <a:gd name="connsiteX21" fmla="*/ 915 w 10000"/>
                <a:gd name="connsiteY21" fmla="*/ 7385 h 9083"/>
                <a:gd name="connsiteX22" fmla="*/ 848 w 10000"/>
                <a:gd name="connsiteY22" fmla="*/ 6928 h 9083"/>
                <a:gd name="connsiteX23" fmla="*/ 1307 w 10000"/>
                <a:gd name="connsiteY23" fmla="*/ 5945 h 9083"/>
                <a:gd name="connsiteX24" fmla="*/ 1960 w 10000"/>
                <a:gd name="connsiteY24" fmla="*/ 5096 h 9083"/>
                <a:gd name="connsiteX25" fmla="*/ 2420 w 10000"/>
                <a:gd name="connsiteY25" fmla="*/ 4901 h 9083"/>
                <a:gd name="connsiteX26" fmla="*/ 2744 w 10000"/>
                <a:gd name="connsiteY26" fmla="*/ 4117 h 9083"/>
                <a:gd name="connsiteX27" fmla="*/ 2744 w 10000"/>
                <a:gd name="connsiteY27" fmla="*/ 3397 h 9083"/>
                <a:gd name="connsiteX28" fmla="*/ 3201 w 10000"/>
                <a:gd name="connsiteY28" fmla="*/ 2551 h 9083"/>
                <a:gd name="connsiteX29" fmla="*/ 3987 w 10000"/>
                <a:gd name="connsiteY29" fmla="*/ 2027 h 9083"/>
                <a:gd name="connsiteX30" fmla="*/ 4772 w 10000"/>
                <a:gd name="connsiteY30" fmla="*/ 656 h 9083"/>
                <a:gd name="connsiteX31" fmla="*/ 4836 w 10000"/>
                <a:gd name="connsiteY31" fmla="*/ 656 h 9083"/>
                <a:gd name="connsiteX32" fmla="*/ 5425 w 10000"/>
                <a:gd name="connsiteY32" fmla="*/ 134 h 9083"/>
                <a:gd name="connsiteX33" fmla="*/ 6470 w 10000"/>
                <a:gd name="connsiteY33" fmla="*/ 0 h 9083"/>
                <a:gd name="connsiteX0" fmla="*/ 5425 w 10000"/>
                <a:gd name="connsiteY0" fmla="*/ 0 h 9852"/>
                <a:gd name="connsiteX1" fmla="*/ 10000 w 10000"/>
                <a:gd name="connsiteY1" fmla="*/ 574 h 9852"/>
                <a:gd name="connsiteX2" fmla="*/ 9801 w 10000"/>
                <a:gd name="connsiteY2" fmla="*/ 574 h 9852"/>
                <a:gd name="connsiteX3" fmla="*/ 9801 w 10000"/>
                <a:gd name="connsiteY3" fmla="*/ 574 h 9852"/>
                <a:gd name="connsiteX4" fmla="*/ 9801 w 10000"/>
                <a:gd name="connsiteY4" fmla="*/ 1366 h 9852"/>
                <a:gd name="connsiteX5" fmla="*/ 9084 w 10000"/>
                <a:gd name="connsiteY5" fmla="*/ 1431 h 9852"/>
                <a:gd name="connsiteX6" fmla="*/ 8689 w 10000"/>
                <a:gd name="connsiteY6" fmla="*/ 1721 h 9852"/>
                <a:gd name="connsiteX7" fmla="*/ 8170 w 10000"/>
                <a:gd name="connsiteY7" fmla="*/ 1721 h 9852"/>
                <a:gd name="connsiteX8" fmla="*/ 7776 w 10000"/>
                <a:gd name="connsiteY8" fmla="*/ 1578 h 9852"/>
                <a:gd name="connsiteX9" fmla="*/ 6795 w 10000"/>
                <a:gd name="connsiteY9" fmla="*/ 1721 h 9852"/>
                <a:gd name="connsiteX10" fmla="*/ 6406 w 10000"/>
                <a:gd name="connsiteY10" fmla="*/ 2871 h 9852"/>
                <a:gd name="connsiteX11" fmla="*/ 6012 w 10000"/>
                <a:gd name="connsiteY11" fmla="*/ 3015 h 9852"/>
                <a:gd name="connsiteX12" fmla="*/ 5425 w 10000"/>
                <a:gd name="connsiteY12" fmla="*/ 4890 h 9852"/>
                <a:gd name="connsiteX13" fmla="*/ 3789 w 10000"/>
                <a:gd name="connsiteY13" fmla="*/ 6473 h 9852"/>
                <a:gd name="connsiteX14" fmla="*/ 3333 w 10000"/>
                <a:gd name="connsiteY14" fmla="*/ 8557 h 9852"/>
                <a:gd name="connsiteX15" fmla="*/ 2808 w 10000"/>
                <a:gd name="connsiteY15" fmla="*/ 9209 h 9852"/>
                <a:gd name="connsiteX16" fmla="*/ 2681 w 10000"/>
                <a:gd name="connsiteY16" fmla="*/ 9779 h 9852"/>
                <a:gd name="connsiteX17" fmla="*/ 0 w 10000"/>
                <a:gd name="connsiteY17" fmla="*/ 9852 h 9852"/>
                <a:gd name="connsiteX18" fmla="*/ 0 w 10000"/>
                <a:gd name="connsiteY18" fmla="*/ 9852 h 9852"/>
                <a:gd name="connsiteX19" fmla="*/ 64 w 10000"/>
                <a:gd name="connsiteY19" fmla="*/ 9209 h 9852"/>
                <a:gd name="connsiteX20" fmla="*/ 523 w 10000"/>
                <a:gd name="connsiteY20" fmla="*/ 8775 h 9852"/>
                <a:gd name="connsiteX21" fmla="*/ 915 w 10000"/>
                <a:gd name="connsiteY21" fmla="*/ 7983 h 9852"/>
                <a:gd name="connsiteX22" fmla="*/ 848 w 10000"/>
                <a:gd name="connsiteY22" fmla="*/ 7479 h 9852"/>
                <a:gd name="connsiteX23" fmla="*/ 1307 w 10000"/>
                <a:gd name="connsiteY23" fmla="*/ 6397 h 9852"/>
                <a:gd name="connsiteX24" fmla="*/ 1960 w 10000"/>
                <a:gd name="connsiteY24" fmla="*/ 5462 h 9852"/>
                <a:gd name="connsiteX25" fmla="*/ 2420 w 10000"/>
                <a:gd name="connsiteY25" fmla="*/ 5248 h 9852"/>
                <a:gd name="connsiteX26" fmla="*/ 2744 w 10000"/>
                <a:gd name="connsiteY26" fmla="*/ 4385 h 9852"/>
                <a:gd name="connsiteX27" fmla="*/ 2744 w 10000"/>
                <a:gd name="connsiteY27" fmla="*/ 3592 h 9852"/>
                <a:gd name="connsiteX28" fmla="*/ 3201 w 10000"/>
                <a:gd name="connsiteY28" fmla="*/ 2661 h 9852"/>
                <a:gd name="connsiteX29" fmla="*/ 3987 w 10000"/>
                <a:gd name="connsiteY29" fmla="*/ 2084 h 9852"/>
                <a:gd name="connsiteX30" fmla="*/ 4772 w 10000"/>
                <a:gd name="connsiteY30" fmla="*/ 574 h 9852"/>
                <a:gd name="connsiteX31" fmla="*/ 4836 w 10000"/>
                <a:gd name="connsiteY31" fmla="*/ 574 h 9852"/>
                <a:gd name="connsiteX32" fmla="*/ 5425 w 10000"/>
                <a:gd name="connsiteY32" fmla="*/ 0 h 9852"/>
                <a:gd name="connsiteX0" fmla="*/ 4836 w 10000"/>
                <a:gd name="connsiteY0" fmla="*/ 0 h 9417"/>
                <a:gd name="connsiteX1" fmla="*/ 10000 w 10000"/>
                <a:gd name="connsiteY1" fmla="*/ 0 h 9417"/>
                <a:gd name="connsiteX2" fmla="*/ 9801 w 10000"/>
                <a:gd name="connsiteY2" fmla="*/ 0 h 9417"/>
                <a:gd name="connsiteX3" fmla="*/ 9801 w 10000"/>
                <a:gd name="connsiteY3" fmla="*/ 0 h 9417"/>
                <a:gd name="connsiteX4" fmla="*/ 9801 w 10000"/>
                <a:gd name="connsiteY4" fmla="*/ 804 h 9417"/>
                <a:gd name="connsiteX5" fmla="*/ 9084 w 10000"/>
                <a:gd name="connsiteY5" fmla="*/ 869 h 9417"/>
                <a:gd name="connsiteX6" fmla="*/ 8689 w 10000"/>
                <a:gd name="connsiteY6" fmla="*/ 1164 h 9417"/>
                <a:gd name="connsiteX7" fmla="*/ 8170 w 10000"/>
                <a:gd name="connsiteY7" fmla="*/ 1164 h 9417"/>
                <a:gd name="connsiteX8" fmla="*/ 7776 w 10000"/>
                <a:gd name="connsiteY8" fmla="*/ 1019 h 9417"/>
                <a:gd name="connsiteX9" fmla="*/ 6795 w 10000"/>
                <a:gd name="connsiteY9" fmla="*/ 1164 h 9417"/>
                <a:gd name="connsiteX10" fmla="*/ 6406 w 10000"/>
                <a:gd name="connsiteY10" fmla="*/ 2331 h 9417"/>
                <a:gd name="connsiteX11" fmla="*/ 6012 w 10000"/>
                <a:gd name="connsiteY11" fmla="*/ 2477 h 9417"/>
                <a:gd name="connsiteX12" fmla="*/ 5425 w 10000"/>
                <a:gd name="connsiteY12" fmla="*/ 4380 h 9417"/>
                <a:gd name="connsiteX13" fmla="*/ 3789 w 10000"/>
                <a:gd name="connsiteY13" fmla="*/ 5987 h 9417"/>
                <a:gd name="connsiteX14" fmla="*/ 3333 w 10000"/>
                <a:gd name="connsiteY14" fmla="*/ 8103 h 9417"/>
                <a:gd name="connsiteX15" fmla="*/ 2808 w 10000"/>
                <a:gd name="connsiteY15" fmla="*/ 8764 h 9417"/>
                <a:gd name="connsiteX16" fmla="*/ 2681 w 10000"/>
                <a:gd name="connsiteY16" fmla="*/ 9343 h 9417"/>
                <a:gd name="connsiteX17" fmla="*/ 0 w 10000"/>
                <a:gd name="connsiteY17" fmla="*/ 9417 h 9417"/>
                <a:gd name="connsiteX18" fmla="*/ 0 w 10000"/>
                <a:gd name="connsiteY18" fmla="*/ 9417 h 9417"/>
                <a:gd name="connsiteX19" fmla="*/ 64 w 10000"/>
                <a:gd name="connsiteY19" fmla="*/ 8764 h 9417"/>
                <a:gd name="connsiteX20" fmla="*/ 523 w 10000"/>
                <a:gd name="connsiteY20" fmla="*/ 8324 h 9417"/>
                <a:gd name="connsiteX21" fmla="*/ 915 w 10000"/>
                <a:gd name="connsiteY21" fmla="*/ 7520 h 9417"/>
                <a:gd name="connsiteX22" fmla="*/ 848 w 10000"/>
                <a:gd name="connsiteY22" fmla="*/ 7008 h 9417"/>
                <a:gd name="connsiteX23" fmla="*/ 1307 w 10000"/>
                <a:gd name="connsiteY23" fmla="*/ 5910 h 9417"/>
                <a:gd name="connsiteX24" fmla="*/ 1960 w 10000"/>
                <a:gd name="connsiteY24" fmla="*/ 4961 h 9417"/>
                <a:gd name="connsiteX25" fmla="*/ 2420 w 10000"/>
                <a:gd name="connsiteY25" fmla="*/ 4744 h 9417"/>
                <a:gd name="connsiteX26" fmla="*/ 2744 w 10000"/>
                <a:gd name="connsiteY26" fmla="*/ 3868 h 9417"/>
                <a:gd name="connsiteX27" fmla="*/ 2744 w 10000"/>
                <a:gd name="connsiteY27" fmla="*/ 3063 h 9417"/>
                <a:gd name="connsiteX28" fmla="*/ 3201 w 10000"/>
                <a:gd name="connsiteY28" fmla="*/ 2118 h 9417"/>
                <a:gd name="connsiteX29" fmla="*/ 3987 w 10000"/>
                <a:gd name="connsiteY29" fmla="*/ 1532 h 9417"/>
                <a:gd name="connsiteX30" fmla="*/ 4772 w 10000"/>
                <a:gd name="connsiteY30" fmla="*/ 0 h 9417"/>
                <a:gd name="connsiteX31" fmla="*/ 4836 w 10000"/>
                <a:gd name="connsiteY31" fmla="*/ 0 h 9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0000" h="9417">
                  <a:moveTo>
                    <a:pt x="4836" y="0"/>
                  </a:moveTo>
                  <a:lnTo>
                    <a:pt x="10000" y="0"/>
                  </a:lnTo>
                  <a:lnTo>
                    <a:pt x="9801" y="0"/>
                  </a:lnTo>
                  <a:lnTo>
                    <a:pt x="9801" y="0"/>
                  </a:lnTo>
                  <a:lnTo>
                    <a:pt x="9801" y="804"/>
                  </a:lnTo>
                  <a:lnTo>
                    <a:pt x="9084" y="869"/>
                  </a:lnTo>
                  <a:lnTo>
                    <a:pt x="8689" y="1164"/>
                  </a:lnTo>
                  <a:lnTo>
                    <a:pt x="8170" y="1164"/>
                  </a:lnTo>
                  <a:lnTo>
                    <a:pt x="7776" y="1019"/>
                  </a:lnTo>
                  <a:lnTo>
                    <a:pt x="6795" y="1164"/>
                  </a:lnTo>
                  <a:cubicBezTo>
                    <a:pt x="6667" y="1555"/>
                    <a:pt x="6538" y="1943"/>
                    <a:pt x="6406" y="2331"/>
                  </a:cubicBezTo>
                  <a:lnTo>
                    <a:pt x="6012" y="2477"/>
                  </a:lnTo>
                  <a:lnTo>
                    <a:pt x="5425" y="4380"/>
                  </a:lnTo>
                  <a:lnTo>
                    <a:pt x="3789" y="5987"/>
                  </a:lnTo>
                  <a:cubicBezTo>
                    <a:pt x="3641" y="6693"/>
                    <a:pt x="3485" y="7399"/>
                    <a:pt x="3333" y="8103"/>
                  </a:cubicBezTo>
                  <a:lnTo>
                    <a:pt x="2808" y="8764"/>
                  </a:lnTo>
                  <a:cubicBezTo>
                    <a:pt x="2765" y="8951"/>
                    <a:pt x="2725" y="9147"/>
                    <a:pt x="2681" y="9343"/>
                  </a:cubicBezTo>
                  <a:lnTo>
                    <a:pt x="0" y="9417"/>
                  </a:lnTo>
                  <a:lnTo>
                    <a:pt x="0" y="9417"/>
                  </a:lnTo>
                  <a:cubicBezTo>
                    <a:pt x="21" y="9202"/>
                    <a:pt x="43" y="8977"/>
                    <a:pt x="64" y="8764"/>
                  </a:cubicBezTo>
                  <a:lnTo>
                    <a:pt x="523" y="8324"/>
                  </a:lnTo>
                  <a:cubicBezTo>
                    <a:pt x="655" y="8058"/>
                    <a:pt x="784" y="7789"/>
                    <a:pt x="915" y="7520"/>
                  </a:cubicBezTo>
                  <a:cubicBezTo>
                    <a:pt x="894" y="7345"/>
                    <a:pt x="872" y="7184"/>
                    <a:pt x="848" y="7008"/>
                  </a:cubicBezTo>
                  <a:lnTo>
                    <a:pt x="1307" y="5910"/>
                  </a:lnTo>
                  <a:lnTo>
                    <a:pt x="1960" y="4961"/>
                  </a:lnTo>
                  <a:lnTo>
                    <a:pt x="2420" y="4744"/>
                  </a:lnTo>
                  <a:cubicBezTo>
                    <a:pt x="2527" y="4450"/>
                    <a:pt x="2637" y="4159"/>
                    <a:pt x="2744" y="3868"/>
                  </a:cubicBezTo>
                  <a:lnTo>
                    <a:pt x="2744" y="3063"/>
                  </a:lnTo>
                  <a:lnTo>
                    <a:pt x="3201" y="2118"/>
                  </a:lnTo>
                  <a:lnTo>
                    <a:pt x="3987" y="1532"/>
                  </a:lnTo>
                  <a:lnTo>
                    <a:pt x="4772" y="0"/>
                  </a:lnTo>
                  <a:lnTo>
                    <a:pt x="4836" y="0"/>
                  </a:lnTo>
                  <a:close/>
                </a:path>
              </a:pathLst>
            </a:custGeom>
            <a:solidFill>
              <a:srgbClr val="0052A4"/>
            </a:solidFill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hu-HU">
                <a:solidFill>
                  <a:srgbClr val="323232"/>
                </a:solidFill>
                <a:latin typeface="Arial"/>
              </a:endParaRPr>
            </a:p>
          </p:txBody>
        </p:sp>
      </p:grpSp>
      <p:sp>
        <p:nvSpPr>
          <p:cNvPr id="225" name="Rectangle 224">
            <a:extLst>
              <a:ext uri="{FF2B5EF4-FFF2-40B4-BE49-F238E27FC236}">
                <a16:creationId xmlns:a16="http://schemas.microsoft.com/office/drawing/2014/main" id="{9CD2A2DD-9904-418F-A5C7-B1489DFD110D}"/>
              </a:ext>
            </a:extLst>
          </p:cNvPr>
          <p:cNvSpPr/>
          <p:nvPr/>
        </p:nvSpPr>
        <p:spPr>
          <a:xfrm>
            <a:off x="413214" y="4070955"/>
            <a:ext cx="2792324" cy="682238"/>
          </a:xfrm>
          <a:prstGeom prst="rect">
            <a:avLst/>
          </a:prstGeom>
          <a:solidFill>
            <a:srgbClr val="19B6F1"/>
          </a:solidFill>
        </p:spPr>
        <p:txBody>
          <a:bodyPr wrap="square">
            <a:spAutoFit/>
          </a:bodyPr>
          <a:lstStyle/>
          <a:p>
            <a:pPr>
              <a:lnSpc>
                <a:spcPts val="2250"/>
              </a:lnSpc>
              <a:buClr>
                <a:schemeClr val="accent2"/>
              </a:buClr>
            </a:pPr>
            <a:r>
              <a:rPr lang="en-US" sz="1500" b="1" dirty="0">
                <a:solidFill>
                  <a:schemeClr val="bg1"/>
                </a:solidFill>
                <a:latin typeface="Corbel" panose="020B0503020204020204" pitchFamily="34" charset="0"/>
              </a:rPr>
              <a:t>Active in over </a:t>
            </a:r>
          </a:p>
          <a:p>
            <a:pPr>
              <a:lnSpc>
                <a:spcPts val="2250"/>
              </a:lnSpc>
              <a:buClr>
                <a:schemeClr val="accent2"/>
              </a:buClr>
            </a:pPr>
            <a:r>
              <a:rPr lang="en-US" sz="3000" b="1" dirty="0">
                <a:solidFill>
                  <a:schemeClr val="bg1"/>
                </a:solidFill>
                <a:latin typeface="Corbel" panose="020B0503020204020204" pitchFamily="34" charset="0"/>
              </a:rPr>
              <a:t>100 countries</a:t>
            </a:r>
            <a:endParaRPr lang="en-US" sz="1500" b="1" dirty="0">
              <a:solidFill>
                <a:schemeClr val="bg1"/>
              </a:solidFill>
              <a:latin typeface="Corbel" panose="020B0503020204020204" pitchFamily="34" charset="0"/>
            </a:endParaRP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E6263A2D-12F2-419C-97CC-D2F8C91419C8}"/>
              </a:ext>
            </a:extLst>
          </p:cNvPr>
          <p:cNvSpPr/>
          <p:nvPr/>
        </p:nvSpPr>
        <p:spPr>
          <a:xfrm>
            <a:off x="2" y="4012701"/>
            <a:ext cx="2517288" cy="57839"/>
          </a:xfrm>
          <a:prstGeom prst="rect">
            <a:avLst/>
          </a:prstGeom>
          <a:solidFill>
            <a:srgbClr val="FFD60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286" tIns="17143" rIns="34286" bIns="171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75" dirty="0"/>
          </a:p>
        </p:txBody>
      </p:sp>
      <p:sp>
        <p:nvSpPr>
          <p:cNvPr id="467" name="Rectangle 466">
            <a:extLst>
              <a:ext uri="{FF2B5EF4-FFF2-40B4-BE49-F238E27FC236}">
                <a16:creationId xmlns:a16="http://schemas.microsoft.com/office/drawing/2014/main" id="{27C7F4A6-6CEB-42A6-A8A3-6C39B4334854}"/>
              </a:ext>
            </a:extLst>
          </p:cNvPr>
          <p:cNvSpPr/>
          <p:nvPr/>
        </p:nvSpPr>
        <p:spPr>
          <a:xfrm>
            <a:off x="3449960" y="4284101"/>
            <a:ext cx="1317374" cy="37974"/>
          </a:xfrm>
          <a:prstGeom prst="rect">
            <a:avLst/>
          </a:prstGeom>
          <a:solidFill>
            <a:srgbClr val="FFD60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/>
            <a:r>
              <a:rPr lang="en-US" sz="1350">
                <a:solidFill>
                  <a:schemeClr val="tx1"/>
                </a:solidFill>
              </a:rPr>
              <a:t>`</a:t>
            </a:r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468" name="Rectangle 467">
            <a:extLst>
              <a:ext uri="{FF2B5EF4-FFF2-40B4-BE49-F238E27FC236}">
                <a16:creationId xmlns:a16="http://schemas.microsoft.com/office/drawing/2014/main" id="{6F375602-FF93-47F0-959D-D130521648E0}"/>
              </a:ext>
            </a:extLst>
          </p:cNvPr>
          <p:cNvSpPr/>
          <p:nvPr/>
        </p:nvSpPr>
        <p:spPr>
          <a:xfrm>
            <a:off x="3449959" y="4433473"/>
            <a:ext cx="480596" cy="34289"/>
          </a:xfrm>
          <a:prstGeom prst="rect">
            <a:avLst/>
          </a:prstGeom>
          <a:solidFill>
            <a:srgbClr val="FFD60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/>
            <a:endParaRPr lang="en-US" sz="1350" dirty="0">
              <a:solidFill>
                <a:schemeClr val="tx1"/>
              </a:solidFill>
            </a:endParaRPr>
          </a:p>
        </p:txBody>
      </p:sp>
      <p:sp>
        <p:nvSpPr>
          <p:cNvPr id="470" name="Oval 469">
            <a:extLst>
              <a:ext uri="{FF2B5EF4-FFF2-40B4-BE49-F238E27FC236}">
                <a16:creationId xmlns:a16="http://schemas.microsoft.com/office/drawing/2014/main" id="{9C151E9D-67EC-49C0-AFF7-FAB46FBB8072}"/>
              </a:ext>
            </a:extLst>
          </p:cNvPr>
          <p:cNvSpPr/>
          <p:nvPr/>
        </p:nvSpPr>
        <p:spPr>
          <a:xfrm>
            <a:off x="3300847" y="4228761"/>
            <a:ext cx="119042" cy="119042"/>
          </a:xfrm>
          <a:prstGeom prst="ellipse">
            <a:avLst/>
          </a:prstGeom>
          <a:solidFill>
            <a:srgbClr val="FFD606"/>
          </a:solidFill>
          <a:ln w="28575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/>
            <a:endParaRPr lang="en-US" sz="1350" dirty="0">
              <a:latin typeface="Corbel" panose="020B0503020204020204" pitchFamily="34" charset="0"/>
            </a:endParaRPr>
          </a:p>
        </p:txBody>
      </p:sp>
      <p:sp>
        <p:nvSpPr>
          <p:cNvPr id="471" name="TextBox 470">
            <a:extLst>
              <a:ext uri="{FF2B5EF4-FFF2-40B4-BE49-F238E27FC236}">
                <a16:creationId xmlns:a16="http://schemas.microsoft.com/office/drawing/2014/main" id="{DFD1BE76-7E05-4A5A-92A8-92851ED6F516}"/>
              </a:ext>
            </a:extLst>
          </p:cNvPr>
          <p:cNvSpPr txBox="1"/>
          <p:nvPr/>
        </p:nvSpPr>
        <p:spPr>
          <a:xfrm>
            <a:off x="3405792" y="4201797"/>
            <a:ext cx="1474135" cy="162018"/>
          </a:xfrm>
          <a:prstGeom prst="rect">
            <a:avLst/>
          </a:prstGeom>
          <a:noFill/>
          <a:effectLst/>
        </p:spPr>
        <p:txBody>
          <a:bodyPr wrap="square" rtlCol="0">
            <a:noAutofit/>
          </a:bodyPr>
          <a:lstStyle/>
          <a:p>
            <a:r>
              <a:rPr lang="en-US" sz="600" dirty="0">
                <a:latin typeface="Corbel" panose="020B0503020204020204" pitchFamily="34" charset="0"/>
              </a:rPr>
              <a:t>14 Founding IRU Members in 8 countries</a:t>
            </a:r>
          </a:p>
        </p:txBody>
      </p:sp>
      <p:sp>
        <p:nvSpPr>
          <p:cNvPr id="472" name="Oval 471">
            <a:extLst>
              <a:ext uri="{FF2B5EF4-FFF2-40B4-BE49-F238E27FC236}">
                <a16:creationId xmlns:a16="http://schemas.microsoft.com/office/drawing/2014/main" id="{06CF5918-782B-42CC-9299-B0C7C9AAC10A}"/>
              </a:ext>
            </a:extLst>
          </p:cNvPr>
          <p:cNvSpPr/>
          <p:nvPr/>
        </p:nvSpPr>
        <p:spPr>
          <a:xfrm>
            <a:off x="3300847" y="4375234"/>
            <a:ext cx="119042" cy="119042"/>
          </a:xfrm>
          <a:prstGeom prst="ellipse">
            <a:avLst/>
          </a:prstGeom>
          <a:solidFill>
            <a:srgbClr val="0C479D"/>
          </a:solidFill>
          <a:ln w="28575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/>
            <a:endParaRPr lang="en-US" sz="1350" dirty="0">
              <a:latin typeface="Corbel" panose="020B0503020204020204" pitchFamily="34" charset="0"/>
            </a:endParaRPr>
          </a:p>
        </p:txBody>
      </p:sp>
      <p:sp>
        <p:nvSpPr>
          <p:cNvPr id="473" name="TextBox 472">
            <a:extLst>
              <a:ext uri="{FF2B5EF4-FFF2-40B4-BE49-F238E27FC236}">
                <a16:creationId xmlns:a16="http://schemas.microsoft.com/office/drawing/2014/main" id="{A5EB67AA-83E6-461A-9127-2780F9C0AA56}"/>
              </a:ext>
            </a:extLst>
          </p:cNvPr>
          <p:cNvSpPr txBox="1"/>
          <p:nvPr/>
        </p:nvSpPr>
        <p:spPr>
          <a:xfrm>
            <a:off x="3405793" y="4347329"/>
            <a:ext cx="888905" cy="162018"/>
          </a:xfrm>
          <a:prstGeom prst="rect">
            <a:avLst/>
          </a:prstGeom>
          <a:noFill/>
          <a:effectLst/>
        </p:spPr>
        <p:txBody>
          <a:bodyPr wrap="square" rtlCol="0">
            <a:noAutofit/>
          </a:bodyPr>
          <a:lstStyle/>
          <a:p>
            <a:r>
              <a:rPr lang="en-US" sz="600" dirty="0">
                <a:latin typeface="Corbel" panose="020B0503020204020204" pitchFamily="34" charset="0"/>
              </a:rPr>
              <a:t>IRU Members</a:t>
            </a:r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C6733C31-27E5-1644-B2AF-017C6ECED483}"/>
              </a:ext>
            </a:extLst>
          </p:cNvPr>
          <p:cNvSpPr/>
          <p:nvPr/>
        </p:nvSpPr>
        <p:spPr>
          <a:xfrm>
            <a:off x="7529513" y="4393406"/>
            <a:ext cx="807244" cy="2514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350" b="1" dirty="0">
                <a:solidFill>
                  <a:schemeClr val="tx1"/>
                </a:solidFill>
                <a:latin typeface="Corbel" panose="020B0503020204020204" pitchFamily="34" charset="0"/>
              </a:rPr>
              <a:t>TODAY</a:t>
            </a:r>
          </a:p>
        </p:txBody>
      </p:sp>
    </p:spTree>
    <p:extLst>
      <p:ext uri="{BB962C8B-B14F-4D97-AF65-F5344CB8AC3E}">
        <p14:creationId xmlns:p14="http://schemas.microsoft.com/office/powerpoint/2010/main" val="494268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4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7" grpId="0" animBg="1"/>
      <p:bldP spid="468" grpId="0" animBg="1"/>
      <p:bldP spid="470" grpId="0" animBg="1"/>
      <p:bldP spid="471" grpId="0"/>
      <p:bldP spid="472" grpId="0" animBg="1"/>
      <p:bldP spid="47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EED1DCD-C941-9549-B073-54CE00B5DB0A}"/>
              </a:ext>
            </a:extLst>
          </p:cNvPr>
          <p:cNvSpPr/>
          <p:nvPr/>
        </p:nvSpPr>
        <p:spPr>
          <a:xfrm>
            <a:off x="2696869" y="1170797"/>
            <a:ext cx="5459252" cy="345835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GB" sz="1350">
              <a:solidFill>
                <a:srgbClr val="FFFFFF"/>
              </a:solidFill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00577290-3CB4-154E-9506-A17157A139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71620"/>
            <a:ext cx="3596617" cy="644004"/>
          </a:xfrm>
        </p:spPr>
        <p:txBody>
          <a:bodyPr/>
          <a:lstStyle/>
          <a:p>
            <a:r>
              <a:rPr lang="de-DE" dirty="0"/>
              <a:t>  TIR </a:t>
            </a:r>
            <a:r>
              <a:rPr lang="de-DE" dirty="0" err="1"/>
              <a:t>Digitalisation</a:t>
            </a:r>
            <a:r>
              <a:rPr lang="de-DE" dirty="0"/>
              <a:t>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1E94BEC-0B2B-7340-8CD1-812E05C64C8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-1" y="788199"/>
            <a:ext cx="1809200" cy="571301"/>
          </a:xfrm>
        </p:spPr>
        <p:txBody>
          <a:bodyPr/>
          <a:lstStyle/>
          <a:p>
            <a:r>
              <a:rPr lang="de-DE" dirty="0"/>
              <a:t> </a:t>
            </a:r>
            <a:r>
              <a:rPr lang="de-DE" dirty="0" err="1"/>
              <a:t>History</a:t>
            </a:r>
            <a:r>
              <a:rPr lang="de-DE" dirty="0"/>
              <a:t> 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4712063B-6745-CE48-9BAD-64E14C7BD161}"/>
              </a:ext>
            </a:extLst>
          </p:cNvPr>
          <p:cNvSpPr txBox="1">
            <a:spLocks noGrp="1"/>
          </p:cNvSpPr>
          <p:nvPr>
            <p:ph sz="quarter" idx="16"/>
          </p:nvPr>
        </p:nvSpPr>
        <p:spPr>
          <a:xfrm>
            <a:off x="2723708" y="1422947"/>
            <a:ext cx="5384210" cy="52568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lIns="68580" tIns="34290" rIns="68580" bIns="3429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0075" indent="-2571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Corbel" panose="020B0503020204020204" pitchFamily="34" charset="0"/>
              </a:rPr>
              <a:t>IRU </a:t>
            </a:r>
            <a:r>
              <a:rPr lang="en-US" sz="1200" dirty="0" err="1">
                <a:latin typeface="Corbel" panose="020B0503020204020204" pitchFamily="34" charset="0"/>
              </a:rPr>
              <a:t>digitalising</a:t>
            </a:r>
            <a:r>
              <a:rPr lang="en-US" sz="1200" dirty="0">
                <a:latin typeface="Corbel" panose="020B0503020204020204" pitchFamily="34" charset="0"/>
              </a:rPr>
              <a:t> B2B aspects of TIR</a:t>
            </a:r>
          </a:p>
          <a:p>
            <a:pPr lvl="1">
              <a:buClrTx/>
            </a:pPr>
            <a:r>
              <a:rPr lang="en-US" sz="900" dirty="0">
                <a:latin typeface="Corbel" panose="020B0503020204020204" pitchFamily="34" charset="0"/>
              </a:rPr>
              <a:t>TIR carnets management</a:t>
            </a:r>
          </a:p>
          <a:p>
            <a:pPr lvl="1">
              <a:buClrTx/>
            </a:pPr>
            <a:r>
              <a:rPr lang="en-US" sz="900" dirty="0">
                <a:latin typeface="Corbel" panose="020B0503020204020204" pitchFamily="34" charset="0"/>
              </a:rPr>
              <a:t>Data exchange with TIR associations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74D5786-BFA1-8249-A63B-B76EC975789C}"/>
              </a:ext>
            </a:extLst>
          </p:cNvPr>
          <p:cNvSpPr txBox="1">
            <a:spLocks/>
          </p:cNvSpPr>
          <p:nvPr/>
        </p:nvSpPr>
        <p:spPr>
          <a:xfrm>
            <a:off x="2726972" y="3449847"/>
            <a:ext cx="5383684" cy="41809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lIns="68580" tIns="34290" rIns="68580" bIns="3429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0075" indent="-2571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21469" lvl="3">
              <a:buClr>
                <a:srgbClr val="FFFFFF"/>
              </a:buClr>
            </a:pPr>
            <a:r>
              <a:rPr lang="en-US" sz="750" dirty="0">
                <a:solidFill>
                  <a:srgbClr val="323232"/>
                </a:solidFill>
              </a:rPr>
              <a:t>First </a:t>
            </a:r>
            <a:r>
              <a:rPr lang="en-US" sz="750" dirty="0" err="1">
                <a:solidFill>
                  <a:srgbClr val="323232"/>
                </a:solidFill>
              </a:rPr>
              <a:t>eTIR</a:t>
            </a:r>
            <a:r>
              <a:rPr lang="en-US" sz="750" dirty="0">
                <a:solidFill>
                  <a:srgbClr val="323232"/>
                </a:solidFill>
              </a:rPr>
              <a:t> transport between Turkey and Iran in 2015</a:t>
            </a:r>
          </a:p>
          <a:p>
            <a:pPr marL="470297" lvl="1" indent="-202406">
              <a:buClrTx/>
            </a:pPr>
            <a:endParaRPr lang="en-GB" sz="900" dirty="0">
              <a:solidFill>
                <a:srgbClr val="323232"/>
              </a:solidFill>
            </a:endParaRPr>
          </a:p>
          <a:p>
            <a:pPr marL="534988" lvl="1" indent="-266700">
              <a:buClrTx/>
            </a:pPr>
            <a:r>
              <a:rPr lang="en-GB" sz="900" dirty="0">
                <a:solidFill>
                  <a:srgbClr val="323232"/>
                </a:solidFill>
              </a:rPr>
              <a:t>2015: UNECE-IRU </a:t>
            </a:r>
            <a:r>
              <a:rPr lang="en-GB" sz="900" dirty="0" err="1">
                <a:solidFill>
                  <a:srgbClr val="323232"/>
                </a:solidFill>
              </a:rPr>
              <a:t>eTIR</a:t>
            </a:r>
            <a:r>
              <a:rPr lang="en-GB" sz="900" dirty="0">
                <a:solidFill>
                  <a:srgbClr val="323232"/>
                </a:solidFill>
              </a:rPr>
              <a:t> pilot project between Turkey and Iran </a:t>
            </a:r>
          </a:p>
          <a:p>
            <a:pPr marL="534988" lvl="1" indent="-266700">
              <a:buClrTx/>
            </a:pPr>
            <a:r>
              <a:rPr lang="en-GB" sz="900" dirty="0">
                <a:solidFill>
                  <a:srgbClr val="323232"/>
                </a:solidFill>
              </a:rPr>
              <a:t>2019: </a:t>
            </a:r>
            <a:r>
              <a:rPr lang="en-GB" sz="900" dirty="0" err="1">
                <a:solidFill>
                  <a:srgbClr val="323232"/>
                </a:solidFill>
              </a:rPr>
              <a:t>eTIR</a:t>
            </a:r>
            <a:r>
              <a:rPr lang="en-GB" sz="900" dirty="0">
                <a:solidFill>
                  <a:srgbClr val="323232"/>
                </a:solidFill>
              </a:rPr>
              <a:t> pilot transports between Iran and Azerbaijan </a:t>
            </a:r>
          </a:p>
          <a:p>
            <a:pPr marL="534988" lvl="1" indent="-266700">
              <a:buClrTx/>
            </a:pPr>
            <a:r>
              <a:rPr lang="en-US" sz="900" dirty="0">
                <a:solidFill>
                  <a:srgbClr val="323232"/>
                </a:solidFill>
              </a:rPr>
              <a:t>2020: Uzbekistan – Kazakhstan </a:t>
            </a:r>
            <a:r>
              <a:rPr lang="en-US" sz="900" dirty="0" err="1">
                <a:solidFill>
                  <a:srgbClr val="323232"/>
                </a:solidFill>
              </a:rPr>
              <a:t>digitalisation</a:t>
            </a:r>
            <a:r>
              <a:rPr lang="en-US" sz="900" dirty="0">
                <a:solidFill>
                  <a:srgbClr val="323232"/>
                </a:solidFill>
              </a:rPr>
              <a:t> projects</a:t>
            </a:r>
            <a:endParaRPr lang="en-GB" sz="900" dirty="0">
              <a:solidFill>
                <a:srgbClr val="323232"/>
              </a:solidFill>
            </a:endParaRPr>
          </a:p>
          <a:p>
            <a:pPr marL="470297" lvl="1" indent="-202406">
              <a:buClrTx/>
            </a:pPr>
            <a:endParaRPr lang="en-GB" sz="900" dirty="0">
              <a:solidFill>
                <a:srgbClr val="323232"/>
              </a:solidFill>
            </a:endParaRPr>
          </a:p>
          <a:p>
            <a:pPr marL="470297" lvl="1" indent="-202406">
              <a:buClrTx/>
            </a:pPr>
            <a:endParaRPr lang="en-US" sz="900" dirty="0">
              <a:solidFill>
                <a:srgbClr val="323232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C395FBC-DA83-1F4F-B30E-216B3E9993C3}"/>
              </a:ext>
            </a:extLst>
          </p:cNvPr>
          <p:cNvSpPr txBox="1">
            <a:spLocks/>
          </p:cNvSpPr>
          <p:nvPr/>
        </p:nvSpPr>
        <p:spPr>
          <a:xfrm>
            <a:off x="2723709" y="1203455"/>
            <a:ext cx="5386555" cy="206742"/>
          </a:xfrm>
          <a:prstGeom prst="rect">
            <a:avLst/>
          </a:prstGeom>
          <a:solidFill>
            <a:schemeClr val="tx1"/>
          </a:solidFill>
        </p:spPr>
        <p:txBody>
          <a:bodyPr vert="horz" lIns="68580" tIns="34290" rIns="68580" bIns="3429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0075" indent="-2571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buClr>
                <a:srgbClr val="0052A4"/>
              </a:buClr>
              <a:defRPr/>
            </a:pPr>
            <a:r>
              <a:rPr lang="en-US" sz="1350" b="1" dirty="0">
                <a:solidFill>
                  <a:srgbClr val="FFFFFF"/>
                </a:solidFill>
              </a:rPr>
              <a:t>1987: B2B between IRU and Association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CD6839F0-DC1F-BB43-9114-E283854ECCCE}"/>
              </a:ext>
            </a:extLst>
          </p:cNvPr>
          <p:cNvSpPr txBox="1">
            <a:spLocks/>
          </p:cNvSpPr>
          <p:nvPr/>
        </p:nvSpPr>
        <p:spPr>
          <a:xfrm>
            <a:off x="2723709" y="3095794"/>
            <a:ext cx="5383684" cy="336713"/>
          </a:xfrm>
          <a:prstGeom prst="rect">
            <a:avLst/>
          </a:prstGeom>
          <a:solidFill>
            <a:schemeClr val="tx1"/>
          </a:solidFill>
        </p:spPr>
        <p:txBody>
          <a:bodyPr vert="horz" lIns="68580" tIns="34290" rIns="68580" bIns="3429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0075" indent="-2571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buClr>
                <a:srgbClr val="0052A4"/>
              </a:buClr>
              <a:defRPr/>
            </a:pPr>
            <a:r>
              <a:rPr lang="en-US" sz="1350" b="1" dirty="0">
                <a:solidFill>
                  <a:srgbClr val="FFFFFF"/>
                </a:solidFill>
              </a:rPr>
              <a:t>2015: UNECE and IRU endeavoring to </a:t>
            </a:r>
            <a:r>
              <a:rPr lang="en-US" sz="1350" b="1" dirty="0" err="1">
                <a:solidFill>
                  <a:srgbClr val="FFFFFF"/>
                </a:solidFill>
              </a:rPr>
              <a:t>digitalise</a:t>
            </a:r>
            <a:r>
              <a:rPr lang="en-US" sz="1350" b="1" dirty="0">
                <a:solidFill>
                  <a:srgbClr val="FFFFFF"/>
                </a:solidFill>
              </a:rPr>
              <a:t> TIR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7BC1A328-27C9-7642-AAFB-0A5CD99FE902}"/>
              </a:ext>
            </a:extLst>
          </p:cNvPr>
          <p:cNvSpPr txBox="1">
            <a:spLocks/>
          </p:cNvSpPr>
          <p:nvPr/>
        </p:nvSpPr>
        <p:spPr>
          <a:xfrm>
            <a:off x="2726972" y="2880859"/>
            <a:ext cx="5380421" cy="19759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lIns="68580" tIns="34290" rIns="68580" bIns="3429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0075" indent="-2571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ClrTx/>
            </a:pPr>
            <a:r>
              <a:rPr lang="en-US" sz="900" dirty="0">
                <a:solidFill>
                  <a:srgbClr val="323232"/>
                </a:solidFill>
              </a:rPr>
              <a:t>TIR advance information exchanges between TIR </a:t>
            </a:r>
            <a:r>
              <a:rPr lang="en-US" sz="900" dirty="0" err="1">
                <a:solidFill>
                  <a:srgbClr val="323232"/>
                </a:solidFill>
              </a:rPr>
              <a:t>hauliers</a:t>
            </a:r>
            <a:r>
              <a:rPr lang="en-US" sz="900" dirty="0">
                <a:solidFill>
                  <a:srgbClr val="323232"/>
                </a:solidFill>
              </a:rPr>
              <a:t> and customs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5C50D743-811D-2B40-AB6C-49C5B9A3472B}"/>
              </a:ext>
            </a:extLst>
          </p:cNvPr>
          <p:cNvSpPr txBox="1">
            <a:spLocks/>
          </p:cNvSpPr>
          <p:nvPr/>
        </p:nvSpPr>
        <p:spPr>
          <a:xfrm>
            <a:off x="2721543" y="2185899"/>
            <a:ext cx="5386374" cy="46424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lIns="68580" tIns="34290" rIns="68580" bIns="3429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0075" indent="-2571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ClrTx/>
            </a:pPr>
            <a:r>
              <a:rPr lang="en-US" sz="900" dirty="0">
                <a:solidFill>
                  <a:srgbClr val="323232"/>
                </a:solidFill>
              </a:rPr>
              <a:t>Recommendation for customs to send TIR terminations data</a:t>
            </a:r>
          </a:p>
          <a:p>
            <a:pPr lvl="1">
              <a:buClrTx/>
            </a:pPr>
            <a:r>
              <a:rPr lang="en-US" sz="900" dirty="0">
                <a:solidFill>
                  <a:srgbClr val="323232"/>
                </a:solidFill>
              </a:rPr>
              <a:t>2006: Annex 10 of TIR Convention on </a:t>
            </a:r>
            <a:r>
              <a:rPr lang="en-US" sz="900" dirty="0" err="1">
                <a:solidFill>
                  <a:srgbClr val="323232"/>
                </a:solidFill>
              </a:rPr>
              <a:t>SafeTIR</a:t>
            </a:r>
            <a:endParaRPr lang="en-US" sz="900" dirty="0">
              <a:solidFill>
                <a:srgbClr val="323232"/>
              </a:solidFill>
            </a:endParaRP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156AB1DD-A9DD-B745-A3DD-80BBDAA12276}"/>
              </a:ext>
            </a:extLst>
          </p:cNvPr>
          <p:cNvSpPr txBox="1">
            <a:spLocks/>
          </p:cNvSpPr>
          <p:nvPr/>
        </p:nvSpPr>
        <p:spPr>
          <a:xfrm>
            <a:off x="2721543" y="1959812"/>
            <a:ext cx="5386555" cy="207544"/>
          </a:xfrm>
          <a:prstGeom prst="rect">
            <a:avLst/>
          </a:prstGeom>
          <a:solidFill>
            <a:schemeClr val="tx1"/>
          </a:solidFill>
        </p:spPr>
        <p:txBody>
          <a:bodyPr vert="horz" lIns="68580" tIns="34290" rIns="68580" bIns="3429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0075" indent="-2571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buClr>
                <a:srgbClr val="0052A4"/>
              </a:buClr>
              <a:defRPr/>
            </a:pPr>
            <a:r>
              <a:rPr lang="en-US" sz="1350" b="1" dirty="0">
                <a:solidFill>
                  <a:srgbClr val="FFFFFF"/>
                </a:solidFill>
              </a:rPr>
              <a:t>1995: </a:t>
            </a:r>
            <a:r>
              <a:rPr lang="en-US" sz="1350" b="1" dirty="0" err="1">
                <a:solidFill>
                  <a:srgbClr val="FFFFFF"/>
                </a:solidFill>
              </a:rPr>
              <a:t>SafeTIR</a:t>
            </a:r>
            <a:r>
              <a:rPr lang="en-US" sz="1350" b="1" dirty="0">
                <a:solidFill>
                  <a:srgbClr val="FFFFFF"/>
                </a:solidFill>
              </a:rPr>
              <a:t> (C2B)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05A64A0B-032F-A344-80C8-14F99093B188}"/>
              </a:ext>
            </a:extLst>
          </p:cNvPr>
          <p:cNvSpPr txBox="1">
            <a:spLocks/>
          </p:cNvSpPr>
          <p:nvPr/>
        </p:nvSpPr>
        <p:spPr>
          <a:xfrm>
            <a:off x="2721544" y="2663823"/>
            <a:ext cx="5388720" cy="207544"/>
          </a:xfrm>
          <a:prstGeom prst="rect">
            <a:avLst/>
          </a:prstGeom>
          <a:solidFill>
            <a:schemeClr val="tx1"/>
          </a:solidFill>
        </p:spPr>
        <p:txBody>
          <a:bodyPr vert="horz" lIns="68580" tIns="34290" rIns="68580" bIns="3429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0075" indent="-2571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buClr>
                <a:srgbClr val="0052A4"/>
              </a:buClr>
              <a:defRPr/>
            </a:pPr>
            <a:r>
              <a:rPr lang="en-US" sz="1350" b="1" dirty="0">
                <a:solidFill>
                  <a:srgbClr val="FFFFFF"/>
                </a:solidFill>
              </a:rPr>
              <a:t>2002: TIR-EPD: B2C/C2B 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3DCE03DA-F685-2145-A872-AAE3E4BED6D5}"/>
              </a:ext>
            </a:extLst>
          </p:cNvPr>
          <p:cNvSpPr txBox="1">
            <a:spLocks/>
          </p:cNvSpPr>
          <p:nvPr/>
        </p:nvSpPr>
        <p:spPr>
          <a:xfrm>
            <a:off x="2721363" y="3885285"/>
            <a:ext cx="5386555" cy="266072"/>
          </a:xfrm>
          <a:prstGeom prst="rect">
            <a:avLst/>
          </a:prstGeom>
          <a:solidFill>
            <a:schemeClr val="tx1"/>
          </a:solidFill>
        </p:spPr>
        <p:txBody>
          <a:bodyPr vert="horz" lIns="68580" tIns="34290" rIns="68580" bIns="3429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0075" indent="-2571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buClr>
                <a:srgbClr val="0052A4"/>
              </a:buClr>
              <a:defRPr/>
            </a:pPr>
            <a:r>
              <a:rPr lang="en-US" sz="1350" b="1" dirty="0">
                <a:solidFill>
                  <a:srgbClr val="FFFFFF"/>
                </a:solidFill>
              </a:rPr>
              <a:t>2021: Annex 11 - </a:t>
            </a:r>
            <a:r>
              <a:rPr lang="en-US" sz="1350" b="1" dirty="0" err="1">
                <a:solidFill>
                  <a:srgbClr val="FFFFFF"/>
                </a:solidFill>
              </a:rPr>
              <a:t>eTIR</a:t>
            </a:r>
            <a:endParaRPr lang="en-US" sz="1350" b="1" dirty="0">
              <a:solidFill>
                <a:srgbClr val="FFFFFF"/>
              </a:solidFill>
            </a:endParaRP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3AF02AD9-49B3-2048-81AC-7043D235BC6A}"/>
              </a:ext>
            </a:extLst>
          </p:cNvPr>
          <p:cNvSpPr txBox="1">
            <a:spLocks/>
          </p:cNvSpPr>
          <p:nvPr/>
        </p:nvSpPr>
        <p:spPr>
          <a:xfrm>
            <a:off x="2729843" y="4170702"/>
            <a:ext cx="5383684" cy="41809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lIns="68580" tIns="34290" rIns="68580" bIns="34290" rtlCol="0" anchor="ctr" anchorCtr="0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0075" indent="-2571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4988" lvl="1" indent="-266700">
              <a:buClrTx/>
            </a:pPr>
            <a:r>
              <a:rPr lang="en-GB" sz="900" dirty="0">
                <a:solidFill>
                  <a:srgbClr val="323232"/>
                </a:solidFill>
              </a:rPr>
              <a:t>Adoption of Annex 11 of the TIR Convention – legal basis for </a:t>
            </a:r>
            <a:r>
              <a:rPr lang="en-GB" sz="900" dirty="0" err="1">
                <a:solidFill>
                  <a:srgbClr val="323232"/>
                </a:solidFill>
              </a:rPr>
              <a:t>eTIR</a:t>
            </a:r>
            <a:endParaRPr lang="en-GB" sz="900" dirty="0">
              <a:solidFill>
                <a:srgbClr val="323232"/>
              </a:solidFill>
            </a:endParaRPr>
          </a:p>
          <a:p>
            <a:pPr marL="534988" lvl="1" indent="-266700">
              <a:buClrTx/>
            </a:pPr>
            <a:r>
              <a:rPr lang="en-US" sz="900" dirty="0">
                <a:solidFill>
                  <a:srgbClr val="323232"/>
                </a:solidFill>
              </a:rPr>
              <a:t>Annex 11 entry into force in May 2021</a:t>
            </a:r>
            <a:endParaRPr lang="en-GB" sz="900" dirty="0">
              <a:solidFill>
                <a:srgbClr val="32323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35318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A6D8EE0-F23E-ED41-A758-B55932CB21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331980"/>
            <a:ext cx="3672471" cy="560905"/>
          </a:xfrm>
        </p:spPr>
        <p:txBody>
          <a:bodyPr/>
          <a:lstStyle/>
          <a:p>
            <a:r>
              <a:rPr lang="en-US" sz="3000" dirty="0"/>
              <a:t>  </a:t>
            </a:r>
            <a:r>
              <a:rPr lang="az-Cyrl-AZ" sz="3000" dirty="0"/>
              <a:t>«ДЕЛОВЫЕ СВЯЗИ» </a:t>
            </a:r>
            <a:endParaRPr lang="en-US" sz="30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3C69A46-E8C4-E246-9AA7-E40A5694B1E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96009" y="2343708"/>
            <a:ext cx="3862775" cy="1894388"/>
          </a:xfrm>
        </p:spPr>
        <p:txBody>
          <a:bodyPr/>
          <a:lstStyle/>
          <a:p>
            <a:r>
              <a:rPr lang="en-GB" sz="1350" b="1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Annex 11 – entry into force on 25 may 2021</a:t>
            </a:r>
            <a:endParaRPr lang="en-GB" sz="1350" dirty="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  <a:p>
            <a:endParaRPr lang="en-US" sz="1050" b="1" dirty="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  <a:p>
            <a:r>
              <a:rPr lang="en-US" sz="1050" b="1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C2C </a:t>
            </a:r>
            <a:r>
              <a:rPr lang="en-GB" sz="1050" b="1" dirty="0">
                <a:solidFill>
                  <a:schemeClr val="tx1">
                    <a:lumMod val="90000"/>
                    <a:lumOff val="10000"/>
                  </a:schemeClr>
                </a:solidFill>
              </a:rPr>
              <a:t>and C2B </a:t>
            </a:r>
            <a:r>
              <a:rPr lang="en-US" sz="1050" b="1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messages through </a:t>
            </a:r>
            <a:r>
              <a:rPr lang="en-US" sz="1050" b="1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eTIR</a:t>
            </a:r>
            <a:r>
              <a:rPr lang="en-US" sz="1050" b="1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 International System </a:t>
            </a:r>
            <a:r>
              <a:rPr lang="en-US" sz="1050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(hosted by UNECE as a central database)</a:t>
            </a:r>
            <a:endParaRPr lang="en-GB" sz="1050" dirty="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  <a:p>
            <a:pPr marL="257175" indent="-257175">
              <a:buAutoNum type="arabicParenR"/>
            </a:pPr>
            <a:r>
              <a:rPr lang="en-US" sz="1050" dirty="0" err="1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eTIR</a:t>
            </a:r>
            <a:r>
              <a:rPr lang="en-US" sz="1050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 specifications yet to be adopted by Contracting Parties </a:t>
            </a:r>
          </a:p>
          <a:p>
            <a:pPr marL="257175" indent="-257175">
              <a:buAutoNum type="arabicParenR"/>
            </a:pPr>
            <a:r>
              <a:rPr lang="en-US" sz="1050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Direct communication channel to be established between customs and UNECE and between UNECE and IRU</a:t>
            </a:r>
            <a:endParaRPr lang="en-GB" sz="1050" dirty="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  <a:p>
            <a:r>
              <a:rPr lang="en-GB" sz="1050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  </a:t>
            </a:r>
          </a:p>
          <a:p>
            <a:endParaRPr lang="en-GB" sz="1050" dirty="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</p:txBody>
      </p:sp>
      <p:sp>
        <p:nvSpPr>
          <p:cNvPr id="2" name="Picture Placeholder 1"/>
          <p:cNvSpPr>
            <a:spLocks noGrp="1"/>
          </p:cNvSpPr>
          <p:nvPr>
            <p:ph type="pic" sz="quarter" idx="13"/>
          </p:nvPr>
        </p:nvSpPr>
        <p:spPr/>
      </p:sp>
      <p:pic>
        <p:nvPicPr>
          <p:cNvPr id="7" name="Picture Placeholder 2">
            <a:extLst>
              <a:ext uri="{FF2B5EF4-FFF2-40B4-BE49-F238E27FC236}">
                <a16:creationId xmlns:a16="http://schemas.microsoft.com/office/drawing/2014/main" id="{03CF087D-66D9-DB41-98B0-D0EE3D2D013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317" b="3317"/>
          <a:stretch>
            <a:fillRect/>
          </a:stretch>
        </p:blipFill>
        <p:spPr>
          <a:xfrm>
            <a:off x="-2" y="-535781"/>
            <a:ext cx="9144002" cy="2760449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920472" y="2760450"/>
            <a:ext cx="3178098" cy="9818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750"/>
              </a:spcBef>
            </a:pPr>
            <a:r>
              <a:rPr lang="en-GB" sz="1050" b="1" dirty="0">
                <a:solidFill>
                  <a:srgbClr val="323232">
                    <a:lumMod val="90000"/>
                    <a:lumOff val="10000"/>
                  </a:srgbClr>
                </a:solidFill>
              </a:rPr>
              <a:t>B2C and C2B</a:t>
            </a:r>
          </a:p>
          <a:p>
            <a:pPr defTabSz="685800">
              <a:lnSpc>
                <a:spcPct val="90000"/>
              </a:lnSpc>
              <a:spcBef>
                <a:spcPts val="750"/>
              </a:spcBef>
            </a:pPr>
            <a:r>
              <a:rPr lang="en-GB" sz="1050" dirty="0">
                <a:solidFill>
                  <a:srgbClr val="323232">
                    <a:lumMod val="90000"/>
                    <a:lumOff val="10000"/>
                  </a:srgbClr>
                </a:solidFill>
              </a:rPr>
              <a:t>Already functioning and will continue to be used:</a:t>
            </a:r>
          </a:p>
          <a:p>
            <a:pPr marL="257175" indent="-257175" defTabSz="685800">
              <a:lnSpc>
                <a:spcPct val="90000"/>
              </a:lnSpc>
              <a:spcBef>
                <a:spcPts val="750"/>
              </a:spcBef>
              <a:buFontTx/>
              <a:buAutoNum type="arabicParenR"/>
            </a:pPr>
            <a:r>
              <a:rPr lang="en-US" sz="1050" dirty="0">
                <a:solidFill>
                  <a:srgbClr val="323232">
                    <a:lumMod val="90000"/>
                    <a:lumOff val="10000"/>
                  </a:srgbClr>
                </a:solidFill>
              </a:rPr>
              <a:t>For sending TIR data to the customs of departure</a:t>
            </a:r>
          </a:p>
          <a:p>
            <a:pPr marL="257175" indent="-257175" defTabSz="685800">
              <a:lnSpc>
                <a:spcPct val="90000"/>
              </a:lnSpc>
              <a:spcBef>
                <a:spcPts val="750"/>
              </a:spcBef>
              <a:buFontTx/>
              <a:buAutoNum type="arabicParenR"/>
            </a:pPr>
            <a:r>
              <a:rPr lang="en-US" sz="1050" dirty="0">
                <a:solidFill>
                  <a:srgbClr val="323232">
                    <a:lumMod val="90000"/>
                    <a:lumOff val="10000"/>
                  </a:srgbClr>
                </a:solidFill>
              </a:rPr>
              <a:t>For advance information to customs of itinerary</a:t>
            </a:r>
            <a:endParaRPr lang="en-GB" sz="1050" dirty="0">
              <a:solidFill>
                <a:srgbClr val="323232">
                  <a:lumMod val="90000"/>
                  <a:lumOff val="10000"/>
                </a:srgbClr>
              </a:solidFill>
            </a:endParaRPr>
          </a:p>
        </p:txBody>
      </p:sp>
      <p:sp>
        <p:nvSpPr>
          <p:cNvPr id="4" name="Left Brace 3"/>
          <p:cNvSpPr/>
          <p:nvPr/>
        </p:nvSpPr>
        <p:spPr>
          <a:xfrm rot="16200000">
            <a:off x="4524560" y="-82048"/>
            <a:ext cx="342900" cy="8421128"/>
          </a:xfrm>
          <a:prstGeom prst="leftBrace">
            <a:avLst>
              <a:gd name="adj1" fmla="val 8333"/>
              <a:gd name="adj2" fmla="val 50218"/>
            </a:avLst>
          </a:prstGeom>
          <a:ln w="25400"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85800"/>
            <a:endParaRPr lang="en-GB" sz="1350">
              <a:solidFill>
                <a:srgbClr val="323232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791206" y="4474011"/>
            <a:ext cx="4185948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90000"/>
              </a:lnSpc>
              <a:spcBef>
                <a:spcPts val="750"/>
              </a:spcBef>
            </a:pPr>
            <a:r>
              <a:rPr lang="en-GB" sz="1500" b="1" dirty="0">
                <a:solidFill>
                  <a:srgbClr val="0070C0"/>
                </a:solidFill>
              </a:rPr>
              <a:t>1 global system with full digital functionalities</a:t>
            </a:r>
          </a:p>
        </p:txBody>
      </p:sp>
    </p:spTree>
    <p:extLst>
      <p:ext uri="{BB962C8B-B14F-4D97-AF65-F5344CB8AC3E}">
        <p14:creationId xmlns:p14="http://schemas.microsoft.com/office/powerpoint/2010/main" val="38459407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9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Freeform 6"/>
          <p:cNvSpPr>
            <a:spLocks/>
          </p:cNvSpPr>
          <p:nvPr/>
        </p:nvSpPr>
        <p:spPr bwMode="auto">
          <a:xfrm>
            <a:off x="4925348" y="3452348"/>
            <a:ext cx="957514" cy="950135"/>
          </a:xfrm>
          <a:custGeom>
            <a:avLst/>
            <a:gdLst>
              <a:gd name="T0" fmla="*/ 23 w 236"/>
              <a:gd name="T1" fmla="*/ 66 h 189"/>
              <a:gd name="T2" fmla="*/ 37 w 236"/>
              <a:gd name="T3" fmla="*/ 54 h 189"/>
              <a:gd name="T4" fmla="*/ 58 w 236"/>
              <a:gd name="T5" fmla="*/ 45 h 189"/>
              <a:gd name="T6" fmla="*/ 71 w 236"/>
              <a:gd name="T7" fmla="*/ 24 h 189"/>
              <a:gd name="T8" fmla="*/ 82 w 236"/>
              <a:gd name="T9" fmla="*/ 22 h 189"/>
              <a:gd name="T10" fmla="*/ 97 w 236"/>
              <a:gd name="T11" fmla="*/ 23 h 189"/>
              <a:gd name="T12" fmla="*/ 116 w 236"/>
              <a:gd name="T13" fmla="*/ 30 h 189"/>
              <a:gd name="T14" fmla="*/ 134 w 236"/>
              <a:gd name="T15" fmla="*/ 27 h 189"/>
              <a:gd name="T16" fmla="*/ 147 w 236"/>
              <a:gd name="T17" fmla="*/ 18 h 189"/>
              <a:gd name="T18" fmla="*/ 149 w 236"/>
              <a:gd name="T19" fmla="*/ 7 h 189"/>
              <a:gd name="T20" fmla="*/ 165 w 236"/>
              <a:gd name="T21" fmla="*/ 4 h 189"/>
              <a:gd name="T22" fmla="*/ 170 w 236"/>
              <a:gd name="T23" fmla="*/ 12 h 189"/>
              <a:gd name="T24" fmla="*/ 182 w 236"/>
              <a:gd name="T25" fmla="*/ 36 h 189"/>
              <a:gd name="T26" fmla="*/ 193 w 236"/>
              <a:gd name="T27" fmla="*/ 29 h 189"/>
              <a:gd name="T28" fmla="*/ 214 w 236"/>
              <a:gd name="T29" fmla="*/ 22 h 189"/>
              <a:gd name="T30" fmla="*/ 236 w 236"/>
              <a:gd name="T31" fmla="*/ 28 h 189"/>
              <a:gd name="T32" fmla="*/ 219 w 236"/>
              <a:gd name="T33" fmla="*/ 34 h 189"/>
              <a:gd name="T34" fmla="*/ 183 w 236"/>
              <a:gd name="T35" fmla="*/ 40 h 189"/>
              <a:gd name="T36" fmla="*/ 181 w 236"/>
              <a:gd name="T37" fmla="*/ 58 h 189"/>
              <a:gd name="T38" fmla="*/ 179 w 236"/>
              <a:gd name="T39" fmla="*/ 77 h 189"/>
              <a:gd name="T40" fmla="*/ 178 w 236"/>
              <a:gd name="T41" fmla="*/ 93 h 189"/>
              <a:gd name="T42" fmla="*/ 172 w 236"/>
              <a:gd name="T43" fmla="*/ 106 h 189"/>
              <a:gd name="T44" fmla="*/ 157 w 236"/>
              <a:gd name="T45" fmla="*/ 123 h 189"/>
              <a:gd name="T46" fmla="*/ 155 w 236"/>
              <a:gd name="T47" fmla="*/ 142 h 189"/>
              <a:gd name="T48" fmla="*/ 135 w 236"/>
              <a:gd name="T49" fmla="*/ 142 h 189"/>
              <a:gd name="T50" fmla="*/ 121 w 236"/>
              <a:gd name="T51" fmla="*/ 148 h 189"/>
              <a:gd name="T52" fmla="*/ 116 w 236"/>
              <a:gd name="T53" fmla="*/ 178 h 189"/>
              <a:gd name="T54" fmla="*/ 82 w 236"/>
              <a:gd name="T55" fmla="*/ 184 h 189"/>
              <a:gd name="T56" fmla="*/ 68 w 236"/>
              <a:gd name="T57" fmla="*/ 186 h 189"/>
              <a:gd name="T58" fmla="*/ 20 w 236"/>
              <a:gd name="T59" fmla="*/ 179 h 189"/>
              <a:gd name="T60" fmla="*/ 29 w 236"/>
              <a:gd name="T61" fmla="*/ 147 h 189"/>
              <a:gd name="T62" fmla="*/ 11 w 236"/>
              <a:gd name="T63" fmla="*/ 130 h 189"/>
              <a:gd name="T64" fmla="*/ 8 w 236"/>
              <a:gd name="T65" fmla="*/ 102 h 189"/>
              <a:gd name="T66" fmla="*/ 2 w 236"/>
              <a:gd name="T67" fmla="*/ 84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6" h="189">
                <a:moveTo>
                  <a:pt x="4" y="58"/>
                </a:moveTo>
                <a:lnTo>
                  <a:pt x="23" y="66"/>
                </a:lnTo>
                <a:lnTo>
                  <a:pt x="35" y="63"/>
                </a:lnTo>
                <a:lnTo>
                  <a:pt x="37" y="54"/>
                </a:lnTo>
                <a:lnTo>
                  <a:pt x="50" y="51"/>
                </a:lnTo>
                <a:lnTo>
                  <a:pt x="58" y="45"/>
                </a:lnTo>
                <a:lnTo>
                  <a:pt x="58" y="28"/>
                </a:lnTo>
                <a:lnTo>
                  <a:pt x="71" y="24"/>
                </a:lnTo>
                <a:lnTo>
                  <a:pt x="72" y="17"/>
                </a:lnTo>
                <a:lnTo>
                  <a:pt x="82" y="22"/>
                </a:lnTo>
                <a:lnTo>
                  <a:pt x="87" y="23"/>
                </a:lnTo>
                <a:lnTo>
                  <a:pt x="97" y="23"/>
                </a:lnTo>
                <a:lnTo>
                  <a:pt x="110" y="27"/>
                </a:lnTo>
                <a:lnTo>
                  <a:pt x="116" y="30"/>
                </a:lnTo>
                <a:lnTo>
                  <a:pt x="127" y="23"/>
                </a:lnTo>
                <a:lnTo>
                  <a:pt x="134" y="27"/>
                </a:lnTo>
                <a:lnTo>
                  <a:pt x="137" y="18"/>
                </a:lnTo>
                <a:lnTo>
                  <a:pt x="147" y="18"/>
                </a:lnTo>
                <a:lnTo>
                  <a:pt x="149" y="15"/>
                </a:lnTo>
                <a:lnTo>
                  <a:pt x="149" y="7"/>
                </a:lnTo>
                <a:lnTo>
                  <a:pt x="154" y="0"/>
                </a:lnTo>
                <a:lnTo>
                  <a:pt x="165" y="4"/>
                </a:lnTo>
                <a:lnTo>
                  <a:pt x="165" y="11"/>
                </a:lnTo>
                <a:lnTo>
                  <a:pt x="170" y="12"/>
                </a:lnTo>
                <a:lnTo>
                  <a:pt x="173" y="29"/>
                </a:lnTo>
                <a:lnTo>
                  <a:pt x="182" y="36"/>
                </a:lnTo>
                <a:lnTo>
                  <a:pt x="186" y="31"/>
                </a:lnTo>
                <a:lnTo>
                  <a:pt x="193" y="29"/>
                </a:lnTo>
                <a:lnTo>
                  <a:pt x="202" y="20"/>
                </a:lnTo>
                <a:lnTo>
                  <a:pt x="214" y="22"/>
                </a:lnTo>
                <a:lnTo>
                  <a:pt x="232" y="22"/>
                </a:lnTo>
                <a:lnTo>
                  <a:pt x="236" y="28"/>
                </a:lnTo>
                <a:lnTo>
                  <a:pt x="227" y="30"/>
                </a:lnTo>
                <a:lnTo>
                  <a:pt x="219" y="34"/>
                </a:lnTo>
                <a:lnTo>
                  <a:pt x="200" y="36"/>
                </a:lnTo>
                <a:lnTo>
                  <a:pt x="183" y="40"/>
                </a:lnTo>
                <a:lnTo>
                  <a:pt x="175" y="50"/>
                </a:lnTo>
                <a:lnTo>
                  <a:pt x="181" y="58"/>
                </a:lnTo>
                <a:lnTo>
                  <a:pt x="185" y="69"/>
                </a:lnTo>
                <a:lnTo>
                  <a:pt x="179" y="77"/>
                </a:lnTo>
                <a:lnTo>
                  <a:pt x="182" y="85"/>
                </a:lnTo>
                <a:lnTo>
                  <a:pt x="178" y="93"/>
                </a:lnTo>
                <a:lnTo>
                  <a:pt x="162" y="92"/>
                </a:lnTo>
                <a:lnTo>
                  <a:pt x="172" y="106"/>
                </a:lnTo>
                <a:lnTo>
                  <a:pt x="162" y="111"/>
                </a:lnTo>
                <a:lnTo>
                  <a:pt x="157" y="123"/>
                </a:lnTo>
                <a:lnTo>
                  <a:pt x="160" y="136"/>
                </a:lnTo>
                <a:lnTo>
                  <a:pt x="155" y="142"/>
                </a:lnTo>
                <a:lnTo>
                  <a:pt x="148" y="140"/>
                </a:lnTo>
                <a:lnTo>
                  <a:pt x="135" y="142"/>
                </a:lnTo>
                <a:lnTo>
                  <a:pt x="134" y="148"/>
                </a:lnTo>
                <a:lnTo>
                  <a:pt x="121" y="148"/>
                </a:lnTo>
                <a:lnTo>
                  <a:pt x="113" y="160"/>
                </a:lnTo>
                <a:lnTo>
                  <a:pt x="116" y="178"/>
                </a:lnTo>
                <a:lnTo>
                  <a:pt x="95" y="186"/>
                </a:lnTo>
                <a:lnTo>
                  <a:pt x="82" y="184"/>
                </a:lnTo>
                <a:lnTo>
                  <a:pt x="79" y="189"/>
                </a:lnTo>
                <a:lnTo>
                  <a:pt x="68" y="186"/>
                </a:lnTo>
                <a:lnTo>
                  <a:pt x="51" y="189"/>
                </a:lnTo>
                <a:lnTo>
                  <a:pt x="20" y="179"/>
                </a:lnTo>
                <a:lnTo>
                  <a:pt x="33" y="160"/>
                </a:lnTo>
                <a:lnTo>
                  <a:pt x="29" y="147"/>
                </a:lnTo>
                <a:lnTo>
                  <a:pt x="15" y="143"/>
                </a:lnTo>
                <a:lnTo>
                  <a:pt x="11" y="130"/>
                </a:lnTo>
                <a:lnTo>
                  <a:pt x="3" y="113"/>
                </a:lnTo>
                <a:lnTo>
                  <a:pt x="8" y="102"/>
                </a:lnTo>
                <a:lnTo>
                  <a:pt x="0" y="99"/>
                </a:lnTo>
                <a:lnTo>
                  <a:pt x="2" y="84"/>
                </a:lnTo>
                <a:lnTo>
                  <a:pt x="4" y="58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60" name="Freeform 9"/>
          <p:cNvSpPr>
            <a:spLocks/>
          </p:cNvSpPr>
          <p:nvPr/>
        </p:nvSpPr>
        <p:spPr bwMode="auto">
          <a:xfrm>
            <a:off x="1967613" y="3014985"/>
            <a:ext cx="125777" cy="316712"/>
          </a:xfrm>
          <a:custGeom>
            <a:avLst/>
            <a:gdLst>
              <a:gd name="T0" fmla="*/ 22 w 31"/>
              <a:gd name="T1" fmla="*/ 17 h 63"/>
              <a:gd name="T2" fmla="*/ 20 w 31"/>
              <a:gd name="T3" fmla="*/ 24 h 63"/>
              <a:gd name="T4" fmla="*/ 23 w 31"/>
              <a:gd name="T5" fmla="*/ 33 h 63"/>
              <a:gd name="T6" fmla="*/ 31 w 31"/>
              <a:gd name="T7" fmla="*/ 38 h 63"/>
              <a:gd name="T8" fmla="*/ 31 w 31"/>
              <a:gd name="T9" fmla="*/ 44 h 63"/>
              <a:gd name="T10" fmla="*/ 25 w 31"/>
              <a:gd name="T11" fmla="*/ 46 h 63"/>
              <a:gd name="T12" fmla="*/ 25 w 31"/>
              <a:gd name="T13" fmla="*/ 53 h 63"/>
              <a:gd name="T14" fmla="*/ 18 w 31"/>
              <a:gd name="T15" fmla="*/ 63 h 63"/>
              <a:gd name="T16" fmla="*/ 15 w 31"/>
              <a:gd name="T17" fmla="*/ 62 h 63"/>
              <a:gd name="T18" fmla="*/ 14 w 31"/>
              <a:gd name="T19" fmla="*/ 57 h 63"/>
              <a:gd name="T20" fmla="*/ 4 w 31"/>
              <a:gd name="T21" fmla="*/ 50 h 63"/>
              <a:gd name="T22" fmla="*/ 2 w 31"/>
              <a:gd name="T23" fmla="*/ 40 h 63"/>
              <a:gd name="T24" fmla="*/ 3 w 31"/>
              <a:gd name="T25" fmla="*/ 26 h 63"/>
              <a:gd name="T26" fmla="*/ 4 w 31"/>
              <a:gd name="T27" fmla="*/ 20 h 63"/>
              <a:gd name="T28" fmla="*/ 1 w 31"/>
              <a:gd name="T29" fmla="*/ 17 h 63"/>
              <a:gd name="T30" fmla="*/ 0 w 31"/>
              <a:gd name="T31" fmla="*/ 10 h 63"/>
              <a:gd name="T32" fmla="*/ 6 w 31"/>
              <a:gd name="T33" fmla="*/ 0 h 63"/>
              <a:gd name="T34" fmla="*/ 7 w 31"/>
              <a:gd name="T35" fmla="*/ 4 h 63"/>
              <a:gd name="T36" fmla="*/ 12 w 31"/>
              <a:gd name="T37" fmla="*/ 2 h 63"/>
              <a:gd name="T38" fmla="*/ 16 w 31"/>
              <a:gd name="T39" fmla="*/ 8 h 63"/>
              <a:gd name="T40" fmla="*/ 20 w 31"/>
              <a:gd name="T41" fmla="*/ 10 h 63"/>
              <a:gd name="T42" fmla="*/ 22 w 31"/>
              <a:gd name="T43" fmla="*/ 17 h 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1" h="63">
                <a:moveTo>
                  <a:pt x="22" y="17"/>
                </a:moveTo>
                <a:lnTo>
                  <a:pt x="20" y="24"/>
                </a:lnTo>
                <a:lnTo>
                  <a:pt x="23" y="33"/>
                </a:lnTo>
                <a:lnTo>
                  <a:pt x="31" y="38"/>
                </a:lnTo>
                <a:lnTo>
                  <a:pt x="31" y="44"/>
                </a:lnTo>
                <a:lnTo>
                  <a:pt x="25" y="46"/>
                </a:lnTo>
                <a:lnTo>
                  <a:pt x="25" y="53"/>
                </a:lnTo>
                <a:lnTo>
                  <a:pt x="18" y="63"/>
                </a:lnTo>
                <a:lnTo>
                  <a:pt x="15" y="62"/>
                </a:lnTo>
                <a:lnTo>
                  <a:pt x="14" y="57"/>
                </a:lnTo>
                <a:lnTo>
                  <a:pt x="4" y="50"/>
                </a:lnTo>
                <a:lnTo>
                  <a:pt x="2" y="40"/>
                </a:lnTo>
                <a:lnTo>
                  <a:pt x="3" y="26"/>
                </a:lnTo>
                <a:lnTo>
                  <a:pt x="4" y="20"/>
                </a:lnTo>
                <a:lnTo>
                  <a:pt x="1" y="17"/>
                </a:lnTo>
                <a:lnTo>
                  <a:pt x="0" y="10"/>
                </a:lnTo>
                <a:lnTo>
                  <a:pt x="6" y="0"/>
                </a:lnTo>
                <a:lnTo>
                  <a:pt x="7" y="4"/>
                </a:lnTo>
                <a:lnTo>
                  <a:pt x="12" y="2"/>
                </a:lnTo>
                <a:lnTo>
                  <a:pt x="16" y="8"/>
                </a:lnTo>
                <a:lnTo>
                  <a:pt x="20" y="10"/>
                </a:lnTo>
                <a:lnTo>
                  <a:pt x="22" y="17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63" name="Freeform 10"/>
          <p:cNvSpPr>
            <a:spLocks/>
          </p:cNvSpPr>
          <p:nvPr/>
        </p:nvSpPr>
        <p:spPr bwMode="auto">
          <a:xfrm>
            <a:off x="4397907" y="4744329"/>
            <a:ext cx="344866" cy="372010"/>
          </a:xfrm>
          <a:custGeom>
            <a:avLst/>
            <a:gdLst>
              <a:gd name="T0" fmla="*/ 0 w 85"/>
              <a:gd name="T1" fmla="*/ 38 h 74"/>
              <a:gd name="T2" fmla="*/ 3 w 85"/>
              <a:gd name="T3" fmla="*/ 37 h 74"/>
              <a:gd name="T4" fmla="*/ 4 w 85"/>
              <a:gd name="T5" fmla="*/ 42 h 74"/>
              <a:gd name="T6" fmla="*/ 18 w 85"/>
              <a:gd name="T7" fmla="*/ 39 h 74"/>
              <a:gd name="T8" fmla="*/ 33 w 85"/>
              <a:gd name="T9" fmla="*/ 40 h 74"/>
              <a:gd name="T10" fmla="*/ 44 w 85"/>
              <a:gd name="T11" fmla="*/ 40 h 74"/>
              <a:gd name="T12" fmla="*/ 54 w 85"/>
              <a:gd name="T13" fmla="*/ 26 h 74"/>
              <a:gd name="T14" fmla="*/ 66 w 85"/>
              <a:gd name="T15" fmla="*/ 13 h 74"/>
              <a:gd name="T16" fmla="*/ 76 w 85"/>
              <a:gd name="T17" fmla="*/ 0 h 74"/>
              <a:gd name="T18" fmla="*/ 80 w 85"/>
              <a:gd name="T19" fmla="*/ 7 h 74"/>
              <a:gd name="T20" fmla="*/ 85 w 85"/>
              <a:gd name="T21" fmla="*/ 24 h 74"/>
              <a:gd name="T22" fmla="*/ 75 w 85"/>
              <a:gd name="T23" fmla="*/ 24 h 74"/>
              <a:gd name="T24" fmla="*/ 76 w 85"/>
              <a:gd name="T25" fmla="*/ 37 h 74"/>
              <a:gd name="T26" fmla="*/ 79 w 85"/>
              <a:gd name="T27" fmla="*/ 40 h 74"/>
              <a:gd name="T28" fmla="*/ 72 w 85"/>
              <a:gd name="T29" fmla="*/ 44 h 74"/>
              <a:gd name="T30" fmla="*/ 72 w 85"/>
              <a:gd name="T31" fmla="*/ 53 h 74"/>
              <a:gd name="T32" fmla="*/ 68 w 85"/>
              <a:gd name="T33" fmla="*/ 61 h 74"/>
              <a:gd name="T34" fmla="*/ 69 w 85"/>
              <a:gd name="T35" fmla="*/ 70 h 74"/>
              <a:gd name="T36" fmla="*/ 65 w 85"/>
              <a:gd name="T37" fmla="*/ 74 h 74"/>
              <a:gd name="T38" fmla="*/ 10 w 85"/>
              <a:gd name="T39" fmla="*/ 64 h 74"/>
              <a:gd name="T40" fmla="*/ 1 w 85"/>
              <a:gd name="T41" fmla="*/ 43 h 74"/>
              <a:gd name="T42" fmla="*/ 0 w 85"/>
              <a:gd name="T43" fmla="*/ 38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85" h="74">
                <a:moveTo>
                  <a:pt x="0" y="38"/>
                </a:moveTo>
                <a:lnTo>
                  <a:pt x="3" y="37"/>
                </a:lnTo>
                <a:lnTo>
                  <a:pt x="4" y="42"/>
                </a:lnTo>
                <a:lnTo>
                  <a:pt x="18" y="39"/>
                </a:lnTo>
                <a:lnTo>
                  <a:pt x="33" y="40"/>
                </a:lnTo>
                <a:lnTo>
                  <a:pt x="44" y="40"/>
                </a:lnTo>
                <a:lnTo>
                  <a:pt x="54" y="26"/>
                </a:lnTo>
                <a:lnTo>
                  <a:pt x="66" y="13"/>
                </a:lnTo>
                <a:lnTo>
                  <a:pt x="76" y="0"/>
                </a:lnTo>
                <a:lnTo>
                  <a:pt x="80" y="7"/>
                </a:lnTo>
                <a:lnTo>
                  <a:pt x="85" y="24"/>
                </a:lnTo>
                <a:lnTo>
                  <a:pt x="75" y="24"/>
                </a:lnTo>
                <a:lnTo>
                  <a:pt x="76" y="37"/>
                </a:lnTo>
                <a:lnTo>
                  <a:pt x="79" y="40"/>
                </a:lnTo>
                <a:lnTo>
                  <a:pt x="72" y="44"/>
                </a:lnTo>
                <a:lnTo>
                  <a:pt x="72" y="53"/>
                </a:lnTo>
                <a:lnTo>
                  <a:pt x="68" y="61"/>
                </a:lnTo>
                <a:lnTo>
                  <a:pt x="69" y="70"/>
                </a:lnTo>
                <a:lnTo>
                  <a:pt x="65" y="74"/>
                </a:lnTo>
                <a:lnTo>
                  <a:pt x="10" y="64"/>
                </a:lnTo>
                <a:lnTo>
                  <a:pt x="1" y="43"/>
                </a:lnTo>
                <a:lnTo>
                  <a:pt x="0" y="38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64" name="Freeform 163"/>
          <p:cNvSpPr>
            <a:spLocks/>
          </p:cNvSpPr>
          <p:nvPr/>
        </p:nvSpPr>
        <p:spPr bwMode="auto">
          <a:xfrm>
            <a:off x="3631086" y="3165797"/>
            <a:ext cx="235322" cy="256388"/>
          </a:xfrm>
          <a:custGeom>
            <a:avLst/>
            <a:gdLst>
              <a:gd name="T0" fmla="*/ 0 w 58"/>
              <a:gd name="T1" fmla="*/ 3 h 51"/>
              <a:gd name="T2" fmla="*/ 23 w 58"/>
              <a:gd name="T3" fmla="*/ 0 h 51"/>
              <a:gd name="T4" fmla="*/ 27 w 58"/>
              <a:gd name="T5" fmla="*/ 5 h 51"/>
              <a:gd name="T6" fmla="*/ 34 w 58"/>
              <a:gd name="T7" fmla="*/ 9 h 51"/>
              <a:gd name="T8" fmla="*/ 32 w 58"/>
              <a:gd name="T9" fmla="*/ 14 h 51"/>
              <a:gd name="T10" fmla="*/ 42 w 58"/>
              <a:gd name="T11" fmla="*/ 21 h 51"/>
              <a:gd name="T12" fmla="*/ 39 w 58"/>
              <a:gd name="T13" fmla="*/ 27 h 51"/>
              <a:gd name="T14" fmla="*/ 47 w 58"/>
              <a:gd name="T15" fmla="*/ 33 h 51"/>
              <a:gd name="T16" fmla="*/ 55 w 58"/>
              <a:gd name="T17" fmla="*/ 36 h 51"/>
              <a:gd name="T18" fmla="*/ 58 w 58"/>
              <a:gd name="T19" fmla="*/ 51 h 51"/>
              <a:gd name="T20" fmla="*/ 52 w 58"/>
              <a:gd name="T21" fmla="*/ 51 h 51"/>
              <a:gd name="T22" fmla="*/ 43 w 58"/>
              <a:gd name="T23" fmla="*/ 39 h 51"/>
              <a:gd name="T24" fmla="*/ 42 w 58"/>
              <a:gd name="T25" fmla="*/ 36 h 51"/>
              <a:gd name="T26" fmla="*/ 35 w 58"/>
              <a:gd name="T27" fmla="*/ 36 h 51"/>
              <a:gd name="T28" fmla="*/ 29 w 58"/>
              <a:gd name="T29" fmla="*/ 31 h 51"/>
              <a:gd name="T30" fmla="*/ 26 w 58"/>
              <a:gd name="T31" fmla="*/ 31 h 51"/>
              <a:gd name="T32" fmla="*/ 18 w 58"/>
              <a:gd name="T33" fmla="*/ 25 h 51"/>
              <a:gd name="T34" fmla="*/ 4 w 58"/>
              <a:gd name="T35" fmla="*/ 20 h 51"/>
              <a:gd name="T36" fmla="*/ 4 w 58"/>
              <a:gd name="T37" fmla="*/ 10 h 51"/>
              <a:gd name="T38" fmla="*/ 0 w 58"/>
              <a:gd name="T39" fmla="*/ 3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58" h="51">
                <a:moveTo>
                  <a:pt x="0" y="3"/>
                </a:moveTo>
                <a:lnTo>
                  <a:pt x="23" y="0"/>
                </a:lnTo>
                <a:lnTo>
                  <a:pt x="27" y="5"/>
                </a:lnTo>
                <a:lnTo>
                  <a:pt x="34" y="9"/>
                </a:lnTo>
                <a:lnTo>
                  <a:pt x="32" y="14"/>
                </a:lnTo>
                <a:lnTo>
                  <a:pt x="42" y="21"/>
                </a:lnTo>
                <a:lnTo>
                  <a:pt x="39" y="27"/>
                </a:lnTo>
                <a:lnTo>
                  <a:pt x="47" y="33"/>
                </a:lnTo>
                <a:lnTo>
                  <a:pt x="55" y="36"/>
                </a:lnTo>
                <a:lnTo>
                  <a:pt x="58" y="51"/>
                </a:lnTo>
                <a:lnTo>
                  <a:pt x="52" y="51"/>
                </a:lnTo>
                <a:lnTo>
                  <a:pt x="43" y="39"/>
                </a:lnTo>
                <a:lnTo>
                  <a:pt x="42" y="36"/>
                </a:lnTo>
                <a:lnTo>
                  <a:pt x="35" y="36"/>
                </a:lnTo>
                <a:lnTo>
                  <a:pt x="29" y="31"/>
                </a:lnTo>
                <a:lnTo>
                  <a:pt x="26" y="31"/>
                </a:lnTo>
                <a:lnTo>
                  <a:pt x="18" y="25"/>
                </a:lnTo>
                <a:lnTo>
                  <a:pt x="4" y="20"/>
                </a:lnTo>
                <a:lnTo>
                  <a:pt x="4" y="10"/>
                </a:lnTo>
                <a:lnTo>
                  <a:pt x="0" y="3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65" name="Freeform 14"/>
          <p:cNvSpPr>
            <a:spLocks/>
          </p:cNvSpPr>
          <p:nvPr/>
        </p:nvSpPr>
        <p:spPr bwMode="auto">
          <a:xfrm>
            <a:off x="1281936" y="2361452"/>
            <a:ext cx="486870" cy="271468"/>
          </a:xfrm>
          <a:custGeom>
            <a:avLst/>
            <a:gdLst>
              <a:gd name="T0" fmla="*/ 120 w 120"/>
              <a:gd name="T1" fmla="*/ 19 h 54"/>
              <a:gd name="T2" fmla="*/ 119 w 120"/>
              <a:gd name="T3" fmla="*/ 27 h 54"/>
              <a:gd name="T4" fmla="*/ 110 w 120"/>
              <a:gd name="T5" fmla="*/ 27 h 54"/>
              <a:gd name="T6" fmla="*/ 114 w 120"/>
              <a:gd name="T7" fmla="*/ 32 h 54"/>
              <a:gd name="T8" fmla="*/ 109 w 120"/>
              <a:gd name="T9" fmla="*/ 45 h 54"/>
              <a:gd name="T10" fmla="*/ 107 w 120"/>
              <a:gd name="T11" fmla="*/ 48 h 54"/>
              <a:gd name="T12" fmla="*/ 92 w 120"/>
              <a:gd name="T13" fmla="*/ 49 h 54"/>
              <a:gd name="T14" fmla="*/ 85 w 120"/>
              <a:gd name="T15" fmla="*/ 54 h 54"/>
              <a:gd name="T16" fmla="*/ 71 w 120"/>
              <a:gd name="T17" fmla="*/ 52 h 54"/>
              <a:gd name="T18" fmla="*/ 47 w 120"/>
              <a:gd name="T19" fmla="*/ 47 h 54"/>
              <a:gd name="T20" fmla="*/ 43 w 120"/>
              <a:gd name="T21" fmla="*/ 40 h 54"/>
              <a:gd name="T22" fmla="*/ 27 w 120"/>
              <a:gd name="T23" fmla="*/ 43 h 54"/>
              <a:gd name="T24" fmla="*/ 25 w 120"/>
              <a:gd name="T25" fmla="*/ 47 h 54"/>
              <a:gd name="T26" fmla="*/ 15 w 120"/>
              <a:gd name="T27" fmla="*/ 44 h 54"/>
              <a:gd name="T28" fmla="*/ 7 w 120"/>
              <a:gd name="T29" fmla="*/ 44 h 54"/>
              <a:gd name="T30" fmla="*/ 0 w 120"/>
              <a:gd name="T31" fmla="*/ 40 h 54"/>
              <a:gd name="T32" fmla="*/ 2 w 120"/>
              <a:gd name="T33" fmla="*/ 35 h 54"/>
              <a:gd name="T34" fmla="*/ 1 w 120"/>
              <a:gd name="T35" fmla="*/ 31 h 54"/>
              <a:gd name="T36" fmla="*/ 6 w 120"/>
              <a:gd name="T37" fmla="*/ 30 h 54"/>
              <a:gd name="T38" fmla="*/ 15 w 120"/>
              <a:gd name="T39" fmla="*/ 36 h 54"/>
              <a:gd name="T40" fmla="*/ 16 w 120"/>
              <a:gd name="T41" fmla="*/ 30 h 54"/>
              <a:gd name="T42" fmla="*/ 31 w 120"/>
              <a:gd name="T43" fmla="*/ 31 h 54"/>
              <a:gd name="T44" fmla="*/ 42 w 120"/>
              <a:gd name="T45" fmla="*/ 28 h 54"/>
              <a:gd name="T46" fmla="*/ 50 w 120"/>
              <a:gd name="T47" fmla="*/ 28 h 54"/>
              <a:gd name="T48" fmla="*/ 55 w 120"/>
              <a:gd name="T49" fmla="*/ 32 h 54"/>
              <a:gd name="T50" fmla="*/ 57 w 120"/>
              <a:gd name="T51" fmla="*/ 29 h 54"/>
              <a:gd name="T52" fmla="*/ 53 w 120"/>
              <a:gd name="T53" fmla="*/ 16 h 54"/>
              <a:gd name="T54" fmla="*/ 59 w 120"/>
              <a:gd name="T55" fmla="*/ 13 h 54"/>
              <a:gd name="T56" fmla="*/ 64 w 120"/>
              <a:gd name="T57" fmla="*/ 4 h 54"/>
              <a:gd name="T58" fmla="*/ 77 w 120"/>
              <a:gd name="T59" fmla="*/ 10 h 54"/>
              <a:gd name="T60" fmla="*/ 85 w 120"/>
              <a:gd name="T61" fmla="*/ 2 h 54"/>
              <a:gd name="T62" fmla="*/ 90 w 120"/>
              <a:gd name="T63" fmla="*/ 0 h 54"/>
              <a:gd name="T64" fmla="*/ 103 w 120"/>
              <a:gd name="T65" fmla="*/ 7 h 54"/>
              <a:gd name="T66" fmla="*/ 111 w 120"/>
              <a:gd name="T67" fmla="*/ 6 h 54"/>
              <a:gd name="T68" fmla="*/ 119 w 120"/>
              <a:gd name="T69" fmla="*/ 9 h 54"/>
              <a:gd name="T70" fmla="*/ 118 w 120"/>
              <a:gd name="T71" fmla="*/ 12 h 54"/>
              <a:gd name="T72" fmla="*/ 120 w 120"/>
              <a:gd name="T73" fmla="*/ 19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20" h="54">
                <a:moveTo>
                  <a:pt x="120" y="19"/>
                </a:moveTo>
                <a:lnTo>
                  <a:pt x="119" y="27"/>
                </a:lnTo>
                <a:lnTo>
                  <a:pt x="110" y="27"/>
                </a:lnTo>
                <a:lnTo>
                  <a:pt x="114" y="32"/>
                </a:lnTo>
                <a:lnTo>
                  <a:pt x="109" y="45"/>
                </a:lnTo>
                <a:lnTo>
                  <a:pt x="107" y="48"/>
                </a:lnTo>
                <a:lnTo>
                  <a:pt x="92" y="49"/>
                </a:lnTo>
                <a:lnTo>
                  <a:pt x="85" y="54"/>
                </a:lnTo>
                <a:lnTo>
                  <a:pt x="71" y="52"/>
                </a:lnTo>
                <a:lnTo>
                  <a:pt x="47" y="47"/>
                </a:lnTo>
                <a:lnTo>
                  <a:pt x="43" y="40"/>
                </a:lnTo>
                <a:lnTo>
                  <a:pt x="27" y="43"/>
                </a:lnTo>
                <a:lnTo>
                  <a:pt x="25" y="47"/>
                </a:lnTo>
                <a:lnTo>
                  <a:pt x="15" y="44"/>
                </a:lnTo>
                <a:lnTo>
                  <a:pt x="7" y="44"/>
                </a:lnTo>
                <a:lnTo>
                  <a:pt x="0" y="40"/>
                </a:lnTo>
                <a:lnTo>
                  <a:pt x="2" y="35"/>
                </a:lnTo>
                <a:lnTo>
                  <a:pt x="1" y="31"/>
                </a:lnTo>
                <a:lnTo>
                  <a:pt x="6" y="30"/>
                </a:lnTo>
                <a:lnTo>
                  <a:pt x="15" y="36"/>
                </a:lnTo>
                <a:lnTo>
                  <a:pt x="16" y="30"/>
                </a:lnTo>
                <a:lnTo>
                  <a:pt x="31" y="31"/>
                </a:lnTo>
                <a:lnTo>
                  <a:pt x="42" y="28"/>
                </a:lnTo>
                <a:lnTo>
                  <a:pt x="50" y="28"/>
                </a:lnTo>
                <a:lnTo>
                  <a:pt x="55" y="32"/>
                </a:lnTo>
                <a:lnTo>
                  <a:pt x="57" y="29"/>
                </a:lnTo>
                <a:lnTo>
                  <a:pt x="53" y="16"/>
                </a:lnTo>
                <a:lnTo>
                  <a:pt x="59" y="13"/>
                </a:lnTo>
                <a:lnTo>
                  <a:pt x="64" y="4"/>
                </a:lnTo>
                <a:lnTo>
                  <a:pt x="77" y="10"/>
                </a:lnTo>
                <a:lnTo>
                  <a:pt x="85" y="2"/>
                </a:lnTo>
                <a:lnTo>
                  <a:pt x="90" y="0"/>
                </a:lnTo>
                <a:lnTo>
                  <a:pt x="103" y="7"/>
                </a:lnTo>
                <a:lnTo>
                  <a:pt x="111" y="6"/>
                </a:lnTo>
                <a:lnTo>
                  <a:pt x="119" y="9"/>
                </a:lnTo>
                <a:lnTo>
                  <a:pt x="118" y="12"/>
                </a:lnTo>
                <a:lnTo>
                  <a:pt x="120" y="19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66" name="Freeform 15"/>
          <p:cNvSpPr>
            <a:spLocks/>
          </p:cNvSpPr>
          <p:nvPr/>
        </p:nvSpPr>
        <p:spPr bwMode="auto">
          <a:xfrm>
            <a:off x="3736574" y="3321642"/>
            <a:ext cx="105489" cy="100543"/>
          </a:xfrm>
          <a:custGeom>
            <a:avLst/>
            <a:gdLst>
              <a:gd name="T0" fmla="*/ 14 w 108"/>
              <a:gd name="T1" fmla="*/ 1 h 85"/>
              <a:gd name="T2" fmla="*/ 38 w 108"/>
              <a:gd name="T3" fmla="*/ 23 h 85"/>
              <a:gd name="T4" fmla="*/ 69 w 108"/>
              <a:gd name="T5" fmla="*/ 23 h 85"/>
              <a:gd name="T6" fmla="*/ 71 w 108"/>
              <a:gd name="T7" fmla="*/ 36 h 85"/>
              <a:gd name="T8" fmla="*/ 108 w 108"/>
              <a:gd name="T9" fmla="*/ 85 h 85"/>
              <a:gd name="T10" fmla="*/ 58 w 108"/>
              <a:gd name="T11" fmla="*/ 74 h 85"/>
              <a:gd name="T12" fmla="*/ 16 w 108"/>
              <a:gd name="T13" fmla="*/ 35 h 85"/>
              <a:gd name="T14" fmla="*/ 0 w 108"/>
              <a:gd name="T15" fmla="*/ 3 h 85"/>
              <a:gd name="T16" fmla="*/ 14 w 108"/>
              <a:gd name="T17" fmla="*/ 0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8" h="85">
                <a:moveTo>
                  <a:pt x="14" y="1"/>
                </a:moveTo>
                <a:lnTo>
                  <a:pt x="38" y="23"/>
                </a:lnTo>
                <a:lnTo>
                  <a:pt x="69" y="23"/>
                </a:lnTo>
                <a:lnTo>
                  <a:pt x="71" y="36"/>
                </a:lnTo>
                <a:lnTo>
                  <a:pt x="108" y="85"/>
                </a:lnTo>
                <a:lnTo>
                  <a:pt x="58" y="74"/>
                </a:lnTo>
                <a:lnTo>
                  <a:pt x="16" y="35"/>
                </a:lnTo>
                <a:lnTo>
                  <a:pt x="0" y="3"/>
                </a:lnTo>
                <a:lnTo>
                  <a:pt x="14" y="0"/>
                </a:lnTo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67" name="Freeform 16"/>
          <p:cNvSpPr>
            <a:spLocks/>
          </p:cNvSpPr>
          <p:nvPr/>
        </p:nvSpPr>
        <p:spPr bwMode="auto">
          <a:xfrm>
            <a:off x="3724401" y="3100447"/>
            <a:ext cx="385440" cy="372010"/>
          </a:xfrm>
          <a:custGeom>
            <a:avLst/>
            <a:gdLst>
              <a:gd name="T0" fmla="*/ 40 w 95"/>
              <a:gd name="T1" fmla="*/ 13 h 74"/>
              <a:gd name="T2" fmla="*/ 48 w 95"/>
              <a:gd name="T3" fmla="*/ 15 h 74"/>
              <a:gd name="T4" fmla="*/ 50 w 95"/>
              <a:gd name="T5" fmla="*/ 9 h 74"/>
              <a:gd name="T6" fmla="*/ 58 w 95"/>
              <a:gd name="T7" fmla="*/ 1 h 74"/>
              <a:gd name="T8" fmla="*/ 69 w 95"/>
              <a:gd name="T9" fmla="*/ 12 h 74"/>
              <a:gd name="T10" fmla="*/ 81 w 95"/>
              <a:gd name="T11" fmla="*/ 27 h 74"/>
              <a:gd name="T12" fmla="*/ 89 w 95"/>
              <a:gd name="T13" fmla="*/ 28 h 74"/>
              <a:gd name="T14" fmla="*/ 95 w 95"/>
              <a:gd name="T15" fmla="*/ 33 h 74"/>
              <a:gd name="T16" fmla="*/ 82 w 95"/>
              <a:gd name="T17" fmla="*/ 35 h 74"/>
              <a:gd name="T18" fmla="*/ 82 w 95"/>
              <a:gd name="T19" fmla="*/ 51 h 74"/>
              <a:gd name="T20" fmla="*/ 80 w 95"/>
              <a:gd name="T21" fmla="*/ 58 h 74"/>
              <a:gd name="T22" fmla="*/ 75 w 95"/>
              <a:gd name="T23" fmla="*/ 63 h 74"/>
              <a:gd name="T24" fmla="*/ 77 w 95"/>
              <a:gd name="T25" fmla="*/ 73 h 74"/>
              <a:gd name="T26" fmla="*/ 73 w 95"/>
              <a:gd name="T27" fmla="*/ 74 h 74"/>
              <a:gd name="T28" fmla="*/ 61 w 95"/>
              <a:gd name="T29" fmla="*/ 63 h 74"/>
              <a:gd name="T30" fmla="*/ 65 w 95"/>
              <a:gd name="T31" fmla="*/ 53 h 74"/>
              <a:gd name="T32" fmla="*/ 59 w 95"/>
              <a:gd name="T33" fmla="*/ 47 h 74"/>
              <a:gd name="T34" fmla="*/ 52 w 95"/>
              <a:gd name="T35" fmla="*/ 49 h 74"/>
              <a:gd name="T36" fmla="*/ 35 w 95"/>
              <a:gd name="T37" fmla="*/ 64 h 74"/>
              <a:gd name="T38" fmla="*/ 32 w 95"/>
              <a:gd name="T39" fmla="*/ 49 h 74"/>
              <a:gd name="T40" fmla="*/ 24 w 95"/>
              <a:gd name="T41" fmla="*/ 46 h 74"/>
              <a:gd name="T42" fmla="*/ 16 w 95"/>
              <a:gd name="T43" fmla="*/ 40 h 74"/>
              <a:gd name="T44" fmla="*/ 19 w 95"/>
              <a:gd name="T45" fmla="*/ 34 h 74"/>
              <a:gd name="T46" fmla="*/ 9 w 95"/>
              <a:gd name="T47" fmla="*/ 27 h 74"/>
              <a:gd name="T48" fmla="*/ 11 w 95"/>
              <a:gd name="T49" fmla="*/ 22 h 74"/>
              <a:gd name="T50" fmla="*/ 4 w 95"/>
              <a:gd name="T51" fmla="*/ 18 h 74"/>
              <a:gd name="T52" fmla="*/ 0 w 95"/>
              <a:gd name="T53" fmla="*/ 13 h 74"/>
              <a:gd name="T54" fmla="*/ 3 w 95"/>
              <a:gd name="T55" fmla="*/ 9 h 74"/>
              <a:gd name="T56" fmla="*/ 17 w 95"/>
              <a:gd name="T57" fmla="*/ 15 h 74"/>
              <a:gd name="T58" fmla="*/ 26 w 95"/>
              <a:gd name="T59" fmla="*/ 17 h 74"/>
              <a:gd name="T60" fmla="*/ 28 w 95"/>
              <a:gd name="T61" fmla="*/ 14 h 74"/>
              <a:gd name="T62" fmla="*/ 18 w 95"/>
              <a:gd name="T63" fmla="*/ 3 h 74"/>
              <a:gd name="T64" fmla="*/ 21 w 95"/>
              <a:gd name="T65" fmla="*/ 0 h 74"/>
              <a:gd name="T66" fmla="*/ 26 w 95"/>
              <a:gd name="T67" fmla="*/ 1 h 74"/>
              <a:gd name="T68" fmla="*/ 40 w 95"/>
              <a:gd name="T69" fmla="*/ 13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95" h="74">
                <a:moveTo>
                  <a:pt x="40" y="13"/>
                </a:moveTo>
                <a:lnTo>
                  <a:pt x="48" y="15"/>
                </a:lnTo>
                <a:lnTo>
                  <a:pt x="50" y="9"/>
                </a:lnTo>
                <a:lnTo>
                  <a:pt x="58" y="1"/>
                </a:lnTo>
                <a:lnTo>
                  <a:pt x="69" y="12"/>
                </a:lnTo>
                <a:lnTo>
                  <a:pt x="81" y="27"/>
                </a:lnTo>
                <a:lnTo>
                  <a:pt x="89" y="28"/>
                </a:lnTo>
                <a:lnTo>
                  <a:pt x="95" y="33"/>
                </a:lnTo>
                <a:lnTo>
                  <a:pt x="82" y="35"/>
                </a:lnTo>
                <a:lnTo>
                  <a:pt x="82" y="51"/>
                </a:lnTo>
                <a:lnTo>
                  <a:pt x="80" y="58"/>
                </a:lnTo>
                <a:lnTo>
                  <a:pt x="75" y="63"/>
                </a:lnTo>
                <a:lnTo>
                  <a:pt x="77" y="73"/>
                </a:lnTo>
                <a:lnTo>
                  <a:pt x="73" y="74"/>
                </a:lnTo>
                <a:lnTo>
                  <a:pt x="61" y="63"/>
                </a:lnTo>
                <a:lnTo>
                  <a:pt x="65" y="53"/>
                </a:lnTo>
                <a:lnTo>
                  <a:pt x="59" y="47"/>
                </a:lnTo>
                <a:lnTo>
                  <a:pt x="52" y="49"/>
                </a:lnTo>
                <a:lnTo>
                  <a:pt x="35" y="64"/>
                </a:lnTo>
                <a:lnTo>
                  <a:pt x="32" y="49"/>
                </a:lnTo>
                <a:lnTo>
                  <a:pt x="24" y="46"/>
                </a:lnTo>
                <a:lnTo>
                  <a:pt x="16" y="40"/>
                </a:lnTo>
                <a:lnTo>
                  <a:pt x="19" y="34"/>
                </a:lnTo>
                <a:lnTo>
                  <a:pt x="9" y="27"/>
                </a:lnTo>
                <a:lnTo>
                  <a:pt x="11" y="22"/>
                </a:lnTo>
                <a:lnTo>
                  <a:pt x="4" y="18"/>
                </a:lnTo>
                <a:lnTo>
                  <a:pt x="0" y="13"/>
                </a:lnTo>
                <a:lnTo>
                  <a:pt x="3" y="9"/>
                </a:lnTo>
                <a:lnTo>
                  <a:pt x="17" y="15"/>
                </a:lnTo>
                <a:lnTo>
                  <a:pt x="26" y="17"/>
                </a:lnTo>
                <a:lnTo>
                  <a:pt x="28" y="14"/>
                </a:lnTo>
                <a:lnTo>
                  <a:pt x="18" y="3"/>
                </a:lnTo>
                <a:lnTo>
                  <a:pt x="21" y="0"/>
                </a:lnTo>
                <a:lnTo>
                  <a:pt x="26" y="1"/>
                </a:lnTo>
                <a:lnTo>
                  <a:pt x="40" y="13"/>
                </a:lnTo>
                <a:close/>
              </a:path>
            </a:pathLst>
          </a:custGeom>
          <a:solidFill>
            <a:srgbClr val="92D050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68" name="Freeform 18"/>
          <p:cNvSpPr>
            <a:spLocks/>
          </p:cNvSpPr>
          <p:nvPr/>
        </p:nvSpPr>
        <p:spPr bwMode="auto">
          <a:xfrm>
            <a:off x="815351" y="2115123"/>
            <a:ext cx="235322" cy="201085"/>
          </a:xfrm>
          <a:custGeom>
            <a:avLst/>
            <a:gdLst>
              <a:gd name="T0" fmla="*/ 13 w 58"/>
              <a:gd name="T1" fmla="*/ 3 h 40"/>
              <a:gd name="T2" fmla="*/ 24 w 58"/>
              <a:gd name="T3" fmla="*/ 4 h 40"/>
              <a:gd name="T4" fmla="*/ 39 w 58"/>
              <a:gd name="T5" fmla="*/ 0 h 40"/>
              <a:gd name="T6" fmla="*/ 49 w 58"/>
              <a:gd name="T7" fmla="*/ 9 h 40"/>
              <a:gd name="T8" fmla="*/ 58 w 58"/>
              <a:gd name="T9" fmla="*/ 14 h 40"/>
              <a:gd name="T10" fmla="*/ 57 w 58"/>
              <a:gd name="T11" fmla="*/ 27 h 40"/>
              <a:gd name="T12" fmla="*/ 53 w 58"/>
              <a:gd name="T13" fmla="*/ 28 h 40"/>
              <a:gd name="T14" fmla="*/ 51 w 58"/>
              <a:gd name="T15" fmla="*/ 40 h 40"/>
              <a:gd name="T16" fmla="*/ 37 w 58"/>
              <a:gd name="T17" fmla="*/ 30 h 40"/>
              <a:gd name="T18" fmla="*/ 29 w 58"/>
              <a:gd name="T19" fmla="*/ 32 h 40"/>
              <a:gd name="T20" fmla="*/ 17 w 58"/>
              <a:gd name="T21" fmla="*/ 22 h 40"/>
              <a:gd name="T22" fmla="*/ 10 w 58"/>
              <a:gd name="T23" fmla="*/ 14 h 40"/>
              <a:gd name="T24" fmla="*/ 3 w 58"/>
              <a:gd name="T25" fmla="*/ 14 h 40"/>
              <a:gd name="T26" fmla="*/ 0 w 58"/>
              <a:gd name="T27" fmla="*/ 7 h 40"/>
              <a:gd name="T28" fmla="*/ 13 w 58"/>
              <a:gd name="T29" fmla="*/ 3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8" h="40">
                <a:moveTo>
                  <a:pt x="13" y="3"/>
                </a:moveTo>
                <a:lnTo>
                  <a:pt x="24" y="4"/>
                </a:lnTo>
                <a:lnTo>
                  <a:pt x="39" y="0"/>
                </a:lnTo>
                <a:lnTo>
                  <a:pt x="49" y="9"/>
                </a:lnTo>
                <a:lnTo>
                  <a:pt x="58" y="14"/>
                </a:lnTo>
                <a:lnTo>
                  <a:pt x="57" y="27"/>
                </a:lnTo>
                <a:lnTo>
                  <a:pt x="53" y="28"/>
                </a:lnTo>
                <a:lnTo>
                  <a:pt x="51" y="40"/>
                </a:lnTo>
                <a:lnTo>
                  <a:pt x="37" y="30"/>
                </a:lnTo>
                <a:lnTo>
                  <a:pt x="29" y="32"/>
                </a:lnTo>
                <a:lnTo>
                  <a:pt x="17" y="22"/>
                </a:lnTo>
                <a:lnTo>
                  <a:pt x="10" y="14"/>
                </a:lnTo>
                <a:lnTo>
                  <a:pt x="3" y="14"/>
                </a:lnTo>
                <a:lnTo>
                  <a:pt x="0" y="7"/>
                </a:lnTo>
                <a:lnTo>
                  <a:pt x="13" y="3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69" name="Freeform 19"/>
          <p:cNvSpPr>
            <a:spLocks/>
          </p:cNvSpPr>
          <p:nvPr/>
        </p:nvSpPr>
        <p:spPr bwMode="auto">
          <a:xfrm>
            <a:off x="709862" y="6187126"/>
            <a:ext cx="227207" cy="638452"/>
          </a:xfrm>
          <a:custGeom>
            <a:avLst/>
            <a:gdLst>
              <a:gd name="T0" fmla="*/ 36 w 56"/>
              <a:gd name="T1" fmla="*/ 124 h 127"/>
              <a:gd name="T2" fmla="*/ 20 w 56"/>
              <a:gd name="T3" fmla="*/ 127 h 127"/>
              <a:gd name="T4" fmla="*/ 16 w 56"/>
              <a:gd name="T5" fmla="*/ 113 h 127"/>
              <a:gd name="T6" fmla="*/ 17 w 56"/>
              <a:gd name="T7" fmla="*/ 65 h 127"/>
              <a:gd name="T8" fmla="*/ 13 w 56"/>
              <a:gd name="T9" fmla="*/ 61 h 127"/>
              <a:gd name="T10" fmla="*/ 12 w 56"/>
              <a:gd name="T11" fmla="*/ 50 h 127"/>
              <a:gd name="T12" fmla="*/ 6 w 56"/>
              <a:gd name="T13" fmla="*/ 43 h 127"/>
              <a:gd name="T14" fmla="*/ 0 w 56"/>
              <a:gd name="T15" fmla="*/ 37 h 127"/>
              <a:gd name="T16" fmla="*/ 3 w 56"/>
              <a:gd name="T17" fmla="*/ 26 h 127"/>
              <a:gd name="T18" fmla="*/ 9 w 56"/>
              <a:gd name="T19" fmla="*/ 23 h 127"/>
              <a:gd name="T20" fmla="*/ 13 w 56"/>
              <a:gd name="T21" fmla="*/ 14 h 127"/>
              <a:gd name="T22" fmla="*/ 22 w 56"/>
              <a:gd name="T23" fmla="*/ 13 h 127"/>
              <a:gd name="T24" fmla="*/ 26 w 56"/>
              <a:gd name="T25" fmla="*/ 6 h 127"/>
              <a:gd name="T26" fmla="*/ 32 w 56"/>
              <a:gd name="T27" fmla="*/ 0 h 127"/>
              <a:gd name="T28" fmla="*/ 38 w 56"/>
              <a:gd name="T29" fmla="*/ 0 h 127"/>
              <a:gd name="T30" fmla="*/ 52 w 56"/>
              <a:gd name="T31" fmla="*/ 12 h 127"/>
              <a:gd name="T32" fmla="*/ 52 w 56"/>
              <a:gd name="T33" fmla="*/ 19 h 127"/>
              <a:gd name="T34" fmla="*/ 56 w 56"/>
              <a:gd name="T35" fmla="*/ 31 h 127"/>
              <a:gd name="T36" fmla="*/ 52 w 56"/>
              <a:gd name="T37" fmla="*/ 40 h 127"/>
              <a:gd name="T38" fmla="*/ 54 w 56"/>
              <a:gd name="T39" fmla="*/ 45 h 127"/>
              <a:gd name="T40" fmla="*/ 45 w 56"/>
              <a:gd name="T41" fmla="*/ 58 h 127"/>
              <a:gd name="T42" fmla="*/ 40 w 56"/>
              <a:gd name="T43" fmla="*/ 64 h 127"/>
              <a:gd name="T44" fmla="*/ 36 w 56"/>
              <a:gd name="T45" fmla="*/ 78 h 127"/>
              <a:gd name="T46" fmla="*/ 37 w 56"/>
              <a:gd name="T47" fmla="*/ 91 h 127"/>
              <a:gd name="T48" fmla="*/ 36 w 56"/>
              <a:gd name="T49" fmla="*/ 124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6" h="127">
                <a:moveTo>
                  <a:pt x="36" y="124"/>
                </a:moveTo>
                <a:lnTo>
                  <a:pt x="20" y="127"/>
                </a:lnTo>
                <a:lnTo>
                  <a:pt x="16" y="113"/>
                </a:lnTo>
                <a:lnTo>
                  <a:pt x="17" y="65"/>
                </a:lnTo>
                <a:lnTo>
                  <a:pt x="13" y="61"/>
                </a:lnTo>
                <a:lnTo>
                  <a:pt x="12" y="50"/>
                </a:lnTo>
                <a:lnTo>
                  <a:pt x="6" y="43"/>
                </a:lnTo>
                <a:lnTo>
                  <a:pt x="0" y="37"/>
                </a:lnTo>
                <a:lnTo>
                  <a:pt x="3" y="26"/>
                </a:lnTo>
                <a:lnTo>
                  <a:pt x="9" y="23"/>
                </a:lnTo>
                <a:lnTo>
                  <a:pt x="13" y="14"/>
                </a:lnTo>
                <a:lnTo>
                  <a:pt x="22" y="13"/>
                </a:lnTo>
                <a:lnTo>
                  <a:pt x="26" y="6"/>
                </a:lnTo>
                <a:lnTo>
                  <a:pt x="32" y="0"/>
                </a:lnTo>
                <a:lnTo>
                  <a:pt x="38" y="0"/>
                </a:lnTo>
                <a:lnTo>
                  <a:pt x="52" y="12"/>
                </a:lnTo>
                <a:lnTo>
                  <a:pt x="52" y="19"/>
                </a:lnTo>
                <a:lnTo>
                  <a:pt x="56" y="31"/>
                </a:lnTo>
                <a:lnTo>
                  <a:pt x="52" y="40"/>
                </a:lnTo>
                <a:lnTo>
                  <a:pt x="54" y="45"/>
                </a:lnTo>
                <a:lnTo>
                  <a:pt x="45" y="58"/>
                </a:lnTo>
                <a:lnTo>
                  <a:pt x="40" y="64"/>
                </a:lnTo>
                <a:lnTo>
                  <a:pt x="36" y="78"/>
                </a:lnTo>
                <a:lnTo>
                  <a:pt x="37" y="91"/>
                </a:lnTo>
                <a:lnTo>
                  <a:pt x="36" y="124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70" name="Freeform 20"/>
          <p:cNvSpPr>
            <a:spLocks/>
          </p:cNvSpPr>
          <p:nvPr/>
        </p:nvSpPr>
        <p:spPr bwMode="auto">
          <a:xfrm>
            <a:off x="247337" y="5885498"/>
            <a:ext cx="568015" cy="578125"/>
          </a:xfrm>
          <a:custGeom>
            <a:avLst/>
            <a:gdLst>
              <a:gd name="T0" fmla="*/ 49 w 140"/>
              <a:gd name="T1" fmla="*/ 114 h 115"/>
              <a:gd name="T2" fmla="*/ 36 w 140"/>
              <a:gd name="T3" fmla="*/ 109 h 115"/>
              <a:gd name="T4" fmla="*/ 28 w 140"/>
              <a:gd name="T5" fmla="*/ 110 h 115"/>
              <a:gd name="T6" fmla="*/ 21 w 140"/>
              <a:gd name="T7" fmla="*/ 115 h 115"/>
              <a:gd name="T8" fmla="*/ 13 w 140"/>
              <a:gd name="T9" fmla="*/ 110 h 115"/>
              <a:gd name="T10" fmla="*/ 10 w 140"/>
              <a:gd name="T11" fmla="*/ 103 h 115"/>
              <a:gd name="T12" fmla="*/ 1 w 140"/>
              <a:gd name="T13" fmla="*/ 99 h 115"/>
              <a:gd name="T14" fmla="*/ 0 w 140"/>
              <a:gd name="T15" fmla="*/ 87 h 115"/>
              <a:gd name="T16" fmla="*/ 5 w 140"/>
              <a:gd name="T17" fmla="*/ 78 h 115"/>
              <a:gd name="T18" fmla="*/ 5 w 140"/>
              <a:gd name="T19" fmla="*/ 71 h 115"/>
              <a:gd name="T20" fmla="*/ 19 w 140"/>
              <a:gd name="T21" fmla="*/ 54 h 115"/>
              <a:gd name="T22" fmla="*/ 22 w 140"/>
              <a:gd name="T23" fmla="*/ 40 h 115"/>
              <a:gd name="T24" fmla="*/ 27 w 140"/>
              <a:gd name="T25" fmla="*/ 34 h 115"/>
              <a:gd name="T26" fmla="*/ 36 w 140"/>
              <a:gd name="T27" fmla="*/ 37 h 115"/>
              <a:gd name="T28" fmla="*/ 44 w 140"/>
              <a:gd name="T29" fmla="*/ 33 h 115"/>
              <a:gd name="T30" fmla="*/ 46 w 140"/>
              <a:gd name="T31" fmla="*/ 28 h 115"/>
              <a:gd name="T32" fmla="*/ 61 w 140"/>
              <a:gd name="T33" fmla="*/ 18 h 115"/>
              <a:gd name="T34" fmla="*/ 64 w 140"/>
              <a:gd name="T35" fmla="*/ 12 h 115"/>
              <a:gd name="T36" fmla="*/ 81 w 140"/>
              <a:gd name="T37" fmla="*/ 3 h 115"/>
              <a:gd name="T38" fmla="*/ 91 w 140"/>
              <a:gd name="T39" fmla="*/ 0 h 115"/>
              <a:gd name="T40" fmla="*/ 95 w 140"/>
              <a:gd name="T41" fmla="*/ 4 h 115"/>
              <a:gd name="T42" fmla="*/ 107 w 140"/>
              <a:gd name="T43" fmla="*/ 4 h 115"/>
              <a:gd name="T44" fmla="*/ 106 w 140"/>
              <a:gd name="T45" fmla="*/ 14 h 115"/>
              <a:gd name="T46" fmla="*/ 108 w 140"/>
              <a:gd name="T47" fmla="*/ 24 h 115"/>
              <a:gd name="T48" fmla="*/ 118 w 140"/>
              <a:gd name="T49" fmla="*/ 37 h 115"/>
              <a:gd name="T50" fmla="*/ 119 w 140"/>
              <a:gd name="T51" fmla="*/ 47 h 115"/>
              <a:gd name="T52" fmla="*/ 140 w 140"/>
              <a:gd name="T53" fmla="*/ 52 h 115"/>
              <a:gd name="T54" fmla="*/ 140 w 140"/>
              <a:gd name="T55" fmla="*/ 66 h 115"/>
              <a:gd name="T56" fmla="*/ 136 w 140"/>
              <a:gd name="T57" fmla="*/ 73 h 115"/>
              <a:gd name="T58" fmla="*/ 127 w 140"/>
              <a:gd name="T59" fmla="*/ 74 h 115"/>
              <a:gd name="T60" fmla="*/ 123 w 140"/>
              <a:gd name="T61" fmla="*/ 83 h 115"/>
              <a:gd name="T62" fmla="*/ 117 w 140"/>
              <a:gd name="T63" fmla="*/ 86 h 115"/>
              <a:gd name="T64" fmla="*/ 101 w 140"/>
              <a:gd name="T65" fmla="*/ 85 h 115"/>
              <a:gd name="T66" fmla="*/ 92 w 140"/>
              <a:gd name="T67" fmla="*/ 84 h 115"/>
              <a:gd name="T68" fmla="*/ 86 w 140"/>
              <a:gd name="T69" fmla="*/ 87 h 115"/>
              <a:gd name="T70" fmla="*/ 78 w 140"/>
              <a:gd name="T71" fmla="*/ 86 h 115"/>
              <a:gd name="T72" fmla="*/ 47 w 140"/>
              <a:gd name="T73" fmla="*/ 87 h 115"/>
              <a:gd name="T74" fmla="*/ 46 w 140"/>
              <a:gd name="T75" fmla="*/ 98 h 115"/>
              <a:gd name="T76" fmla="*/ 49 w 140"/>
              <a:gd name="T77" fmla="*/ 114 h 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40" h="115">
                <a:moveTo>
                  <a:pt x="49" y="114"/>
                </a:moveTo>
                <a:lnTo>
                  <a:pt x="36" y="109"/>
                </a:lnTo>
                <a:lnTo>
                  <a:pt x="28" y="110"/>
                </a:lnTo>
                <a:lnTo>
                  <a:pt x="21" y="115"/>
                </a:lnTo>
                <a:lnTo>
                  <a:pt x="13" y="110"/>
                </a:lnTo>
                <a:lnTo>
                  <a:pt x="10" y="103"/>
                </a:lnTo>
                <a:lnTo>
                  <a:pt x="1" y="99"/>
                </a:lnTo>
                <a:lnTo>
                  <a:pt x="0" y="87"/>
                </a:lnTo>
                <a:lnTo>
                  <a:pt x="5" y="78"/>
                </a:lnTo>
                <a:lnTo>
                  <a:pt x="5" y="71"/>
                </a:lnTo>
                <a:lnTo>
                  <a:pt x="19" y="54"/>
                </a:lnTo>
                <a:lnTo>
                  <a:pt x="22" y="40"/>
                </a:lnTo>
                <a:lnTo>
                  <a:pt x="27" y="34"/>
                </a:lnTo>
                <a:lnTo>
                  <a:pt x="36" y="37"/>
                </a:lnTo>
                <a:lnTo>
                  <a:pt x="44" y="33"/>
                </a:lnTo>
                <a:lnTo>
                  <a:pt x="46" y="28"/>
                </a:lnTo>
                <a:lnTo>
                  <a:pt x="61" y="18"/>
                </a:lnTo>
                <a:lnTo>
                  <a:pt x="64" y="12"/>
                </a:lnTo>
                <a:lnTo>
                  <a:pt x="81" y="3"/>
                </a:lnTo>
                <a:lnTo>
                  <a:pt x="91" y="0"/>
                </a:lnTo>
                <a:lnTo>
                  <a:pt x="95" y="4"/>
                </a:lnTo>
                <a:lnTo>
                  <a:pt x="107" y="4"/>
                </a:lnTo>
                <a:lnTo>
                  <a:pt x="106" y="14"/>
                </a:lnTo>
                <a:lnTo>
                  <a:pt x="108" y="24"/>
                </a:lnTo>
                <a:lnTo>
                  <a:pt x="118" y="37"/>
                </a:lnTo>
                <a:lnTo>
                  <a:pt x="119" y="47"/>
                </a:lnTo>
                <a:lnTo>
                  <a:pt x="140" y="52"/>
                </a:lnTo>
                <a:lnTo>
                  <a:pt x="140" y="66"/>
                </a:lnTo>
                <a:lnTo>
                  <a:pt x="136" y="73"/>
                </a:lnTo>
                <a:lnTo>
                  <a:pt x="127" y="74"/>
                </a:lnTo>
                <a:lnTo>
                  <a:pt x="123" y="83"/>
                </a:lnTo>
                <a:lnTo>
                  <a:pt x="117" y="86"/>
                </a:lnTo>
                <a:lnTo>
                  <a:pt x="101" y="85"/>
                </a:lnTo>
                <a:lnTo>
                  <a:pt x="92" y="84"/>
                </a:lnTo>
                <a:lnTo>
                  <a:pt x="86" y="87"/>
                </a:lnTo>
                <a:lnTo>
                  <a:pt x="78" y="86"/>
                </a:lnTo>
                <a:lnTo>
                  <a:pt x="47" y="87"/>
                </a:lnTo>
                <a:lnTo>
                  <a:pt x="46" y="98"/>
                </a:lnTo>
                <a:lnTo>
                  <a:pt x="49" y="114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71" name="Freeform 21"/>
          <p:cNvSpPr>
            <a:spLocks/>
          </p:cNvSpPr>
          <p:nvPr/>
        </p:nvSpPr>
        <p:spPr bwMode="auto">
          <a:xfrm>
            <a:off x="7031067" y="4704111"/>
            <a:ext cx="393555" cy="603259"/>
          </a:xfrm>
          <a:custGeom>
            <a:avLst/>
            <a:gdLst>
              <a:gd name="T0" fmla="*/ 94 w 97"/>
              <a:gd name="T1" fmla="*/ 92 h 120"/>
              <a:gd name="T2" fmla="*/ 97 w 97"/>
              <a:gd name="T3" fmla="*/ 106 h 120"/>
              <a:gd name="T4" fmla="*/ 90 w 97"/>
              <a:gd name="T5" fmla="*/ 103 h 120"/>
              <a:gd name="T6" fmla="*/ 94 w 97"/>
              <a:gd name="T7" fmla="*/ 120 h 120"/>
              <a:gd name="T8" fmla="*/ 87 w 97"/>
              <a:gd name="T9" fmla="*/ 109 h 120"/>
              <a:gd name="T10" fmla="*/ 84 w 97"/>
              <a:gd name="T11" fmla="*/ 99 h 120"/>
              <a:gd name="T12" fmla="*/ 79 w 97"/>
              <a:gd name="T13" fmla="*/ 89 h 120"/>
              <a:gd name="T14" fmla="*/ 69 w 97"/>
              <a:gd name="T15" fmla="*/ 76 h 120"/>
              <a:gd name="T16" fmla="*/ 53 w 97"/>
              <a:gd name="T17" fmla="*/ 76 h 120"/>
              <a:gd name="T18" fmla="*/ 56 w 97"/>
              <a:gd name="T19" fmla="*/ 84 h 120"/>
              <a:gd name="T20" fmla="*/ 52 w 97"/>
              <a:gd name="T21" fmla="*/ 96 h 120"/>
              <a:gd name="T22" fmla="*/ 44 w 97"/>
              <a:gd name="T23" fmla="*/ 92 h 120"/>
              <a:gd name="T24" fmla="*/ 42 w 97"/>
              <a:gd name="T25" fmla="*/ 95 h 120"/>
              <a:gd name="T26" fmla="*/ 36 w 97"/>
              <a:gd name="T27" fmla="*/ 93 h 120"/>
              <a:gd name="T28" fmla="*/ 29 w 97"/>
              <a:gd name="T29" fmla="*/ 91 h 120"/>
              <a:gd name="T30" fmla="*/ 23 w 97"/>
              <a:gd name="T31" fmla="*/ 74 h 120"/>
              <a:gd name="T32" fmla="*/ 14 w 97"/>
              <a:gd name="T33" fmla="*/ 58 h 120"/>
              <a:gd name="T34" fmla="*/ 15 w 97"/>
              <a:gd name="T35" fmla="*/ 46 h 120"/>
              <a:gd name="T36" fmla="*/ 3 w 97"/>
              <a:gd name="T37" fmla="*/ 40 h 120"/>
              <a:gd name="T38" fmla="*/ 6 w 97"/>
              <a:gd name="T39" fmla="*/ 33 h 120"/>
              <a:gd name="T40" fmla="*/ 16 w 97"/>
              <a:gd name="T41" fmla="*/ 25 h 120"/>
              <a:gd name="T42" fmla="*/ 0 w 97"/>
              <a:gd name="T43" fmla="*/ 14 h 120"/>
              <a:gd name="T44" fmla="*/ 4 w 97"/>
              <a:gd name="T45" fmla="*/ 0 h 120"/>
              <a:gd name="T46" fmla="*/ 20 w 97"/>
              <a:gd name="T47" fmla="*/ 9 h 120"/>
              <a:gd name="T48" fmla="*/ 28 w 97"/>
              <a:gd name="T49" fmla="*/ 10 h 120"/>
              <a:gd name="T50" fmla="*/ 33 w 97"/>
              <a:gd name="T51" fmla="*/ 24 h 120"/>
              <a:gd name="T52" fmla="*/ 50 w 97"/>
              <a:gd name="T53" fmla="*/ 27 h 120"/>
              <a:gd name="T54" fmla="*/ 67 w 97"/>
              <a:gd name="T55" fmla="*/ 27 h 120"/>
              <a:gd name="T56" fmla="*/ 78 w 97"/>
              <a:gd name="T57" fmla="*/ 31 h 120"/>
              <a:gd name="T58" fmla="*/ 73 w 97"/>
              <a:gd name="T59" fmla="*/ 48 h 120"/>
              <a:gd name="T60" fmla="*/ 65 w 97"/>
              <a:gd name="T61" fmla="*/ 49 h 120"/>
              <a:gd name="T62" fmla="*/ 62 w 97"/>
              <a:gd name="T63" fmla="*/ 61 h 120"/>
              <a:gd name="T64" fmla="*/ 74 w 97"/>
              <a:gd name="T65" fmla="*/ 72 h 120"/>
              <a:gd name="T66" fmla="*/ 74 w 97"/>
              <a:gd name="T67" fmla="*/ 59 h 120"/>
              <a:gd name="T68" fmla="*/ 79 w 97"/>
              <a:gd name="T69" fmla="*/ 59 h 120"/>
              <a:gd name="T70" fmla="*/ 94 w 97"/>
              <a:gd name="T71" fmla="*/ 92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97" h="120">
                <a:moveTo>
                  <a:pt x="94" y="92"/>
                </a:moveTo>
                <a:lnTo>
                  <a:pt x="97" y="106"/>
                </a:lnTo>
                <a:lnTo>
                  <a:pt x="90" y="103"/>
                </a:lnTo>
                <a:lnTo>
                  <a:pt x="94" y="120"/>
                </a:lnTo>
                <a:lnTo>
                  <a:pt x="87" y="109"/>
                </a:lnTo>
                <a:lnTo>
                  <a:pt x="84" y="99"/>
                </a:lnTo>
                <a:lnTo>
                  <a:pt x="79" y="89"/>
                </a:lnTo>
                <a:lnTo>
                  <a:pt x="69" y="76"/>
                </a:lnTo>
                <a:lnTo>
                  <a:pt x="53" y="76"/>
                </a:lnTo>
                <a:lnTo>
                  <a:pt x="56" y="84"/>
                </a:lnTo>
                <a:lnTo>
                  <a:pt x="52" y="96"/>
                </a:lnTo>
                <a:lnTo>
                  <a:pt x="44" y="92"/>
                </a:lnTo>
                <a:lnTo>
                  <a:pt x="42" y="95"/>
                </a:lnTo>
                <a:lnTo>
                  <a:pt x="36" y="93"/>
                </a:lnTo>
                <a:lnTo>
                  <a:pt x="29" y="91"/>
                </a:lnTo>
                <a:lnTo>
                  <a:pt x="23" y="74"/>
                </a:lnTo>
                <a:lnTo>
                  <a:pt x="14" y="58"/>
                </a:lnTo>
                <a:lnTo>
                  <a:pt x="15" y="46"/>
                </a:lnTo>
                <a:lnTo>
                  <a:pt x="3" y="40"/>
                </a:lnTo>
                <a:lnTo>
                  <a:pt x="6" y="33"/>
                </a:lnTo>
                <a:lnTo>
                  <a:pt x="16" y="25"/>
                </a:lnTo>
                <a:lnTo>
                  <a:pt x="0" y="14"/>
                </a:lnTo>
                <a:lnTo>
                  <a:pt x="4" y="0"/>
                </a:lnTo>
                <a:lnTo>
                  <a:pt x="20" y="9"/>
                </a:lnTo>
                <a:lnTo>
                  <a:pt x="28" y="10"/>
                </a:lnTo>
                <a:lnTo>
                  <a:pt x="33" y="24"/>
                </a:lnTo>
                <a:lnTo>
                  <a:pt x="50" y="27"/>
                </a:lnTo>
                <a:lnTo>
                  <a:pt x="67" y="27"/>
                </a:lnTo>
                <a:lnTo>
                  <a:pt x="78" y="31"/>
                </a:lnTo>
                <a:lnTo>
                  <a:pt x="73" y="48"/>
                </a:lnTo>
                <a:lnTo>
                  <a:pt x="65" y="49"/>
                </a:lnTo>
                <a:lnTo>
                  <a:pt x="62" y="61"/>
                </a:lnTo>
                <a:lnTo>
                  <a:pt x="74" y="72"/>
                </a:lnTo>
                <a:lnTo>
                  <a:pt x="74" y="59"/>
                </a:lnTo>
                <a:lnTo>
                  <a:pt x="79" y="59"/>
                </a:lnTo>
                <a:lnTo>
                  <a:pt x="94" y="92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72" name="Freeform 22"/>
          <p:cNvSpPr>
            <a:spLocks/>
          </p:cNvSpPr>
          <p:nvPr/>
        </p:nvSpPr>
        <p:spPr bwMode="auto">
          <a:xfrm>
            <a:off x="2162361" y="2854114"/>
            <a:ext cx="413840" cy="311686"/>
          </a:xfrm>
          <a:custGeom>
            <a:avLst/>
            <a:gdLst>
              <a:gd name="T0" fmla="*/ 3 w 102"/>
              <a:gd name="T1" fmla="*/ 0 h 62"/>
              <a:gd name="T2" fmla="*/ 9 w 102"/>
              <a:gd name="T3" fmla="*/ 9 h 62"/>
              <a:gd name="T4" fmla="*/ 15 w 102"/>
              <a:gd name="T5" fmla="*/ 7 h 62"/>
              <a:gd name="T6" fmla="*/ 28 w 102"/>
              <a:gd name="T7" fmla="*/ 10 h 62"/>
              <a:gd name="T8" fmla="*/ 53 w 102"/>
              <a:gd name="T9" fmla="*/ 12 h 62"/>
              <a:gd name="T10" fmla="*/ 60 w 102"/>
              <a:gd name="T11" fmla="*/ 6 h 62"/>
              <a:gd name="T12" fmla="*/ 80 w 102"/>
              <a:gd name="T13" fmla="*/ 2 h 62"/>
              <a:gd name="T14" fmla="*/ 92 w 102"/>
              <a:gd name="T15" fmla="*/ 9 h 62"/>
              <a:gd name="T16" fmla="*/ 102 w 102"/>
              <a:gd name="T17" fmla="*/ 11 h 62"/>
              <a:gd name="T18" fmla="*/ 95 w 102"/>
              <a:gd name="T19" fmla="*/ 20 h 62"/>
              <a:gd name="T20" fmla="*/ 91 w 102"/>
              <a:gd name="T21" fmla="*/ 34 h 62"/>
              <a:gd name="T22" fmla="*/ 98 w 102"/>
              <a:gd name="T23" fmla="*/ 46 h 62"/>
              <a:gd name="T24" fmla="*/ 83 w 102"/>
              <a:gd name="T25" fmla="*/ 43 h 62"/>
              <a:gd name="T26" fmla="*/ 66 w 102"/>
              <a:gd name="T27" fmla="*/ 50 h 62"/>
              <a:gd name="T28" fmla="*/ 67 w 102"/>
              <a:gd name="T29" fmla="*/ 60 h 62"/>
              <a:gd name="T30" fmla="*/ 52 w 102"/>
              <a:gd name="T31" fmla="*/ 62 h 62"/>
              <a:gd name="T32" fmla="*/ 40 w 102"/>
              <a:gd name="T33" fmla="*/ 55 h 62"/>
              <a:gd name="T34" fmla="*/ 27 w 102"/>
              <a:gd name="T35" fmla="*/ 60 h 62"/>
              <a:gd name="T36" fmla="*/ 14 w 102"/>
              <a:gd name="T37" fmla="*/ 60 h 62"/>
              <a:gd name="T38" fmla="*/ 12 w 102"/>
              <a:gd name="T39" fmla="*/ 46 h 62"/>
              <a:gd name="T40" fmla="*/ 3 w 102"/>
              <a:gd name="T41" fmla="*/ 40 h 62"/>
              <a:gd name="T42" fmla="*/ 5 w 102"/>
              <a:gd name="T43" fmla="*/ 37 h 62"/>
              <a:gd name="T44" fmla="*/ 3 w 102"/>
              <a:gd name="T45" fmla="*/ 34 h 62"/>
              <a:gd name="T46" fmla="*/ 5 w 102"/>
              <a:gd name="T47" fmla="*/ 28 h 62"/>
              <a:gd name="T48" fmla="*/ 11 w 102"/>
              <a:gd name="T49" fmla="*/ 21 h 62"/>
              <a:gd name="T50" fmla="*/ 2 w 102"/>
              <a:gd name="T51" fmla="*/ 13 h 62"/>
              <a:gd name="T52" fmla="*/ 0 w 102"/>
              <a:gd name="T53" fmla="*/ 5 h 62"/>
              <a:gd name="T54" fmla="*/ 3 w 102"/>
              <a:gd name="T55" fmla="*/ 0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02" h="62">
                <a:moveTo>
                  <a:pt x="3" y="0"/>
                </a:moveTo>
                <a:lnTo>
                  <a:pt x="9" y="9"/>
                </a:lnTo>
                <a:lnTo>
                  <a:pt x="15" y="7"/>
                </a:lnTo>
                <a:lnTo>
                  <a:pt x="28" y="10"/>
                </a:lnTo>
                <a:lnTo>
                  <a:pt x="53" y="12"/>
                </a:lnTo>
                <a:lnTo>
                  <a:pt x="60" y="6"/>
                </a:lnTo>
                <a:lnTo>
                  <a:pt x="80" y="2"/>
                </a:lnTo>
                <a:lnTo>
                  <a:pt x="92" y="9"/>
                </a:lnTo>
                <a:lnTo>
                  <a:pt x="102" y="11"/>
                </a:lnTo>
                <a:lnTo>
                  <a:pt x="95" y="20"/>
                </a:lnTo>
                <a:lnTo>
                  <a:pt x="91" y="34"/>
                </a:lnTo>
                <a:lnTo>
                  <a:pt x="98" y="46"/>
                </a:lnTo>
                <a:lnTo>
                  <a:pt x="83" y="43"/>
                </a:lnTo>
                <a:lnTo>
                  <a:pt x="66" y="50"/>
                </a:lnTo>
                <a:lnTo>
                  <a:pt x="67" y="60"/>
                </a:lnTo>
                <a:lnTo>
                  <a:pt x="52" y="62"/>
                </a:lnTo>
                <a:lnTo>
                  <a:pt x="40" y="55"/>
                </a:lnTo>
                <a:lnTo>
                  <a:pt x="27" y="60"/>
                </a:lnTo>
                <a:lnTo>
                  <a:pt x="14" y="60"/>
                </a:lnTo>
                <a:lnTo>
                  <a:pt x="12" y="46"/>
                </a:lnTo>
                <a:lnTo>
                  <a:pt x="3" y="40"/>
                </a:lnTo>
                <a:lnTo>
                  <a:pt x="5" y="37"/>
                </a:lnTo>
                <a:lnTo>
                  <a:pt x="3" y="34"/>
                </a:lnTo>
                <a:lnTo>
                  <a:pt x="5" y="28"/>
                </a:lnTo>
                <a:lnTo>
                  <a:pt x="11" y="21"/>
                </a:lnTo>
                <a:lnTo>
                  <a:pt x="2" y="13"/>
                </a:lnTo>
                <a:lnTo>
                  <a:pt x="0" y="5"/>
                </a:lnTo>
                <a:lnTo>
                  <a:pt x="3" y="0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73" name="Freeform 26"/>
          <p:cNvSpPr>
            <a:spLocks/>
          </p:cNvSpPr>
          <p:nvPr/>
        </p:nvSpPr>
        <p:spPr bwMode="auto">
          <a:xfrm>
            <a:off x="1707947" y="2753572"/>
            <a:ext cx="263722" cy="266442"/>
          </a:xfrm>
          <a:custGeom>
            <a:avLst/>
            <a:gdLst>
              <a:gd name="T0" fmla="*/ 54 w 65"/>
              <a:gd name="T1" fmla="*/ 7 h 53"/>
              <a:gd name="T2" fmla="*/ 60 w 65"/>
              <a:gd name="T3" fmla="*/ 7 h 53"/>
              <a:gd name="T4" fmla="*/ 56 w 65"/>
              <a:gd name="T5" fmla="*/ 16 h 53"/>
              <a:gd name="T6" fmla="*/ 65 w 65"/>
              <a:gd name="T7" fmla="*/ 24 h 53"/>
              <a:gd name="T8" fmla="*/ 64 w 65"/>
              <a:gd name="T9" fmla="*/ 34 h 53"/>
              <a:gd name="T10" fmla="*/ 60 w 65"/>
              <a:gd name="T11" fmla="*/ 35 h 53"/>
              <a:gd name="T12" fmla="*/ 57 w 65"/>
              <a:gd name="T13" fmla="*/ 37 h 53"/>
              <a:gd name="T14" fmla="*/ 52 w 65"/>
              <a:gd name="T15" fmla="*/ 42 h 53"/>
              <a:gd name="T16" fmla="*/ 50 w 65"/>
              <a:gd name="T17" fmla="*/ 53 h 53"/>
              <a:gd name="T18" fmla="*/ 35 w 65"/>
              <a:gd name="T19" fmla="*/ 45 h 53"/>
              <a:gd name="T20" fmla="*/ 28 w 65"/>
              <a:gd name="T21" fmla="*/ 37 h 53"/>
              <a:gd name="T22" fmla="*/ 21 w 65"/>
              <a:gd name="T23" fmla="*/ 32 h 53"/>
              <a:gd name="T24" fmla="*/ 13 w 65"/>
              <a:gd name="T25" fmla="*/ 24 h 53"/>
              <a:gd name="T26" fmla="*/ 9 w 65"/>
              <a:gd name="T27" fmla="*/ 18 h 53"/>
              <a:gd name="T28" fmla="*/ 0 w 65"/>
              <a:gd name="T29" fmla="*/ 8 h 53"/>
              <a:gd name="T30" fmla="*/ 3 w 65"/>
              <a:gd name="T31" fmla="*/ 0 h 53"/>
              <a:gd name="T32" fmla="*/ 9 w 65"/>
              <a:gd name="T33" fmla="*/ 5 h 53"/>
              <a:gd name="T34" fmla="*/ 13 w 65"/>
              <a:gd name="T35" fmla="*/ 0 h 53"/>
              <a:gd name="T36" fmla="*/ 20 w 65"/>
              <a:gd name="T37" fmla="*/ 0 h 53"/>
              <a:gd name="T38" fmla="*/ 35 w 65"/>
              <a:gd name="T39" fmla="*/ 3 h 53"/>
              <a:gd name="T40" fmla="*/ 46 w 65"/>
              <a:gd name="T41" fmla="*/ 3 h 53"/>
              <a:gd name="T42" fmla="*/ 54 w 65"/>
              <a:gd name="T43" fmla="*/ 7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65" h="53">
                <a:moveTo>
                  <a:pt x="54" y="7"/>
                </a:moveTo>
                <a:lnTo>
                  <a:pt x="60" y="7"/>
                </a:lnTo>
                <a:lnTo>
                  <a:pt x="56" y="16"/>
                </a:lnTo>
                <a:lnTo>
                  <a:pt x="65" y="24"/>
                </a:lnTo>
                <a:lnTo>
                  <a:pt x="64" y="34"/>
                </a:lnTo>
                <a:lnTo>
                  <a:pt x="60" y="35"/>
                </a:lnTo>
                <a:lnTo>
                  <a:pt x="57" y="37"/>
                </a:lnTo>
                <a:lnTo>
                  <a:pt x="52" y="42"/>
                </a:lnTo>
                <a:lnTo>
                  <a:pt x="50" y="53"/>
                </a:lnTo>
                <a:lnTo>
                  <a:pt x="35" y="45"/>
                </a:lnTo>
                <a:lnTo>
                  <a:pt x="28" y="37"/>
                </a:lnTo>
                <a:lnTo>
                  <a:pt x="21" y="32"/>
                </a:lnTo>
                <a:lnTo>
                  <a:pt x="13" y="24"/>
                </a:lnTo>
                <a:lnTo>
                  <a:pt x="9" y="18"/>
                </a:lnTo>
                <a:lnTo>
                  <a:pt x="0" y="8"/>
                </a:lnTo>
                <a:lnTo>
                  <a:pt x="3" y="0"/>
                </a:lnTo>
                <a:lnTo>
                  <a:pt x="9" y="5"/>
                </a:lnTo>
                <a:lnTo>
                  <a:pt x="13" y="0"/>
                </a:lnTo>
                <a:lnTo>
                  <a:pt x="20" y="0"/>
                </a:lnTo>
                <a:lnTo>
                  <a:pt x="35" y="3"/>
                </a:lnTo>
                <a:lnTo>
                  <a:pt x="46" y="3"/>
                </a:lnTo>
                <a:lnTo>
                  <a:pt x="54" y="7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74" name="Freeform 27"/>
          <p:cNvSpPr>
            <a:spLocks/>
          </p:cNvSpPr>
          <p:nvPr/>
        </p:nvSpPr>
        <p:spPr bwMode="auto">
          <a:xfrm>
            <a:off x="2129902" y="1647596"/>
            <a:ext cx="592359" cy="482607"/>
          </a:xfrm>
          <a:custGeom>
            <a:avLst/>
            <a:gdLst>
              <a:gd name="T0" fmla="*/ 1 w 146"/>
              <a:gd name="T1" fmla="*/ 44 h 96"/>
              <a:gd name="T2" fmla="*/ 15 w 146"/>
              <a:gd name="T3" fmla="*/ 44 h 96"/>
              <a:gd name="T4" fmla="*/ 31 w 146"/>
              <a:gd name="T5" fmla="*/ 37 h 96"/>
              <a:gd name="T6" fmla="*/ 33 w 146"/>
              <a:gd name="T7" fmla="*/ 26 h 96"/>
              <a:gd name="T8" fmla="*/ 45 w 146"/>
              <a:gd name="T9" fmla="*/ 20 h 96"/>
              <a:gd name="T10" fmla="*/ 42 w 146"/>
              <a:gd name="T11" fmla="*/ 11 h 96"/>
              <a:gd name="T12" fmla="*/ 50 w 146"/>
              <a:gd name="T13" fmla="*/ 7 h 96"/>
              <a:gd name="T14" fmla="*/ 65 w 146"/>
              <a:gd name="T15" fmla="*/ 0 h 96"/>
              <a:gd name="T16" fmla="*/ 82 w 146"/>
              <a:gd name="T17" fmla="*/ 5 h 96"/>
              <a:gd name="T18" fmla="*/ 85 w 146"/>
              <a:gd name="T19" fmla="*/ 10 h 96"/>
              <a:gd name="T20" fmla="*/ 93 w 146"/>
              <a:gd name="T21" fmla="*/ 7 h 96"/>
              <a:gd name="T22" fmla="*/ 109 w 146"/>
              <a:gd name="T23" fmla="*/ 12 h 96"/>
              <a:gd name="T24" fmla="*/ 112 w 146"/>
              <a:gd name="T25" fmla="*/ 21 h 96"/>
              <a:gd name="T26" fmla="*/ 110 w 146"/>
              <a:gd name="T27" fmla="*/ 27 h 96"/>
              <a:gd name="T28" fmla="*/ 122 w 146"/>
              <a:gd name="T29" fmla="*/ 40 h 96"/>
              <a:gd name="T30" fmla="*/ 129 w 146"/>
              <a:gd name="T31" fmla="*/ 43 h 96"/>
              <a:gd name="T32" fmla="*/ 129 w 146"/>
              <a:gd name="T33" fmla="*/ 47 h 96"/>
              <a:gd name="T34" fmla="*/ 140 w 146"/>
              <a:gd name="T35" fmla="*/ 50 h 96"/>
              <a:gd name="T36" fmla="*/ 146 w 146"/>
              <a:gd name="T37" fmla="*/ 56 h 96"/>
              <a:gd name="T38" fmla="*/ 140 w 146"/>
              <a:gd name="T39" fmla="*/ 60 h 96"/>
              <a:gd name="T40" fmla="*/ 128 w 146"/>
              <a:gd name="T41" fmla="*/ 59 h 96"/>
              <a:gd name="T42" fmla="*/ 125 w 146"/>
              <a:gd name="T43" fmla="*/ 61 h 96"/>
              <a:gd name="T44" fmla="*/ 130 w 146"/>
              <a:gd name="T45" fmla="*/ 68 h 96"/>
              <a:gd name="T46" fmla="*/ 136 w 146"/>
              <a:gd name="T47" fmla="*/ 81 h 96"/>
              <a:gd name="T48" fmla="*/ 123 w 146"/>
              <a:gd name="T49" fmla="*/ 82 h 96"/>
              <a:gd name="T50" fmla="*/ 119 w 146"/>
              <a:gd name="T51" fmla="*/ 86 h 96"/>
              <a:gd name="T52" fmla="*/ 119 w 146"/>
              <a:gd name="T53" fmla="*/ 96 h 96"/>
              <a:gd name="T54" fmla="*/ 113 w 146"/>
              <a:gd name="T55" fmla="*/ 95 h 96"/>
              <a:gd name="T56" fmla="*/ 99 w 146"/>
              <a:gd name="T57" fmla="*/ 95 h 96"/>
              <a:gd name="T58" fmla="*/ 94 w 146"/>
              <a:gd name="T59" fmla="*/ 91 h 96"/>
              <a:gd name="T60" fmla="*/ 88 w 146"/>
              <a:gd name="T61" fmla="*/ 94 h 96"/>
              <a:gd name="T62" fmla="*/ 82 w 146"/>
              <a:gd name="T63" fmla="*/ 91 h 96"/>
              <a:gd name="T64" fmla="*/ 70 w 146"/>
              <a:gd name="T65" fmla="*/ 91 h 96"/>
              <a:gd name="T66" fmla="*/ 51 w 146"/>
              <a:gd name="T67" fmla="*/ 86 h 96"/>
              <a:gd name="T68" fmla="*/ 35 w 146"/>
              <a:gd name="T69" fmla="*/ 84 h 96"/>
              <a:gd name="T70" fmla="*/ 23 w 146"/>
              <a:gd name="T71" fmla="*/ 85 h 96"/>
              <a:gd name="T72" fmla="*/ 15 w 146"/>
              <a:gd name="T73" fmla="*/ 90 h 96"/>
              <a:gd name="T74" fmla="*/ 8 w 146"/>
              <a:gd name="T75" fmla="*/ 91 h 96"/>
              <a:gd name="T76" fmla="*/ 6 w 146"/>
              <a:gd name="T77" fmla="*/ 82 h 96"/>
              <a:gd name="T78" fmla="*/ 0 w 146"/>
              <a:gd name="T79" fmla="*/ 73 h 96"/>
              <a:gd name="T80" fmla="*/ 9 w 146"/>
              <a:gd name="T81" fmla="*/ 69 h 96"/>
              <a:gd name="T82" fmla="*/ 8 w 146"/>
              <a:gd name="T83" fmla="*/ 61 h 96"/>
              <a:gd name="T84" fmla="*/ 3 w 146"/>
              <a:gd name="T85" fmla="*/ 53 h 96"/>
              <a:gd name="T86" fmla="*/ 1 w 146"/>
              <a:gd name="T87" fmla="*/ 44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46" h="96">
                <a:moveTo>
                  <a:pt x="1" y="44"/>
                </a:moveTo>
                <a:lnTo>
                  <a:pt x="15" y="44"/>
                </a:lnTo>
                <a:lnTo>
                  <a:pt x="31" y="37"/>
                </a:lnTo>
                <a:lnTo>
                  <a:pt x="33" y="26"/>
                </a:lnTo>
                <a:lnTo>
                  <a:pt x="45" y="20"/>
                </a:lnTo>
                <a:lnTo>
                  <a:pt x="42" y="11"/>
                </a:lnTo>
                <a:lnTo>
                  <a:pt x="50" y="7"/>
                </a:lnTo>
                <a:lnTo>
                  <a:pt x="65" y="0"/>
                </a:lnTo>
                <a:lnTo>
                  <a:pt x="82" y="5"/>
                </a:lnTo>
                <a:lnTo>
                  <a:pt x="85" y="10"/>
                </a:lnTo>
                <a:lnTo>
                  <a:pt x="93" y="7"/>
                </a:lnTo>
                <a:lnTo>
                  <a:pt x="109" y="12"/>
                </a:lnTo>
                <a:lnTo>
                  <a:pt x="112" y="21"/>
                </a:lnTo>
                <a:lnTo>
                  <a:pt x="110" y="27"/>
                </a:lnTo>
                <a:lnTo>
                  <a:pt x="122" y="40"/>
                </a:lnTo>
                <a:lnTo>
                  <a:pt x="129" y="43"/>
                </a:lnTo>
                <a:lnTo>
                  <a:pt x="129" y="47"/>
                </a:lnTo>
                <a:lnTo>
                  <a:pt x="140" y="50"/>
                </a:lnTo>
                <a:lnTo>
                  <a:pt x="146" y="56"/>
                </a:lnTo>
                <a:lnTo>
                  <a:pt x="140" y="60"/>
                </a:lnTo>
                <a:lnTo>
                  <a:pt x="128" y="59"/>
                </a:lnTo>
                <a:lnTo>
                  <a:pt x="125" y="61"/>
                </a:lnTo>
                <a:lnTo>
                  <a:pt x="130" y="68"/>
                </a:lnTo>
                <a:lnTo>
                  <a:pt x="136" y="81"/>
                </a:lnTo>
                <a:lnTo>
                  <a:pt x="123" y="82"/>
                </a:lnTo>
                <a:lnTo>
                  <a:pt x="119" y="86"/>
                </a:lnTo>
                <a:lnTo>
                  <a:pt x="119" y="96"/>
                </a:lnTo>
                <a:lnTo>
                  <a:pt x="113" y="95"/>
                </a:lnTo>
                <a:lnTo>
                  <a:pt x="99" y="95"/>
                </a:lnTo>
                <a:lnTo>
                  <a:pt x="94" y="91"/>
                </a:lnTo>
                <a:lnTo>
                  <a:pt x="88" y="94"/>
                </a:lnTo>
                <a:lnTo>
                  <a:pt x="82" y="91"/>
                </a:lnTo>
                <a:lnTo>
                  <a:pt x="70" y="91"/>
                </a:lnTo>
                <a:lnTo>
                  <a:pt x="51" y="86"/>
                </a:lnTo>
                <a:lnTo>
                  <a:pt x="35" y="84"/>
                </a:lnTo>
                <a:lnTo>
                  <a:pt x="23" y="85"/>
                </a:lnTo>
                <a:lnTo>
                  <a:pt x="15" y="90"/>
                </a:lnTo>
                <a:lnTo>
                  <a:pt x="8" y="91"/>
                </a:lnTo>
                <a:lnTo>
                  <a:pt x="6" y="82"/>
                </a:lnTo>
                <a:lnTo>
                  <a:pt x="0" y="73"/>
                </a:lnTo>
                <a:lnTo>
                  <a:pt x="9" y="69"/>
                </a:lnTo>
                <a:lnTo>
                  <a:pt x="8" y="61"/>
                </a:lnTo>
                <a:lnTo>
                  <a:pt x="3" y="53"/>
                </a:lnTo>
                <a:lnTo>
                  <a:pt x="1" y="44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75" name="Freeform 32"/>
          <p:cNvSpPr>
            <a:spLocks/>
          </p:cNvSpPr>
          <p:nvPr/>
        </p:nvSpPr>
        <p:spPr bwMode="auto">
          <a:xfrm>
            <a:off x="7051349" y="4513080"/>
            <a:ext cx="239381" cy="160870"/>
          </a:xfrm>
          <a:custGeom>
            <a:avLst/>
            <a:gdLst>
              <a:gd name="T0" fmla="*/ 49 w 59"/>
              <a:gd name="T1" fmla="*/ 11 h 32"/>
              <a:gd name="T2" fmla="*/ 57 w 59"/>
              <a:gd name="T3" fmla="*/ 17 h 32"/>
              <a:gd name="T4" fmla="*/ 59 w 59"/>
              <a:gd name="T5" fmla="*/ 30 h 32"/>
              <a:gd name="T6" fmla="*/ 45 w 59"/>
              <a:gd name="T7" fmla="*/ 31 h 32"/>
              <a:gd name="T8" fmla="*/ 29 w 59"/>
              <a:gd name="T9" fmla="*/ 29 h 32"/>
              <a:gd name="T10" fmla="*/ 19 w 59"/>
              <a:gd name="T11" fmla="*/ 32 h 32"/>
              <a:gd name="T12" fmla="*/ 1 w 59"/>
              <a:gd name="T13" fmla="*/ 24 h 32"/>
              <a:gd name="T14" fmla="*/ 0 w 59"/>
              <a:gd name="T15" fmla="*/ 20 h 32"/>
              <a:gd name="T16" fmla="*/ 8 w 59"/>
              <a:gd name="T17" fmla="*/ 5 h 32"/>
              <a:gd name="T18" fmla="*/ 17 w 59"/>
              <a:gd name="T19" fmla="*/ 0 h 32"/>
              <a:gd name="T20" fmla="*/ 30 w 59"/>
              <a:gd name="T21" fmla="*/ 4 h 32"/>
              <a:gd name="T22" fmla="*/ 40 w 59"/>
              <a:gd name="T23" fmla="*/ 5 h 32"/>
              <a:gd name="T24" fmla="*/ 49 w 59"/>
              <a:gd name="T25" fmla="*/ 11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9" h="32">
                <a:moveTo>
                  <a:pt x="49" y="11"/>
                </a:moveTo>
                <a:lnTo>
                  <a:pt x="57" y="17"/>
                </a:lnTo>
                <a:lnTo>
                  <a:pt x="59" y="30"/>
                </a:lnTo>
                <a:lnTo>
                  <a:pt x="45" y="31"/>
                </a:lnTo>
                <a:lnTo>
                  <a:pt x="29" y="29"/>
                </a:lnTo>
                <a:lnTo>
                  <a:pt x="19" y="32"/>
                </a:lnTo>
                <a:lnTo>
                  <a:pt x="1" y="24"/>
                </a:lnTo>
                <a:lnTo>
                  <a:pt x="0" y="20"/>
                </a:lnTo>
                <a:lnTo>
                  <a:pt x="8" y="5"/>
                </a:lnTo>
                <a:lnTo>
                  <a:pt x="17" y="0"/>
                </a:lnTo>
                <a:lnTo>
                  <a:pt x="30" y="4"/>
                </a:lnTo>
                <a:lnTo>
                  <a:pt x="40" y="5"/>
                </a:lnTo>
                <a:lnTo>
                  <a:pt x="49" y="11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76" name="Freeform 37"/>
          <p:cNvSpPr>
            <a:spLocks/>
          </p:cNvSpPr>
          <p:nvPr/>
        </p:nvSpPr>
        <p:spPr bwMode="auto">
          <a:xfrm>
            <a:off x="1054729" y="2487133"/>
            <a:ext cx="288066" cy="211140"/>
          </a:xfrm>
          <a:custGeom>
            <a:avLst/>
            <a:gdLst>
              <a:gd name="T0" fmla="*/ 57 w 71"/>
              <a:gd name="T1" fmla="*/ 6 h 42"/>
              <a:gd name="T2" fmla="*/ 58 w 71"/>
              <a:gd name="T3" fmla="*/ 10 h 42"/>
              <a:gd name="T4" fmla="*/ 56 w 71"/>
              <a:gd name="T5" fmla="*/ 15 h 42"/>
              <a:gd name="T6" fmla="*/ 63 w 71"/>
              <a:gd name="T7" fmla="*/ 19 h 42"/>
              <a:gd name="T8" fmla="*/ 71 w 71"/>
              <a:gd name="T9" fmla="*/ 19 h 42"/>
              <a:gd name="T10" fmla="*/ 71 w 71"/>
              <a:gd name="T11" fmla="*/ 27 h 42"/>
              <a:gd name="T12" fmla="*/ 64 w 71"/>
              <a:gd name="T13" fmla="*/ 31 h 42"/>
              <a:gd name="T14" fmla="*/ 51 w 71"/>
              <a:gd name="T15" fmla="*/ 28 h 42"/>
              <a:gd name="T16" fmla="*/ 48 w 71"/>
              <a:gd name="T17" fmla="*/ 37 h 42"/>
              <a:gd name="T18" fmla="*/ 40 w 71"/>
              <a:gd name="T19" fmla="*/ 37 h 42"/>
              <a:gd name="T20" fmla="*/ 38 w 71"/>
              <a:gd name="T21" fmla="*/ 34 h 42"/>
              <a:gd name="T22" fmla="*/ 29 w 71"/>
              <a:gd name="T23" fmla="*/ 41 h 42"/>
              <a:gd name="T24" fmla="*/ 21 w 71"/>
              <a:gd name="T25" fmla="*/ 42 h 42"/>
              <a:gd name="T26" fmla="*/ 13 w 71"/>
              <a:gd name="T27" fmla="*/ 38 h 42"/>
              <a:gd name="T28" fmla="*/ 8 w 71"/>
              <a:gd name="T29" fmla="*/ 29 h 42"/>
              <a:gd name="T30" fmla="*/ 0 w 71"/>
              <a:gd name="T31" fmla="*/ 32 h 42"/>
              <a:gd name="T32" fmla="*/ 0 w 71"/>
              <a:gd name="T33" fmla="*/ 22 h 42"/>
              <a:gd name="T34" fmla="*/ 11 w 71"/>
              <a:gd name="T35" fmla="*/ 11 h 42"/>
              <a:gd name="T36" fmla="*/ 11 w 71"/>
              <a:gd name="T37" fmla="*/ 6 h 42"/>
              <a:gd name="T38" fmla="*/ 18 w 71"/>
              <a:gd name="T39" fmla="*/ 8 h 42"/>
              <a:gd name="T40" fmla="*/ 22 w 71"/>
              <a:gd name="T41" fmla="*/ 4 h 42"/>
              <a:gd name="T42" fmla="*/ 36 w 71"/>
              <a:gd name="T43" fmla="*/ 4 h 42"/>
              <a:gd name="T44" fmla="*/ 40 w 71"/>
              <a:gd name="T45" fmla="*/ 0 h 42"/>
              <a:gd name="T46" fmla="*/ 57 w 71"/>
              <a:gd name="T47" fmla="*/ 6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71" h="42">
                <a:moveTo>
                  <a:pt x="57" y="6"/>
                </a:moveTo>
                <a:lnTo>
                  <a:pt x="58" y="10"/>
                </a:lnTo>
                <a:lnTo>
                  <a:pt x="56" y="15"/>
                </a:lnTo>
                <a:lnTo>
                  <a:pt x="63" y="19"/>
                </a:lnTo>
                <a:lnTo>
                  <a:pt x="71" y="19"/>
                </a:lnTo>
                <a:lnTo>
                  <a:pt x="71" y="27"/>
                </a:lnTo>
                <a:lnTo>
                  <a:pt x="64" y="31"/>
                </a:lnTo>
                <a:lnTo>
                  <a:pt x="51" y="28"/>
                </a:lnTo>
                <a:lnTo>
                  <a:pt x="48" y="37"/>
                </a:lnTo>
                <a:lnTo>
                  <a:pt x="40" y="37"/>
                </a:lnTo>
                <a:lnTo>
                  <a:pt x="38" y="34"/>
                </a:lnTo>
                <a:lnTo>
                  <a:pt x="29" y="41"/>
                </a:lnTo>
                <a:lnTo>
                  <a:pt x="21" y="42"/>
                </a:lnTo>
                <a:lnTo>
                  <a:pt x="13" y="38"/>
                </a:lnTo>
                <a:lnTo>
                  <a:pt x="8" y="29"/>
                </a:lnTo>
                <a:lnTo>
                  <a:pt x="0" y="32"/>
                </a:lnTo>
                <a:lnTo>
                  <a:pt x="0" y="22"/>
                </a:lnTo>
                <a:lnTo>
                  <a:pt x="11" y="11"/>
                </a:lnTo>
                <a:lnTo>
                  <a:pt x="11" y="6"/>
                </a:lnTo>
                <a:lnTo>
                  <a:pt x="18" y="8"/>
                </a:lnTo>
                <a:lnTo>
                  <a:pt x="22" y="4"/>
                </a:lnTo>
                <a:lnTo>
                  <a:pt x="36" y="4"/>
                </a:lnTo>
                <a:lnTo>
                  <a:pt x="40" y="0"/>
                </a:lnTo>
                <a:lnTo>
                  <a:pt x="57" y="6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77" name="Freeform 39"/>
          <p:cNvSpPr>
            <a:spLocks/>
          </p:cNvSpPr>
          <p:nvPr/>
        </p:nvSpPr>
        <p:spPr bwMode="auto">
          <a:xfrm>
            <a:off x="8621510" y="5367698"/>
            <a:ext cx="166348" cy="196060"/>
          </a:xfrm>
          <a:custGeom>
            <a:avLst/>
            <a:gdLst>
              <a:gd name="T0" fmla="*/ 33 w 41"/>
              <a:gd name="T1" fmla="*/ 29 h 39"/>
              <a:gd name="T2" fmla="*/ 19 w 41"/>
              <a:gd name="T3" fmla="*/ 39 h 39"/>
              <a:gd name="T4" fmla="*/ 3 w 41"/>
              <a:gd name="T5" fmla="*/ 33 h 39"/>
              <a:gd name="T6" fmla="*/ 0 w 41"/>
              <a:gd name="T7" fmla="*/ 15 h 39"/>
              <a:gd name="T8" fmla="*/ 7 w 41"/>
              <a:gd name="T9" fmla="*/ 6 h 39"/>
              <a:gd name="T10" fmla="*/ 25 w 41"/>
              <a:gd name="T11" fmla="*/ 0 h 39"/>
              <a:gd name="T12" fmla="*/ 36 w 41"/>
              <a:gd name="T13" fmla="*/ 0 h 39"/>
              <a:gd name="T14" fmla="*/ 41 w 41"/>
              <a:gd name="T15" fmla="*/ 8 h 39"/>
              <a:gd name="T16" fmla="*/ 35 w 41"/>
              <a:gd name="T17" fmla="*/ 17 h 39"/>
              <a:gd name="T18" fmla="*/ 33 w 41"/>
              <a:gd name="T19" fmla="*/ 29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" h="39">
                <a:moveTo>
                  <a:pt x="33" y="29"/>
                </a:moveTo>
                <a:lnTo>
                  <a:pt x="19" y="39"/>
                </a:lnTo>
                <a:lnTo>
                  <a:pt x="3" y="33"/>
                </a:lnTo>
                <a:lnTo>
                  <a:pt x="0" y="15"/>
                </a:lnTo>
                <a:lnTo>
                  <a:pt x="7" y="6"/>
                </a:lnTo>
                <a:lnTo>
                  <a:pt x="25" y="0"/>
                </a:lnTo>
                <a:lnTo>
                  <a:pt x="36" y="0"/>
                </a:lnTo>
                <a:lnTo>
                  <a:pt x="41" y="8"/>
                </a:lnTo>
                <a:lnTo>
                  <a:pt x="35" y="17"/>
                </a:lnTo>
                <a:lnTo>
                  <a:pt x="33" y="29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78" name="Freeform 40"/>
          <p:cNvSpPr>
            <a:spLocks/>
          </p:cNvSpPr>
          <p:nvPr/>
        </p:nvSpPr>
        <p:spPr bwMode="auto">
          <a:xfrm>
            <a:off x="5728687" y="1919059"/>
            <a:ext cx="3817878" cy="3428529"/>
          </a:xfrm>
          <a:custGeom>
            <a:avLst/>
            <a:gdLst>
              <a:gd name="T0" fmla="*/ 872 w 941"/>
              <a:gd name="T1" fmla="*/ 114 h 682"/>
              <a:gd name="T2" fmla="*/ 932 w 941"/>
              <a:gd name="T3" fmla="*/ 118 h 682"/>
              <a:gd name="T4" fmla="*/ 919 w 941"/>
              <a:gd name="T5" fmla="*/ 164 h 682"/>
              <a:gd name="T6" fmla="*/ 928 w 941"/>
              <a:gd name="T7" fmla="*/ 214 h 682"/>
              <a:gd name="T8" fmla="*/ 895 w 941"/>
              <a:gd name="T9" fmla="*/ 232 h 682"/>
              <a:gd name="T10" fmla="*/ 873 w 941"/>
              <a:gd name="T11" fmla="*/ 251 h 682"/>
              <a:gd name="T12" fmla="*/ 825 w 941"/>
              <a:gd name="T13" fmla="*/ 291 h 682"/>
              <a:gd name="T14" fmla="*/ 813 w 941"/>
              <a:gd name="T15" fmla="*/ 265 h 682"/>
              <a:gd name="T16" fmla="*/ 771 w 941"/>
              <a:gd name="T17" fmla="*/ 289 h 682"/>
              <a:gd name="T18" fmla="*/ 781 w 941"/>
              <a:gd name="T19" fmla="*/ 317 h 682"/>
              <a:gd name="T20" fmla="*/ 833 w 941"/>
              <a:gd name="T21" fmla="*/ 325 h 682"/>
              <a:gd name="T22" fmla="*/ 827 w 941"/>
              <a:gd name="T23" fmla="*/ 354 h 682"/>
              <a:gd name="T24" fmla="*/ 849 w 941"/>
              <a:gd name="T25" fmla="*/ 410 h 682"/>
              <a:gd name="T26" fmla="*/ 880 w 941"/>
              <a:gd name="T27" fmla="*/ 466 h 682"/>
              <a:gd name="T28" fmla="*/ 903 w 941"/>
              <a:gd name="T29" fmla="*/ 517 h 682"/>
              <a:gd name="T30" fmla="*/ 871 w 941"/>
              <a:gd name="T31" fmla="*/ 593 h 682"/>
              <a:gd name="T32" fmla="*/ 801 w 941"/>
              <a:gd name="T33" fmla="*/ 642 h 682"/>
              <a:gd name="T34" fmla="*/ 744 w 941"/>
              <a:gd name="T35" fmla="*/ 659 h 682"/>
              <a:gd name="T36" fmla="*/ 727 w 941"/>
              <a:gd name="T37" fmla="*/ 659 h 682"/>
              <a:gd name="T38" fmla="*/ 664 w 941"/>
              <a:gd name="T39" fmla="*/ 642 h 682"/>
              <a:gd name="T40" fmla="*/ 624 w 941"/>
              <a:gd name="T41" fmla="*/ 629 h 682"/>
              <a:gd name="T42" fmla="*/ 576 w 941"/>
              <a:gd name="T43" fmla="*/ 640 h 682"/>
              <a:gd name="T44" fmla="*/ 569 w 941"/>
              <a:gd name="T45" fmla="*/ 649 h 682"/>
              <a:gd name="T46" fmla="*/ 535 w 941"/>
              <a:gd name="T47" fmla="*/ 627 h 682"/>
              <a:gd name="T48" fmla="*/ 494 w 941"/>
              <a:gd name="T49" fmla="*/ 582 h 682"/>
              <a:gd name="T50" fmla="*/ 491 w 941"/>
              <a:gd name="T51" fmla="*/ 527 h 682"/>
              <a:gd name="T52" fmla="*/ 456 w 941"/>
              <a:gd name="T53" fmla="*/ 505 h 682"/>
              <a:gd name="T54" fmla="*/ 401 w 941"/>
              <a:gd name="T55" fmla="*/ 508 h 682"/>
              <a:gd name="T56" fmla="*/ 356 w 941"/>
              <a:gd name="T57" fmla="*/ 520 h 682"/>
              <a:gd name="T58" fmla="*/ 321 w 941"/>
              <a:gd name="T59" fmla="*/ 520 h 682"/>
              <a:gd name="T60" fmla="*/ 253 w 941"/>
              <a:gd name="T61" fmla="*/ 508 h 682"/>
              <a:gd name="T62" fmla="*/ 199 w 941"/>
              <a:gd name="T63" fmla="*/ 478 h 682"/>
              <a:gd name="T64" fmla="*/ 129 w 941"/>
              <a:gd name="T65" fmla="*/ 449 h 682"/>
              <a:gd name="T66" fmla="*/ 120 w 941"/>
              <a:gd name="T67" fmla="*/ 408 h 682"/>
              <a:gd name="T68" fmla="*/ 54 w 941"/>
              <a:gd name="T69" fmla="*/ 342 h 682"/>
              <a:gd name="T70" fmla="*/ 26 w 941"/>
              <a:gd name="T71" fmla="*/ 307 h 682"/>
              <a:gd name="T72" fmla="*/ 3 w 941"/>
              <a:gd name="T73" fmla="*/ 280 h 682"/>
              <a:gd name="T74" fmla="*/ 42 w 941"/>
              <a:gd name="T75" fmla="*/ 264 h 682"/>
              <a:gd name="T76" fmla="*/ 91 w 941"/>
              <a:gd name="T77" fmla="*/ 230 h 682"/>
              <a:gd name="T78" fmla="*/ 68 w 941"/>
              <a:gd name="T79" fmla="*/ 172 h 682"/>
              <a:gd name="T80" fmla="*/ 136 w 941"/>
              <a:gd name="T81" fmla="*/ 130 h 682"/>
              <a:gd name="T82" fmla="*/ 151 w 941"/>
              <a:gd name="T83" fmla="*/ 85 h 682"/>
              <a:gd name="T84" fmla="*/ 213 w 941"/>
              <a:gd name="T85" fmla="*/ 116 h 682"/>
              <a:gd name="T86" fmla="*/ 267 w 941"/>
              <a:gd name="T87" fmla="*/ 168 h 682"/>
              <a:gd name="T88" fmla="*/ 343 w 941"/>
              <a:gd name="T89" fmla="*/ 205 h 682"/>
              <a:gd name="T90" fmla="*/ 433 w 941"/>
              <a:gd name="T91" fmla="*/ 219 h 682"/>
              <a:gd name="T92" fmla="*/ 512 w 941"/>
              <a:gd name="T93" fmla="*/ 241 h 682"/>
              <a:gd name="T94" fmla="*/ 591 w 941"/>
              <a:gd name="T95" fmla="*/ 214 h 682"/>
              <a:gd name="T96" fmla="*/ 590 w 941"/>
              <a:gd name="T97" fmla="*/ 182 h 682"/>
              <a:gd name="T98" fmla="*/ 632 w 941"/>
              <a:gd name="T99" fmla="*/ 164 h 682"/>
              <a:gd name="T100" fmla="*/ 687 w 941"/>
              <a:gd name="T101" fmla="*/ 134 h 682"/>
              <a:gd name="T102" fmla="*/ 659 w 941"/>
              <a:gd name="T103" fmla="*/ 108 h 682"/>
              <a:gd name="T104" fmla="*/ 616 w 941"/>
              <a:gd name="T105" fmla="*/ 107 h 682"/>
              <a:gd name="T106" fmla="*/ 652 w 941"/>
              <a:gd name="T107" fmla="*/ 66 h 682"/>
              <a:gd name="T108" fmla="*/ 642 w 941"/>
              <a:gd name="T109" fmla="*/ 18 h 682"/>
              <a:gd name="T110" fmla="*/ 672 w 941"/>
              <a:gd name="T111" fmla="*/ 0 h 682"/>
              <a:gd name="T112" fmla="*/ 757 w 941"/>
              <a:gd name="T113" fmla="*/ 42 h 6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941" h="682">
                <a:moveTo>
                  <a:pt x="791" y="74"/>
                </a:moveTo>
                <a:lnTo>
                  <a:pt x="823" y="80"/>
                </a:lnTo>
                <a:lnTo>
                  <a:pt x="852" y="95"/>
                </a:lnTo>
                <a:lnTo>
                  <a:pt x="872" y="114"/>
                </a:lnTo>
                <a:lnTo>
                  <a:pt x="896" y="114"/>
                </a:lnTo>
                <a:lnTo>
                  <a:pt x="905" y="106"/>
                </a:lnTo>
                <a:lnTo>
                  <a:pt x="927" y="100"/>
                </a:lnTo>
                <a:lnTo>
                  <a:pt x="932" y="118"/>
                </a:lnTo>
                <a:lnTo>
                  <a:pt x="930" y="126"/>
                </a:lnTo>
                <a:lnTo>
                  <a:pt x="940" y="148"/>
                </a:lnTo>
                <a:lnTo>
                  <a:pt x="941" y="168"/>
                </a:lnTo>
                <a:lnTo>
                  <a:pt x="919" y="164"/>
                </a:lnTo>
                <a:lnTo>
                  <a:pt x="909" y="171"/>
                </a:lnTo>
                <a:lnTo>
                  <a:pt x="924" y="189"/>
                </a:lnTo>
                <a:lnTo>
                  <a:pt x="936" y="213"/>
                </a:lnTo>
                <a:lnTo>
                  <a:pt x="928" y="214"/>
                </a:lnTo>
                <a:lnTo>
                  <a:pt x="934" y="224"/>
                </a:lnTo>
                <a:lnTo>
                  <a:pt x="916" y="212"/>
                </a:lnTo>
                <a:lnTo>
                  <a:pt x="916" y="223"/>
                </a:lnTo>
                <a:lnTo>
                  <a:pt x="895" y="232"/>
                </a:lnTo>
                <a:lnTo>
                  <a:pt x="904" y="243"/>
                </a:lnTo>
                <a:lnTo>
                  <a:pt x="889" y="243"/>
                </a:lnTo>
                <a:lnTo>
                  <a:pt x="877" y="236"/>
                </a:lnTo>
                <a:lnTo>
                  <a:pt x="873" y="251"/>
                </a:lnTo>
                <a:lnTo>
                  <a:pt x="861" y="262"/>
                </a:lnTo>
                <a:lnTo>
                  <a:pt x="853" y="275"/>
                </a:lnTo>
                <a:lnTo>
                  <a:pt x="833" y="281"/>
                </a:lnTo>
                <a:lnTo>
                  <a:pt x="825" y="291"/>
                </a:lnTo>
                <a:lnTo>
                  <a:pt x="809" y="296"/>
                </a:lnTo>
                <a:lnTo>
                  <a:pt x="814" y="287"/>
                </a:lnTo>
                <a:lnTo>
                  <a:pt x="806" y="279"/>
                </a:lnTo>
                <a:lnTo>
                  <a:pt x="813" y="265"/>
                </a:lnTo>
                <a:lnTo>
                  <a:pt x="799" y="254"/>
                </a:lnTo>
                <a:lnTo>
                  <a:pt x="788" y="261"/>
                </a:lnTo>
                <a:lnTo>
                  <a:pt x="776" y="275"/>
                </a:lnTo>
                <a:lnTo>
                  <a:pt x="771" y="289"/>
                </a:lnTo>
                <a:lnTo>
                  <a:pt x="755" y="290"/>
                </a:lnTo>
                <a:lnTo>
                  <a:pt x="751" y="299"/>
                </a:lnTo>
                <a:lnTo>
                  <a:pt x="766" y="313"/>
                </a:lnTo>
                <a:lnTo>
                  <a:pt x="781" y="317"/>
                </a:lnTo>
                <a:lnTo>
                  <a:pt x="786" y="326"/>
                </a:lnTo>
                <a:lnTo>
                  <a:pt x="802" y="332"/>
                </a:lnTo>
                <a:lnTo>
                  <a:pt x="815" y="317"/>
                </a:lnTo>
                <a:lnTo>
                  <a:pt x="833" y="325"/>
                </a:lnTo>
                <a:lnTo>
                  <a:pt x="845" y="326"/>
                </a:lnTo>
                <a:lnTo>
                  <a:pt x="852" y="337"/>
                </a:lnTo>
                <a:lnTo>
                  <a:pt x="830" y="343"/>
                </a:lnTo>
                <a:lnTo>
                  <a:pt x="827" y="354"/>
                </a:lnTo>
                <a:lnTo>
                  <a:pt x="815" y="364"/>
                </a:lnTo>
                <a:lnTo>
                  <a:pt x="811" y="378"/>
                </a:lnTo>
                <a:lnTo>
                  <a:pt x="834" y="390"/>
                </a:lnTo>
                <a:lnTo>
                  <a:pt x="849" y="410"/>
                </a:lnTo>
                <a:lnTo>
                  <a:pt x="867" y="429"/>
                </a:lnTo>
                <a:lnTo>
                  <a:pt x="884" y="445"/>
                </a:lnTo>
                <a:lnTo>
                  <a:pt x="889" y="461"/>
                </a:lnTo>
                <a:lnTo>
                  <a:pt x="880" y="466"/>
                </a:lnTo>
                <a:lnTo>
                  <a:pt x="888" y="477"/>
                </a:lnTo>
                <a:lnTo>
                  <a:pt x="900" y="484"/>
                </a:lnTo>
                <a:lnTo>
                  <a:pt x="903" y="501"/>
                </a:lnTo>
                <a:lnTo>
                  <a:pt x="903" y="517"/>
                </a:lnTo>
                <a:lnTo>
                  <a:pt x="894" y="519"/>
                </a:lnTo>
                <a:lnTo>
                  <a:pt x="888" y="541"/>
                </a:lnTo>
                <a:lnTo>
                  <a:pt x="881" y="569"/>
                </a:lnTo>
                <a:lnTo>
                  <a:pt x="871" y="593"/>
                </a:lnTo>
                <a:lnTo>
                  <a:pt x="851" y="613"/>
                </a:lnTo>
                <a:lnTo>
                  <a:pt x="830" y="630"/>
                </a:lnTo>
                <a:lnTo>
                  <a:pt x="810" y="632"/>
                </a:lnTo>
                <a:lnTo>
                  <a:pt x="801" y="642"/>
                </a:lnTo>
                <a:lnTo>
                  <a:pt x="793" y="635"/>
                </a:lnTo>
                <a:lnTo>
                  <a:pt x="785" y="645"/>
                </a:lnTo>
                <a:lnTo>
                  <a:pt x="762" y="656"/>
                </a:lnTo>
                <a:lnTo>
                  <a:pt x="744" y="659"/>
                </a:lnTo>
                <a:lnTo>
                  <a:pt x="742" y="681"/>
                </a:lnTo>
                <a:lnTo>
                  <a:pt x="732" y="682"/>
                </a:lnTo>
                <a:lnTo>
                  <a:pt x="725" y="667"/>
                </a:lnTo>
                <a:lnTo>
                  <a:pt x="727" y="659"/>
                </a:lnTo>
                <a:lnTo>
                  <a:pt x="702" y="652"/>
                </a:lnTo>
                <a:lnTo>
                  <a:pt x="694" y="656"/>
                </a:lnTo>
                <a:lnTo>
                  <a:pt x="675" y="650"/>
                </a:lnTo>
                <a:lnTo>
                  <a:pt x="664" y="642"/>
                </a:lnTo>
                <a:lnTo>
                  <a:pt x="665" y="630"/>
                </a:lnTo>
                <a:lnTo>
                  <a:pt x="648" y="626"/>
                </a:lnTo>
                <a:lnTo>
                  <a:pt x="638" y="618"/>
                </a:lnTo>
                <a:lnTo>
                  <a:pt x="624" y="629"/>
                </a:lnTo>
                <a:lnTo>
                  <a:pt x="608" y="632"/>
                </a:lnTo>
                <a:lnTo>
                  <a:pt x="593" y="632"/>
                </a:lnTo>
                <a:lnTo>
                  <a:pt x="585" y="637"/>
                </a:lnTo>
                <a:lnTo>
                  <a:pt x="576" y="640"/>
                </a:lnTo>
                <a:lnTo>
                  <a:pt x="583" y="663"/>
                </a:lnTo>
                <a:lnTo>
                  <a:pt x="573" y="663"/>
                </a:lnTo>
                <a:lnTo>
                  <a:pt x="571" y="658"/>
                </a:lnTo>
                <a:lnTo>
                  <a:pt x="569" y="649"/>
                </a:lnTo>
                <a:lnTo>
                  <a:pt x="557" y="656"/>
                </a:lnTo>
                <a:lnTo>
                  <a:pt x="548" y="652"/>
                </a:lnTo>
                <a:lnTo>
                  <a:pt x="533" y="644"/>
                </a:lnTo>
                <a:lnTo>
                  <a:pt x="535" y="627"/>
                </a:lnTo>
                <a:lnTo>
                  <a:pt x="523" y="623"/>
                </a:lnTo>
                <a:lnTo>
                  <a:pt x="515" y="604"/>
                </a:lnTo>
                <a:lnTo>
                  <a:pt x="497" y="607"/>
                </a:lnTo>
                <a:lnTo>
                  <a:pt x="494" y="582"/>
                </a:lnTo>
                <a:lnTo>
                  <a:pt x="507" y="565"/>
                </a:lnTo>
                <a:lnTo>
                  <a:pt x="504" y="548"/>
                </a:lnTo>
                <a:lnTo>
                  <a:pt x="500" y="532"/>
                </a:lnTo>
                <a:lnTo>
                  <a:pt x="491" y="527"/>
                </a:lnTo>
                <a:lnTo>
                  <a:pt x="482" y="515"/>
                </a:lnTo>
                <a:lnTo>
                  <a:pt x="472" y="516"/>
                </a:lnTo>
                <a:lnTo>
                  <a:pt x="452" y="513"/>
                </a:lnTo>
                <a:lnTo>
                  <a:pt x="456" y="505"/>
                </a:lnTo>
                <a:lnTo>
                  <a:pt x="445" y="492"/>
                </a:lnTo>
                <a:lnTo>
                  <a:pt x="434" y="500"/>
                </a:lnTo>
                <a:lnTo>
                  <a:pt x="418" y="495"/>
                </a:lnTo>
                <a:lnTo>
                  <a:pt x="401" y="508"/>
                </a:lnTo>
                <a:lnTo>
                  <a:pt x="389" y="524"/>
                </a:lnTo>
                <a:lnTo>
                  <a:pt x="375" y="527"/>
                </a:lnTo>
                <a:lnTo>
                  <a:pt x="366" y="521"/>
                </a:lnTo>
                <a:lnTo>
                  <a:pt x="356" y="520"/>
                </a:lnTo>
                <a:lnTo>
                  <a:pt x="343" y="516"/>
                </a:lnTo>
                <a:lnTo>
                  <a:pt x="334" y="521"/>
                </a:lnTo>
                <a:lnTo>
                  <a:pt x="326" y="536"/>
                </a:lnTo>
                <a:lnTo>
                  <a:pt x="321" y="520"/>
                </a:lnTo>
                <a:lnTo>
                  <a:pt x="311" y="524"/>
                </a:lnTo>
                <a:lnTo>
                  <a:pt x="290" y="522"/>
                </a:lnTo>
                <a:lnTo>
                  <a:pt x="269" y="517"/>
                </a:lnTo>
                <a:lnTo>
                  <a:pt x="253" y="508"/>
                </a:lnTo>
                <a:lnTo>
                  <a:pt x="238" y="504"/>
                </a:lnTo>
                <a:lnTo>
                  <a:pt x="230" y="494"/>
                </a:lnTo>
                <a:lnTo>
                  <a:pt x="219" y="491"/>
                </a:lnTo>
                <a:lnTo>
                  <a:pt x="199" y="478"/>
                </a:lnTo>
                <a:lnTo>
                  <a:pt x="183" y="472"/>
                </a:lnTo>
                <a:lnTo>
                  <a:pt x="177" y="476"/>
                </a:lnTo>
                <a:lnTo>
                  <a:pt x="149" y="462"/>
                </a:lnTo>
                <a:lnTo>
                  <a:pt x="129" y="449"/>
                </a:lnTo>
                <a:lnTo>
                  <a:pt x="119" y="426"/>
                </a:lnTo>
                <a:lnTo>
                  <a:pt x="132" y="429"/>
                </a:lnTo>
                <a:lnTo>
                  <a:pt x="130" y="418"/>
                </a:lnTo>
                <a:lnTo>
                  <a:pt x="120" y="408"/>
                </a:lnTo>
                <a:lnTo>
                  <a:pt x="118" y="391"/>
                </a:lnTo>
                <a:lnTo>
                  <a:pt x="93" y="366"/>
                </a:lnTo>
                <a:lnTo>
                  <a:pt x="63" y="358"/>
                </a:lnTo>
                <a:lnTo>
                  <a:pt x="54" y="342"/>
                </a:lnTo>
                <a:lnTo>
                  <a:pt x="38" y="333"/>
                </a:lnTo>
                <a:lnTo>
                  <a:pt x="34" y="327"/>
                </a:lnTo>
                <a:lnTo>
                  <a:pt x="28" y="315"/>
                </a:lnTo>
                <a:lnTo>
                  <a:pt x="26" y="307"/>
                </a:lnTo>
                <a:lnTo>
                  <a:pt x="15" y="302"/>
                </a:lnTo>
                <a:lnTo>
                  <a:pt x="9" y="304"/>
                </a:lnTo>
                <a:lnTo>
                  <a:pt x="0" y="285"/>
                </a:lnTo>
                <a:lnTo>
                  <a:pt x="3" y="280"/>
                </a:lnTo>
                <a:lnTo>
                  <a:pt x="0" y="276"/>
                </a:lnTo>
                <a:lnTo>
                  <a:pt x="13" y="266"/>
                </a:lnTo>
                <a:lnTo>
                  <a:pt x="23" y="262"/>
                </a:lnTo>
                <a:lnTo>
                  <a:pt x="42" y="264"/>
                </a:lnTo>
                <a:lnTo>
                  <a:pt x="44" y="252"/>
                </a:lnTo>
                <a:lnTo>
                  <a:pt x="65" y="249"/>
                </a:lnTo>
                <a:lnTo>
                  <a:pt x="68" y="241"/>
                </a:lnTo>
                <a:lnTo>
                  <a:pt x="91" y="230"/>
                </a:lnTo>
                <a:lnTo>
                  <a:pt x="92" y="225"/>
                </a:lnTo>
                <a:lnTo>
                  <a:pt x="87" y="213"/>
                </a:lnTo>
                <a:lnTo>
                  <a:pt x="96" y="208"/>
                </a:lnTo>
                <a:lnTo>
                  <a:pt x="68" y="172"/>
                </a:lnTo>
                <a:lnTo>
                  <a:pt x="98" y="164"/>
                </a:lnTo>
                <a:lnTo>
                  <a:pt x="104" y="160"/>
                </a:lnTo>
                <a:lnTo>
                  <a:pt x="101" y="123"/>
                </a:lnTo>
                <a:lnTo>
                  <a:pt x="136" y="130"/>
                </a:lnTo>
                <a:lnTo>
                  <a:pt x="141" y="121"/>
                </a:lnTo>
                <a:lnTo>
                  <a:pt x="133" y="100"/>
                </a:lnTo>
                <a:lnTo>
                  <a:pt x="146" y="98"/>
                </a:lnTo>
                <a:lnTo>
                  <a:pt x="151" y="85"/>
                </a:lnTo>
                <a:lnTo>
                  <a:pt x="157" y="83"/>
                </a:lnTo>
                <a:lnTo>
                  <a:pt x="168" y="97"/>
                </a:lnTo>
                <a:lnTo>
                  <a:pt x="186" y="108"/>
                </a:lnTo>
                <a:lnTo>
                  <a:pt x="213" y="116"/>
                </a:lnTo>
                <a:lnTo>
                  <a:pt x="232" y="132"/>
                </a:lnTo>
                <a:lnTo>
                  <a:pt x="236" y="156"/>
                </a:lnTo>
                <a:lnTo>
                  <a:pt x="246" y="165"/>
                </a:lnTo>
                <a:lnTo>
                  <a:pt x="267" y="168"/>
                </a:lnTo>
                <a:lnTo>
                  <a:pt x="290" y="171"/>
                </a:lnTo>
                <a:lnTo>
                  <a:pt x="316" y="184"/>
                </a:lnTo>
                <a:lnTo>
                  <a:pt x="327" y="186"/>
                </a:lnTo>
                <a:lnTo>
                  <a:pt x="343" y="205"/>
                </a:lnTo>
                <a:lnTo>
                  <a:pt x="358" y="217"/>
                </a:lnTo>
                <a:lnTo>
                  <a:pt x="376" y="217"/>
                </a:lnTo>
                <a:lnTo>
                  <a:pt x="412" y="222"/>
                </a:lnTo>
                <a:lnTo>
                  <a:pt x="433" y="219"/>
                </a:lnTo>
                <a:lnTo>
                  <a:pt x="451" y="222"/>
                </a:lnTo>
                <a:lnTo>
                  <a:pt x="481" y="234"/>
                </a:lnTo>
                <a:lnTo>
                  <a:pt x="502" y="234"/>
                </a:lnTo>
                <a:lnTo>
                  <a:pt x="512" y="241"/>
                </a:lnTo>
                <a:lnTo>
                  <a:pt x="527" y="230"/>
                </a:lnTo>
                <a:lnTo>
                  <a:pt x="550" y="222"/>
                </a:lnTo>
                <a:lnTo>
                  <a:pt x="575" y="222"/>
                </a:lnTo>
                <a:lnTo>
                  <a:pt x="591" y="214"/>
                </a:lnTo>
                <a:lnTo>
                  <a:pt x="598" y="203"/>
                </a:lnTo>
                <a:lnTo>
                  <a:pt x="606" y="196"/>
                </a:lnTo>
                <a:lnTo>
                  <a:pt x="600" y="190"/>
                </a:lnTo>
                <a:lnTo>
                  <a:pt x="590" y="182"/>
                </a:lnTo>
                <a:lnTo>
                  <a:pt x="592" y="169"/>
                </a:lnTo>
                <a:lnTo>
                  <a:pt x="602" y="171"/>
                </a:lnTo>
                <a:lnTo>
                  <a:pt x="621" y="175"/>
                </a:lnTo>
                <a:lnTo>
                  <a:pt x="632" y="164"/>
                </a:lnTo>
                <a:lnTo>
                  <a:pt x="653" y="156"/>
                </a:lnTo>
                <a:lnTo>
                  <a:pt x="657" y="142"/>
                </a:lnTo>
                <a:lnTo>
                  <a:pt x="665" y="137"/>
                </a:lnTo>
                <a:lnTo>
                  <a:pt x="687" y="134"/>
                </a:lnTo>
                <a:lnTo>
                  <a:pt x="702" y="136"/>
                </a:lnTo>
                <a:lnTo>
                  <a:pt x="699" y="129"/>
                </a:lnTo>
                <a:lnTo>
                  <a:pt x="676" y="115"/>
                </a:lnTo>
                <a:lnTo>
                  <a:pt x="659" y="108"/>
                </a:lnTo>
                <a:lnTo>
                  <a:pt x="651" y="116"/>
                </a:lnTo>
                <a:lnTo>
                  <a:pt x="633" y="112"/>
                </a:lnTo>
                <a:lnTo>
                  <a:pt x="625" y="115"/>
                </a:lnTo>
                <a:lnTo>
                  <a:pt x="616" y="107"/>
                </a:lnTo>
                <a:lnTo>
                  <a:pt x="615" y="87"/>
                </a:lnTo>
                <a:lnTo>
                  <a:pt x="613" y="71"/>
                </a:lnTo>
                <a:lnTo>
                  <a:pt x="638" y="79"/>
                </a:lnTo>
                <a:lnTo>
                  <a:pt x="652" y="66"/>
                </a:lnTo>
                <a:lnTo>
                  <a:pt x="646" y="57"/>
                </a:lnTo>
                <a:lnTo>
                  <a:pt x="646" y="36"/>
                </a:lnTo>
                <a:lnTo>
                  <a:pt x="650" y="30"/>
                </a:lnTo>
                <a:lnTo>
                  <a:pt x="642" y="18"/>
                </a:lnTo>
                <a:lnTo>
                  <a:pt x="630" y="14"/>
                </a:lnTo>
                <a:lnTo>
                  <a:pt x="635" y="4"/>
                </a:lnTo>
                <a:lnTo>
                  <a:pt x="652" y="0"/>
                </a:lnTo>
                <a:lnTo>
                  <a:pt x="672" y="0"/>
                </a:lnTo>
                <a:lnTo>
                  <a:pt x="700" y="5"/>
                </a:lnTo>
                <a:lnTo>
                  <a:pt x="719" y="13"/>
                </a:lnTo>
                <a:lnTo>
                  <a:pt x="744" y="33"/>
                </a:lnTo>
                <a:lnTo>
                  <a:pt x="757" y="42"/>
                </a:lnTo>
                <a:lnTo>
                  <a:pt x="771" y="54"/>
                </a:lnTo>
                <a:lnTo>
                  <a:pt x="791" y="74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79" name="Freeform 48"/>
          <p:cNvSpPr>
            <a:spLocks/>
          </p:cNvSpPr>
          <p:nvPr/>
        </p:nvSpPr>
        <p:spPr bwMode="auto">
          <a:xfrm>
            <a:off x="2949468" y="3743925"/>
            <a:ext cx="125777" cy="70379"/>
          </a:xfrm>
          <a:custGeom>
            <a:avLst/>
            <a:gdLst>
              <a:gd name="T0" fmla="*/ 0 w 31"/>
              <a:gd name="T1" fmla="*/ 11 h 14"/>
              <a:gd name="T2" fmla="*/ 1 w 31"/>
              <a:gd name="T3" fmla="*/ 11 h 14"/>
              <a:gd name="T4" fmla="*/ 3 w 31"/>
              <a:gd name="T5" fmla="*/ 6 h 14"/>
              <a:gd name="T6" fmla="*/ 16 w 31"/>
              <a:gd name="T7" fmla="*/ 6 h 14"/>
              <a:gd name="T8" fmla="*/ 31 w 31"/>
              <a:gd name="T9" fmla="*/ 0 h 14"/>
              <a:gd name="T10" fmla="*/ 20 w 31"/>
              <a:gd name="T11" fmla="*/ 9 h 14"/>
              <a:gd name="T12" fmla="*/ 22 w 31"/>
              <a:gd name="T13" fmla="*/ 12 h 14"/>
              <a:gd name="T14" fmla="*/ 20 w 31"/>
              <a:gd name="T15" fmla="*/ 12 h 14"/>
              <a:gd name="T16" fmla="*/ 17 w 31"/>
              <a:gd name="T17" fmla="*/ 13 h 14"/>
              <a:gd name="T18" fmla="*/ 14 w 31"/>
              <a:gd name="T19" fmla="*/ 13 h 14"/>
              <a:gd name="T20" fmla="*/ 13 w 31"/>
              <a:gd name="T21" fmla="*/ 14 h 14"/>
              <a:gd name="T22" fmla="*/ 13 w 31"/>
              <a:gd name="T23" fmla="*/ 12 h 14"/>
              <a:gd name="T24" fmla="*/ 11 w 31"/>
              <a:gd name="T25" fmla="*/ 10 h 14"/>
              <a:gd name="T26" fmla="*/ 8 w 31"/>
              <a:gd name="T27" fmla="*/ 10 h 14"/>
              <a:gd name="T28" fmla="*/ 4 w 31"/>
              <a:gd name="T29" fmla="*/ 12 h 14"/>
              <a:gd name="T30" fmla="*/ 0 w 31"/>
              <a:gd name="T31" fmla="*/ 11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1" h="14">
                <a:moveTo>
                  <a:pt x="0" y="11"/>
                </a:moveTo>
                <a:lnTo>
                  <a:pt x="1" y="11"/>
                </a:lnTo>
                <a:lnTo>
                  <a:pt x="3" y="6"/>
                </a:lnTo>
                <a:lnTo>
                  <a:pt x="16" y="6"/>
                </a:lnTo>
                <a:lnTo>
                  <a:pt x="31" y="0"/>
                </a:lnTo>
                <a:lnTo>
                  <a:pt x="20" y="9"/>
                </a:lnTo>
                <a:lnTo>
                  <a:pt x="22" y="12"/>
                </a:lnTo>
                <a:lnTo>
                  <a:pt x="20" y="12"/>
                </a:lnTo>
                <a:lnTo>
                  <a:pt x="17" y="13"/>
                </a:lnTo>
                <a:lnTo>
                  <a:pt x="14" y="13"/>
                </a:lnTo>
                <a:lnTo>
                  <a:pt x="13" y="14"/>
                </a:lnTo>
                <a:lnTo>
                  <a:pt x="13" y="12"/>
                </a:lnTo>
                <a:lnTo>
                  <a:pt x="11" y="10"/>
                </a:lnTo>
                <a:lnTo>
                  <a:pt x="8" y="10"/>
                </a:lnTo>
                <a:lnTo>
                  <a:pt x="4" y="12"/>
                </a:lnTo>
                <a:lnTo>
                  <a:pt x="0" y="11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80" name="Freeform 49"/>
          <p:cNvSpPr>
            <a:spLocks/>
          </p:cNvSpPr>
          <p:nvPr/>
        </p:nvSpPr>
        <p:spPr bwMode="auto">
          <a:xfrm>
            <a:off x="2917008" y="3794194"/>
            <a:ext cx="125777" cy="60328"/>
          </a:xfrm>
          <a:custGeom>
            <a:avLst/>
            <a:gdLst>
              <a:gd name="T0" fmla="*/ 30 w 31"/>
              <a:gd name="T1" fmla="*/ 2 h 12"/>
              <a:gd name="T2" fmla="*/ 31 w 31"/>
              <a:gd name="T3" fmla="*/ 4 h 12"/>
              <a:gd name="T4" fmla="*/ 14 w 31"/>
              <a:gd name="T5" fmla="*/ 12 h 12"/>
              <a:gd name="T6" fmla="*/ 5 w 31"/>
              <a:gd name="T7" fmla="*/ 10 h 12"/>
              <a:gd name="T8" fmla="*/ 0 w 31"/>
              <a:gd name="T9" fmla="*/ 2 h 12"/>
              <a:gd name="T10" fmla="*/ 8 w 31"/>
              <a:gd name="T11" fmla="*/ 1 h 12"/>
              <a:gd name="T12" fmla="*/ 12 w 31"/>
              <a:gd name="T13" fmla="*/ 2 h 12"/>
              <a:gd name="T14" fmla="*/ 16 w 31"/>
              <a:gd name="T15" fmla="*/ 0 h 12"/>
              <a:gd name="T16" fmla="*/ 19 w 31"/>
              <a:gd name="T17" fmla="*/ 0 h 12"/>
              <a:gd name="T18" fmla="*/ 21 w 31"/>
              <a:gd name="T19" fmla="*/ 2 h 12"/>
              <a:gd name="T20" fmla="*/ 21 w 31"/>
              <a:gd name="T21" fmla="*/ 4 h 12"/>
              <a:gd name="T22" fmla="*/ 22 w 31"/>
              <a:gd name="T23" fmla="*/ 3 h 12"/>
              <a:gd name="T24" fmla="*/ 25 w 31"/>
              <a:gd name="T25" fmla="*/ 3 h 12"/>
              <a:gd name="T26" fmla="*/ 28 w 31"/>
              <a:gd name="T27" fmla="*/ 2 h 12"/>
              <a:gd name="T28" fmla="*/ 30 w 31"/>
              <a:gd name="T29" fmla="*/ 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1" h="12">
                <a:moveTo>
                  <a:pt x="30" y="2"/>
                </a:moveTo>
                <a:lnTo>
                  <a:pt x="31" y="4"/>
                </a:lnTo>
                <a:lnTo>
                  <a:pt x="14" y="12"/>
                </a:lnTo>
                <a:lnTo>
                  <a:pt x="5" y="10"/>
                </a:lnTo>
                <a:lnTo>
                  <a:pt x="0" y="2"/>
                </a:lnTo>
                <a:lnTo>
                  <a:pt x="8" y="1"/>
                </a:lnTo>
                <a:lnTo>
                  <a:pt x="12" y="2"/>
                </a:lnTo>
                <a:lnTo>
                  <a:pt x="16" y="0"/>
                </a:lnTo>
                <a:lnTo>
                  <a:pt x="19" y="0"/>
                </a:lnTo>
                <a:lnTo>
                  <a:pt x="21" y="2"/>
                </a:lnTo>
                <a:lnTo>
                  <a:pt x="21" y="4"/>
                </a:lnTo>
                <a:lnTo>
                  <a:pt x="22" y="3"/>
                </a:lnTo>
                <a:lnTo>
                  <a:pt x="25" y="3"/>
                </a:lnTo>
                <a:lnTo>
                  <a:pt x="28" y="2"/>
                </a:lnTo>
                <a:lnTo>
                  <a:pt x="30" y="2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81" name="Freeform 50"/>
          <p:cNvSpPr>
            <a:spLocks/>
          </p:cNvSpPr>
          <p:nvPr/>
        </p:nvSpPr>
        <p:spPr bwMode="auto">
          <a:xfrm>
            <a:off x="1444225" y="2150312"/>
            <a:ext cx="434129" cy="261413"/>
          </a:xfrm>
          <a:custGeom>
            <a:avLst/>
            <a:gdLst>
              <a:gd name="T0" fmla="*/ 79 w 107"/>
              <a:gd name="T1" fmla="*/ 51 h 52"/>
              <a:gd name="T2" fmla="*/ 71 w 107"/>
              <a:gd name="T3" fmla="*/ 48 h 52"/>
              <a:gd name="T4" fmla="*/ 63 w 107"/>
              <a:gd name="T5" fmla="*/ 49 h 52"/>
              <a:gd name="T6" fmla="*/ 50 w 107"/>
              <a:gd name="T7" fmla="*/ 43 h 52"/>
              <a:gd name="T8" fmla="*/ 45 w 107"/>
              <a:gd name="T9" fmla="*/ 44 h 52"/>
              <a:gd name="T10" fmla="*/ 37 w 107"/>
              <a:gd name="T11" fmla="*/ 52 h 52"/>
              <a:gd name="T12" fmla="*/ 24 w 107"/>
              <a:gd name="T13" fmla="*/ 46 h 52"/>
              <a:gd name="T14" fmla="*/ 14 w 107"/>
              <a:gd name="T15" fmla="*/ 37 h 52"/>
              <a:gd name="T16" fmla="*/ 6 w 107"/>
              <a:gd name="T17" fmla="*/ 32 h 52"/>
              <a:gd name="T18" fmla="*/ 4 w 107"/>
              <a:gd name="T19" fmla="*/ 24 h 52"/>
              <a:gd name="T20" fmla="*/ 0 w 107"/>
              <a:gd name="T21" fmla="*/ 18 h 52"/>
              <a:gd name="T22" fmla="*/ 12 w 107"/>
              <a:gd name="T23" fmla="*/ 13 h 52"/>
              <a:gd name="T24" fmla="*/ 17 w 107"/>
              <a:gd name="T25" fmla="*/ 8 h 52"/>
              <a:gd name="T26" fmla="*/ 28 w 107"/>
              <a:gd name="T27" fmla="*/ 4 h 52"/>
              <a:gd name="T28" fmla="*/ 32 w 107"/>
              <a:gd name="T29" fmla="*/ 0 h 52"/>
              <a:gd name="T30" fmla="*/ 36 w 107"/>
              <a:gd name="T31" fmla="*/ 3 h 52"/>
              <a:gd name="T32" fmla="*/ 43 w 107"/>
              <a:gd name="T33" fmla="*/ 1 h 52"/>
              <a:gd name="T34" fmla="*/ 51 w 107"/>
              <a:gd name="T35" fmla="*/ 7 h 52"/>
              <a:gd name="T36" fmla="*/ 63 w 107"/>
              <a:gd name="T37" fmla="*/ 9 h 52"/>
              <a:gd name="T38" fmla="*/ 63 w 107"/>
              <a:gd name="T39" fmla="*/ 15 h 52"/>
              <a:gd name="T40" fmla="*/ 72 w 107"/>
              <a:gd name="T41" fmla="*/ 19 h 52"/>
              <a:gd name="T42" fmla="*/ 74 w 107"/>
              <a:gd name="T43" fmla="*/ 14 h 52"/>
              <a:gd name="T44" fmla="*/ 85 w 107"/>
              <a:gd name="T45" fmla="*/ 16 h 52"/>
              <a:gd name="T46" fmla="*/ 87 w 107"/>
              <a:gd name="T47" fmla="*/ 22 h 52"/>
              <a:gd name="T48" fmla="*/ 99 w 107"/>
              <a:gd name="T49" fmla="*/ 23 h 52"/>
              <a:gd name="T50" fmla="*/ 107 w 107"/>
              <a:gd name="T51" fmla="*/ 33 h 52"/>
              <a:gd name="T52" fmla="*/ 103 w 107"/>
              <a:gd name="T53" fmla="*/ 33 h 52"/>
              <a:gd name="T54" fmla="*/ 100 w 107"/>
              <a:gd name="T55" fmla="*/ 37 h 52"/>
              <a:gd name="T56" fmla="*/ 97 w 107"/>
              <a:gd name="T57" fmla="*/ 38 h 52"/>
              <a:gd name="T58" fmla="*/ 96 w 107"/>
              <a:gd name="T59" fmla="*/ 42 h 52"/>
              <a:gd name="T60" fmla="*/ 93 w 107"/>
              <a:gd name="T61" fmla="*/ 43 h 52"/>
              <a:gd name="T62" fmla="*/ 93 w 107"/>
              <a:gd name="T63" fmla="*/ 45 h 52"/>
              <a:gd name="T64" fmla="*/ 88 w 107"/>
              <a:gd name="T65" fmla="*/ 47 h 52"/>
              <a:gd name="T66" fmla="*/ 80 w 107"/>
              <a:gd name="T67" fmla="*/ 47 h 52"/>
              <a:gd name="T68" fmla="*/ 79 w 107"/>
              <a:gd name="T69" fmla="*/ 51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07" h="52">
                <a:moveTo>
                  <a:pt x="79" y="51"/>
                </a:moveTo>
                <a:lnTo>
                  <a:pt x="71" y="48"/>
                </a:lnTo>
                <a:lnTo>
                  <a:pt x="63" y="49"/>
                </a:lnTo>
                <a:lnTo>
                  <a:pt x="50" y="43"/>
                </a:lnTo>
                <a:lnTo>
                  <a:pt x="45" y="44"/>
                </a:lnTo>
                <a:lnTo>
                  <a:pt x="37" y="52"/>
                </a:lnTo>
                <a:lnTo>
                  <a:pt x="24" y="46"/>
                </a:lnTo>
                <a:lnTo>
                  <a:pt x="14" y="37"/>
                </a:lnTo>
                <a:lnTo>
                  <a:pt x="6" y="32"/>
                </a:lnTo>
                <a:lnTo>
                  <a:pt x="4" y="24"/>
                </a:lnTo>
                <a:lnTo>
                  <a:pt x="0" y="18"/>
                </a:lnTo>
                <a:lnTo>
                  <a:pt x="12" y="13"/>
                </a:lnTo>
                <a:lnTo>
                  <a:pt x="17" y="8"/>
                </a:lnTo>
                <a:lnTo>
                  <a:pt x="28" y="4"/>
                </a:lnTo>
                <a:lnTo>
                  <a:pt x="32" y="0"/>
                </a:lnTo>
                <a:lnTo>
                  <a:pt x="36" y="3"/>
                </a:lnTo>
                <a:lnTo>
                  <a:pt x="43" y="1"/>
                </a:lnTo>
                <a:lnTo>
                  <a:pt x="51" y="7"/>
                </a:lnTo>
                <a:lnTo>
                  <a:pt x="63" y="9"/>
                </a:lnTo>
                <a:lnTo>
                  <a:pt x="63" y="15"/>
                </a:lnTo>
                <a:lnTo>
                  <a:pt x="72" y="19"/>
                </a:lnTo>
                <a:lnTo>
                  <a:pt x="74" y="14"/>
                </a:lnTo>
                <a:lnTo>
                  <a:pt x="85" y="16"/>
                </a:lnTo>
                <a:lnTo>
                  <a:pt x="87" y="22"/>
                </a:lnTo>
                <a:lnTo>
                  <a:pt x="99" y="23"/>
                </a:lnTo>
                <a:lnTo>
                  <a:pt x="107" y="33"/>
                </a:lnTo>
                <a:lnTo>
                  <a:pt x="103" y="33"/>
                </a:lnTo>
                <a:lnTo>
                  <a:pt x="100" y="37"/>
                </a:lnTo>
                <a:lnTo>
                  <a:pt x="97" y="38"/>
                </a:lnTo>
                <a:lnTo>
                  <a:pt x="96" y="42"/>
                </a:lnTo>
                <a:lnTo>
                  <a:pt x="93" y="43"/>
                </a:lnTo>
                <a:lnTo>
                  <a:pt x="93" y="45"/>
                </a:lnTo>
                <a:lnTo>
                  <a:pt x="88" y="47"/>
                </a:lnTo>
                <a:lnTo>
                  <a:pt x="80" y="47"/>
                </a:lnTo>
                <a:lnTo>
                  <a:pt x="79" y="51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82" name="Freeform 51"/>
          <p:cNvSpPr>
            <a:spLocks/>
          </p:cNvSpPr>
          <p:nvPr/>
        </p:nvSpPr>
        <p:spPr bwMode="auto">
          <a:xfrm>
            <a:off x="1038499" y="1763222"/>
            <a:ext cx="580188" cy="779214"/>
          </a:xfrm>
          <a:custGeom>
            <a:avLst/>
            <a:gdLst>
              <a:gd name="T0" fmla="*/ 58 w 143"/>
              <a:gd name="T1" fmla="*/ 0 h 155"/>
              <a:gd name="T2" fmla="*/ 59 w 143"/>
              <a:gd name="T3" fmla="*/ 8 h 155"/>
              <a:gd name="T4" fmla="*/ 75 w 143"/>
              <a:gd name="T5" fmla="*/ 12 h 155"/>
              <a:gd name="T6" fmla="*/ 75 w 143"/>
              <a:gd name="T7" fmla="*/ 20 h 155"/>
              <a:gd name="T8" fmla="*/ 90 w 143"/>
              <a:gd name="T9" fmla="*/ 16 h 155"/>
              <a:gd name="T10" fmla="*/ 99 w 143"/>
              <a:gd name="T11" fmla="*/ 10 h 155"/>
              <a:gd name="T12" fmla="*/ 117 w 143"/>
              <a:gd name="T13" fmla="*/ 18 h 155"/>
              <a:gd name="T14" fmla="*/ 125 w 143"/>
              <a:gd name="T15" fmla="*/ 25 h 155"/>
              <a:gd name="T16" fmla="*/ 129 w 143"/>
              <a:gd name="T17" fmla="*/ 35 h 155"/>
              <a:gd name="T18" fmla="*/ 125 w 143"/>
              <a:gd name="T19" fmla="*/ 40 h 155"/>
              <a:gd name="T20" fmla="*/ 131 w 143"/>
              <a:gd name="T21" fmla="*/ 47 h 155"/>
              <a:gd name="T22" fmla="*/ 136 w 143"/>
              <a:gd name="T23" fmla="*/ 58 h 155"/>
              <a:gd name="T24" fmla="*/ 136 w 143"/>
              <a:gd name="T25" fmla="*/ 65 h 155"/>
              <a:gd name="T26" fmla="*/ 143 w 143"/>
              <a:gd name="T27" fmla="*/ 78 h 155"/>
              <a:gd name="T28" fmla="*/ 136 w 143"/>
              <a:gd name="T29" fmla="*/ 80 h 155"/>
              <a:gd name="T30" fmla="*/ 132 w 143"/>
              <a:gd name="T31" fmla="*/ 77 h 155"/>
              <a:gd name="T32" fmla="*/ 128 w 143"/>
              <a:gd name="T33" fmla="*/ 81 h 155"/>
              <a:gd name="T34" fmla="*/ 117 w 143"/>
              <a:gd name="T35" fmla="*/ 85 h 155"/>
              <a:gd name="T36" fmla="*/ 112 w 143"/>
              <a:gd name="T37" fmla="*/ 90 h 155"/>
              <a:gd name="T38" fmla="*/ 100 w 143"/>
              <a:gd name="T39" fmla="*/ 95 h 155"/>
              <a:gd name="T40" fmla="*/ 104 w 143"/>
              <a:gd name="T41" fmla="*/ 101 h 155"/>
              <a:gd name="T42" fmla="*/ 106 w 143"/>
              <a:gd name="T43" fmla="*/ 109 h 155"/>
              <a:gd name="T44" fmla="*/ 114 w 143"/>
              <a:gd name="T45" fmla="*/ 114 h 155"/>
              <a:gd name="T46" fmla="*/ 124 w 143"/>
              <a:gd name="T47" fmla="*/ 123 h 155"/>
              <a:gd name="T48" fmla="*/ 119 w 143"/>
              <a:gd name="T49" fmla="*/ 132 h 155"/>
              <a:gd name="T50" fmla="*/ 113 w 143"/>
              <a:gd name="T51" fmla="*/ 135 h 155"/>
              <a:gd name="T52" fmla="*/ 117 w 143"/>
              <a:gd name="T53" fmla="*/ 148 h 155"/>
              <a:gd name="T54" fmla="*/ 115 w 143"/>
              <a:gd name="T55" fmla="*/ 151 h 155"/>
              <a:gd name="T56" fmla="*/ 110 w 143"/>
              <a:gd name="T57" fmla="*/ 147 h 155"/>
              <a:gd name="T58" fmla="*/ 102 w 143"/>
              <a:gd name="T59" fmla="*/ 147 h 155"/>
              <a:gd name="T60" fmla="*/ 91 w 143"/>
              <a:gd name="T61" fmla="*/ 150 h 155"/>
              <a:gd name="T62" fmla="*/ 76 w 143"/>
              <a:gd name="T63" fmla="*/ 149 h 155"/>
              <a:gd name="T64" fmla="*/ 75 w 143"/>
              <a:gd name="T65" fmla="*/ 155 h 155"/>
              <a:gd name="T66" fmla="*/ 66 w 143"/>
              <a:gd name="T67" fmla="*/ 149 h 155"/>
              <a:gd name="T68" fmla="*/ 61 w 143"/>
              <a:gd name="T69" fmla="*/ 150 h 155"/>
              <a:gd name="T70" fmla="*/ 44 w 143"/>
              <a:gd name="T71" fmla="*/ 144 h 155"/>
              <a:gd name="T72" fmla="*/ 40 w 143"/>
              <a:gd name="T73" fmla="*/ 148 h 155"/>
              <a:gd name="T74" fmla="*/ 26 w 143"/>
              <a:gd name="T75" fmla="*/ 148 h 155"/>
              <a:gd name="T76" fmla="*/ 28 w 143"/>
              <a:gd name="T77" fmla="*/ 134 h 155"/>
              <a:gd name="T78" fmla="*/ 35 w 143"/>
              <a:gd name="T79" fmla="*/ 120 h 155"/>
              <a:gd name="T80" fmla="*/ 12 w 143"/>
              <a:gd name="T81" fmla="*/ 116 h 155"/>
              <a:gd name="T82" fmla="*/ 4 w 143"/>
              <a:gd name="T83" fmla="*/ 111 h 155"/>
              <a:gd name="T84" fmla="*/ 5 w 143"/>
              <a:gd name="T85" fmla="*/ 102 h 155"/>
              <a:gd name="T86" fmla="*/ 2 w 143"/>
              <a:gd name="T87" fmla="*/ 97 h 155"/>
              <a:gd name="T88" fmla="*/ 3 w 143"/>
              <a:gd name="T89" fmla="*/ 84 h 155"/>
              <a:gd name="T90" fmla="*/ 0 w 143"/>
              <a:gd name="T91" fmla="*/ 63 h 155"/>
              <a:gd name="T92" fmla="*/ 9 w 143"/>
              <a:gd name="T93" fmla="*/ 63 h 155"/>
              <a:gd name="T94" fmla="*/ 13 w 143"/>
              <a:gd name="T95" fmla="*/ 55 h 155"/>
              <a:gd name="T96" fmla="*/ 16 w 143"/>
              <a:gd name="T97" fmla="*/ 37 h 155"/>
              <a:gd name="T98" fmla="*/ 13 w 143"/>
              <a:gd name="T99" fmla="*/ 30 h 155"/>
              <a:gd name="T100" fmla="*/ 16 w 143"/>
              <a:gd name="T101" fmla="*/ 26 h 155"/>
              <a:gd name="T102" fmla="*/ 29 w 143"/>
              <a:gd name="T103" fmla="*/ 25 h 155"/>
              <a:gd name="T104" fmla="*/ 32 w 143"/>
              <a:gd name="T105" fmla="*/ 29 h 155"/>
              <a:gd name="T106" fmla="*/ 42 w 143"/>
              <a:gd name="T107" fmla="*/ 19 h 155"/>
              <a:gd name="T108" fmla="*/ 38 w 143"/>
              <a:gd name="T109" fmla="*/ 12 h 155"/>
              <a:gd name="T110" fmla="*/ 36 w 143"/>
              <a:gd name="T111" fmla="*/ 1 h 155"/>
              <a:gd name="T112" fmla="*/ 48 w 143"/>
              <a:gd name="T113" fmla="*/ 3 h 155"/>
              <a:gd name="T114" fmla="*/ 58 w 143"/>
              <a:gd name="T115" fmla="*/ 0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43" h="155">
                <a:moveTo>
                  <a:pt x="58" y="0"/>
                </a:moveTo>
                <a:lnTo>
                  <a:pt x="59" y="8"/>
                </a:lnTo>
                <a:lnTo>
                  <a:pt x="75" y="12"/>
                </a:lnTo>
                <a:lnTo>
                  <a:pt x="75" y="20"/>
                </a:lnTo>
                <a:lnTo>
                  <a:pt x="90" y="16"/>
                </a:lnTo>
                <a:lnTo>
                  <a:pt x="99" y="10"/>
                </a:lnTo>
                <a:lnTo>
                  <a:pt x="117" y="18"/>
                </a:lnTo>
                <a:lnTo>
                  <a:pt x="125" y="25"/>
                </a:lnTo>
                <a:lnTo>
                  <a:pt x="129" y="35"/>
                </a:lnTo>
                <a:lnTo>
                  <a:pt x="125" y="40"/>
                </a:lnTo>
                <a:lnTo>
                  <a:pt x="131" y="47"/>
                </a:lnTo>
                <a:lnTo>
                  <a:pt x="136" y="58"/>
                </a:lnTo>
                <a:lnTo>
                  <a:pt x="136" y="65"/>
                </a:lnTo>
                <a:lnTo>
                  <a:pt x="143" y="78"/>
                </a:lnTo>
                <a:lnTo>
                  <a:pt x="136" y="80"/>
                </a:lnTo>
                <a:lnTo>
                  <a:pt x="132" y="77"/>
                </a:lnTo>
                <a:lnTo>
                  <a:pt x="128" y="81"/>
                </a:lnTo>
                <a:lnTo>
                  <a:pt x="117" y="85"/>
                </a:lnTo>
                <a:lnTo>
                  <a:pt x="112" y="90"/>
                </a:lnTo>
                <a:lnTo>
                  <a:pt x="100" y="95"/>
                </a:lnTo>
                <a:lnTo>
                  <a:pt x="104" y="101"/>
                </a:lnTo>
                <a:lnTo>
                  <a:pt x="106" y="109"/>
                </a:lnTo>
                <a:lnTo>
                  <a:pt x="114" y="114"/>
                </a:lnTo>
                <a:lnTo>
                  <a:pt x="124" y="123"/>
                </a:lnTo>
                <a:lnTo>
                  <a:pt x="119" y="132"/>
                </a:lnTo>
                <a:lnTo>
                  <a:pt x="113" y="135"/>
                </a:lnTo>
                <a:lnTo>
                  <a:pt x="117" y="148"/>
                </a:lnTo>
                <a:lnTo>
                  <a:pt x="115" y="151"/>
                </a:lnTo>
                <a:lnTo>
                  <a:pt x="110" y="147"/>
                </a:lnTo>
                <a:lnTo>
                  <a:pt x="102" y="147"/>
                </a:lnTo>
                <a:lnTo>
                  <a:pt x="91" y="150"/>
                </a:lnTo>
                <a:lnTo>
                  <a:pt x="76" y="149"/>
                </a:lnTo>
                <a:lnTo>
                  <a:pt x="75" y="155"/>
                </a:lnTo>
                <a:lnTo>
                  <a:pt x="66" y="149"/>
                </a:lnTo>
                <a:lnTo>
                  <a:pt x="61" y="150"/>
                </a:lnTo>
                <a:lnTo>
                  <a:pt x="44" y="144"/>
                </a:lnTo>
                <a:lnTo>
                  <a:pt x="40" y="148"/>
                </a:lnTo>
                <a:lnTo>
                  <a:pt x="26" y="148"/>
                </a:lnTo>
                <a:lnTo>
                  <a:pt x="28" y="134"/>
                </a:lnTo>
                <a:lnTo>
                  <a:pt x="35" y="120"/>
                </a:lnTo>
                <a:lnTo>
                  <a:pt x="12" y="116"/>
                </a:lnTo>
                <a:lnTo>
                  <a:pt x="4" y="111"/>
                </a:lnTo>
                <a:lnTo>
                  <a:pt x="5" y="102"/>
                </a:lnTo>
                <a:lnTo>
                  <a:pt x="2" y="97"/>
                </a:lnTo>
                <a:lnTo>
                  <a:pt x="3" y="84"/>
                </a:lnTo>
                <a:lnTo>
                  <a:pt x="0" y="63"/>
                </a:lnTo>
                <a:lnTo>
                  <a:pt x="9" y="63"/>
                </a:lnTo>
                <a:lnTo>
                  <a:pt x="13" y="55"/>
                </a:lnTo>
                <a:lnTo>
                  <a:pt x="16" y="37"/>
                </a:lnTo>
                <a:lnTo>
                  <a:pt x="13" y="30"/>
                </a:lnTo>
                <a:lnTo>
                  <a:pt x="16" y="26"/>
                </a:lnTo>
                <a:lnTo>
                  <a:pt x="29" y="25"/>
                </a:lnTo>
                <a:lnTo>
                  <a:pt x="32" y="29"/>
                </a:lnTo>
                <a:lnTo>
                  <a:pt x="42" y="19"/>
                </a:lnTo>
                <a:lnTo>
                  <a:pt x="38" y="12"/>
                </a:lnTo>
                <a:lnTo>
                  <a:pt x="36" y="1"/>
                </a:lnTo>
                <a:lnTo>
                  <a:pt x="48" y="3"/>
                </a:lnTo>
                <a:lnTo>
                  <a:pt x="58" y="0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83" name="Freeform 52"/>
          <p:cNvSpPr>
            <a:spLocks/>
          </p:cNvSpPr>
          <p:nvPr/>
        </p:nvSpPr>
        <p:spPr bwMode="auto">
          <a:xfrm>
            <a:off x="3740630" y="6141882"/>
            <a:ext cx="121718" cy="180980"/>
          </a:xfrm>
          <a:custGeom>
            <a:avLst/>
            <a:gdLst>
              <a:gd name="T0" fmla="*/ 25 w 30"/>
              <a:gd name="T1" fmla="*/ 0 h 36"/>
              <a:gd name="T2" fmla="*/ 30 w 30"/>
              <a:gd name="T3" fmla="*/ 6 h 36"/>
              <a:gd name="T4" fmla="*/ 30 w 30"/>
              <a:gd name="T5" fmla="*/ 15 h 36"/>
              <a:gd name="T6" fmla="*/ 20 w 30"/>
              <a:gd name="T7" fmla="*/ 20 h 36"/>
              <a:gd name="T8" fmla="*/ 28 w 30"/>
              <a:gd name="T9" fmla="*/ 25 h 36"/>
              <a:gd name="T10" fmla="*/ 21 w 30"/>
              <a:gd name="T11" fmla="*/ 36 h 36"/>
              <a:gd name="T12" fmla="*/ 17 w 30"/>
              <a:gd name="T13" fmla="*/ 33 h 36"/>
              <a:gd name="T14" fmla="*/ 13 w 30"/>
              <a:gd name="T15" fmla="*/ 34 h 36"/>
              <a:gd name="T16" fmla="*/ 3 w 30"/>
              <a:gd name="T17" fmla="*/ 34 h 36"/>
              <a:gd name="T18" fmla="*/ 2 w 30"/>
              <a:gd name="T19" fmla="*/ 28 h 36"/>
              <a:gd name="T20" fmla="*/ 0 w 30"/>
              <a:gd name="T21" fmla="*/ 22 h 36"/>
              <a:gd name="T22" fmla="*/ 6 w 30"/>
              <a:gd name="T23" fmla="*/ 12 h 36"/>
              <a:gd name="T24" fmla="*/ 12 w 30"/>
              <a:gd name="T25" fmla="*/ 3 h 36"/>
              <a:gd name="T26" fmla="*/ 20 w 30"/>
              <a:gd name="T27" fmla="*/ 5 h 36"/>
              <a:gd name="T28" fmla="*/ 25 w 30"/>
              <a:gd name="T29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0" h="36">
                <a:moveTo>
                  <a:pt x="25" y="0"/>
                </a:moveTo>
                <a:lnTo>
                  <a:pt x="30" y="6"/>
                </a:lnTo>
                <a:lnTo>
                  <a:pt x="30" y="15"/>
                </a:lnTo>
                <a:lnTo>
                  <a:pt x="20" y="20"/>
                </a:lnTo>
                <a:lnTo>
                  <a:pt x="28" y="25"/>
                </a:lnTo>
                <a:lnTo>
                  <a:pt x="21" y="36"/>
                </a:lnTo>
                <a:lnTo>
                  <a:pt x="17" y="33"/>
                </a:lnTo>
                <a:lnTo>
                  <a:pt x="13" y="34"/>
                </a:lnTo>
                <a:lnTo>
                  <a:pt x="3" y="34"/>
                </a:lnTo>
                <a:lnTo>
                  <a:pt x="2" y="28"/>
                </a:lnTo>
                <a:lnTo>
                  <a:pt x="0" y="22"/>
                </a:lnTo>
                <a:lnTo>
                  <a:pt x="6" y="12"/>
                </a:lnTo>
                <a:lnTo>
                  <a:pt x="12" y="3"/>
                </a:lnTo>
                <a:lnTo>
                  <a:pt x="20" y="5"/>
                </a:lnTo>
                <a:lnTo>
                  <a:pt x="25" y="0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84" name="Freeform 53"/>
          <p:cNvSpPr>
            <a:spLocks/>
          </p:cNvSpPr>
          <p:nvPr/>
        </p:nvSpPr>
        <p:spPr bwMode="auto">
          <a:xfrm>
            <a:off x="1330621" y="1652621"/>
            <a:ext cx="109548" cy="130706"/>
          </a:xfrm>
          <a:custGeom>
            <a:avLst/>
            <a:gdLst>
              <a:gd name="T0" fmla="*/ 27 w 27"/>
              <a:gd name="T1" fmla="*/ 10 h 26"/>
              <a:gd name="T2" fmla="*/ 20 w 27"/>
              <a:gd name="T3" fmla="*/ 26 h 26"/>
              <a:gd name="T4" fmla="*/ 3 w 27"/>
              <a:gd name="T5" fmla="*/ 15 h 26"/>
              <a:gd name="T6" fmla="*/ 0 w 27"/>
              <a:gd name="T7" fmla="*/ 6 h 26"/>
              <a:gd name="T8" fmla="*/ 22 w 27"/>
              <a:gd name="T9" fmla="*/ 0 h 26"/>
              <a:gd name="T10" fmla="*/ 27 w 27"/>
              <a:gd name="T11" fmla="*/ 10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7" h="26">
                <a:moveTo>
                  <a:pt x="27" y="10"/>
                </a:moveTo>
                <a:lnTo>
                  <a:pt x="20" y="26"/>
                </a:lnTo>
                <a:lnTo>
                  <a:pt x="3" y="15"/>
                </a:lnTo>
                <a:lnTo>
                  <a:pt x="0" y="6"/>
                </a:lnTo>
                <a:lnTo>
                  <a:pt x="22" y="0"/>
                </a:lnTo>
                <a:lnTo>
                  <a:pt x="27" y="10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85" name="Freeform 54"/>
          <p:cNvSpPr>
            <a:spLocks/>
          </p:cNvSpPr>
          <p:nvPr/>
        </p:nvSpPr>
        <p:spPr bwMode="auto">
          <a:xfrm>
            <a:off x="1152103" y="1491755"/>
            <a:ext cx="174463" cy="286552"/>
          </a:xfrm>
          <a:custGeom>
            <a:avLst/>
            <a:gdLst>
              <a:gd name="T0" fmla="*/ 43 w 43"/>
              <a:gd name="T1" fmla="*/ 25 h 57"/>
              <a:gd name="T2" fmla="*/ 40 w 43"/>
              <a:gd name="T3" fmla="*/ 33 h 57"/>
              <a:gd name="T4" fmla="*/ 35 w 43"/>
              <a:gd name="T5" fmla="*/ 30 h 57"/>
              <a:gd name="T6" fmla="*/ 25 w 43"/>
              <a:gd name="T7" fmla="*/ 44 h 57"/>
              <a:gd name="T8" fmla="*/ 30 w 43"/>
              <a:gd name="T9" fmla="*/ 54 h 57"/>
              <a:gd name="T10" fmla="*/ 20 w 43"/>
              <a:gd name="T11" fmla="*/ 57 h 57"/>
              <a:gd name="T12" fmla="*/ 8 w 43"/>
              <a:gd name="T13" fmla="*/ 55 h 57"/>
              <a:gd name="T14" fmla="*/ 2 w 43"/>
              <a:gd name="T15" fmla="*/ 44 h 57"/>
              <a:gd name="T16" fmla="*/ 0 w 43"/>
              <a:gd name="T17" fmla="*/ 24 h 57"/>
              <a:gd name="T18" fmla="*/ 2 w 43"/>
              <a:gd name="T19" fmla="*/ 18 h 57"/>
              <a:gd name="T20" fmla="*/ 6 w 43"/>
              <a:gd name="T21" fmla="*/ 12 h 57"/>
              <a:gd name="T22" fmla="*/ 20 w 43"/>
              <a:gd name="T23" fmla="*/ 11 h 57"/>
              <a:gd name="T24" fmla="*/ 25 w 43"/>
              <a:gd name="T25" fmla="*/ 6 h 57"/>
              <a:gd name="T26" fmla="*/ 36 w 43"/>
              <a:gd name="T27" fmla="*/ 0 h 57"/>
              <a:gd name="T28" fmla="*/ 37 w 43"/>
              <a:gd name="T29" fmla="*/ 10 h 57"/>
              <a:gd name="T30" fmla="*/ 32 w 43"/>
              <a:gd name="T31" fmla="*/ 16 h 57"/>
              <a:gd name="T32" fmla="*/ 35 w 43"/>
              <a:gd name="T33" fmla="*/ 22 h 57"/>
              <a:gd name="T34" fmla="*/ 43 w 43"/>
              <a:gd name="T35" fmla="*/ 25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43" h="57">
                <a:moveTo>
                  <a:pt x="43" y="25"/>
                </a:moveTo>
                <a:lnTo>
                  <a:pt x="40" y="33"/>
                </a:lnTo>
                <a:lnTo>
                  <a:pt x="35" y="30"/>
                </a:lnTo>
                <a:lnTo>
                  <a:pt x="25" y="44"/>
                </a:lnTo>
                <a:lnTo>
                  <a:pt x="30" y="54"/>
                </a:lnTo>
                <a:lnTo>
                  <a:pt x="20" y="57"/>
                </a:lnTo>
                <a:lnTo>
                  <a:pt x="8" y="55"/>
                </a:lnTo>
                <a:lnTo>
                  <a:pt x="2" y="44"/>
                </a:lnTo>
                <a:lnTo>
                  <a:pt x="0" y="24"/>
                </a:lnTo>
                <a:lnTo>
                  <a:pt x="2" y="18"/>
                </a:lnTo>
                <a:lnTo>
                  <a:pt x="6" y="12"/>
                </a:lnTo>
                <a:lnTo>
                  <a:pt x="20" y="11"/>
                </a:lnTo>
                <a:lnTo>
                  <a:pt x="25" y="6"/>
                </a:lnTo>
                <a:lnTo>
                  <a:pt x="36" y="0"/>
                </a:lnTo>
                <a:lnTo>
                  <a:pt x="37" y="10"/>
                </a:lnTo>
                <a:lnTo>
                  <a:pt x="32" y="16"/>
                </a:lnTo>
                <a:lnTo>
                  <a:pt x="35" y="22"/>
                </a:lnTo>
                <a:lnTo>
                  <a:pt x="43" y="25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86" name="Freeform 56"/>
          <p:cNvSpPr>
            <a:spLocks/>
          </p:cNvSpPr>
          <p:nvPr/>
        </p:nvSpPr>
        <p:spPr bwMode="auto">
          <a:xfrm>
            <a:off x="28244" y="3593109"/>
            <a:ext cx="1497128" cy="1885190"/>
          </a:xfrm>
          <a:custGeom>
            <a:avLst/>
            <a:gdLst>
              <a:gd name="T0" fmla="*/ 369 w 369"/>
              <a:gd name="T1" fmla="*/ 283 h 375"/>
              <a:gd name="T2" fmla="*/ 309 w 369"/>
              <a:gd name="T3" fmla="*/ 322 h 375"/>
              <a:gd name="T4" fmla="*/ 257 w 369"/>
              <a:gd name="T5" fmla="*/ 363 h 375"/>
              <a:gd name="T6" fmla="*/ 231 w 369"/>
              <a:gd name="T7" fmla="*/ 372 h 375"/>
              <a:gd name="T8" fmla="*/ 211 w 369"/>
              <a:gd name="T9" fmla="*/ 375 h 375"/>
              <a:gd name="T10" fmla="*/ 211 w 369"/>
              <a:gd name="T11" fmla="*/ 361 h 375"/>
              <a:gd name="T12" fmla="*/ 203 w 369"/>
              <a:gd name="T13" fmla="*/ 358 h 375"/>
              <a:gd name="T14" fmla="*/ 191 w 369"/>
              <a:gd name="T15" fmla="*/ 352 h 375"/>
              <a:gd name="T16" fmla="*/ 187 w 369"/>
              <a:gd name="T17" fmla="*/ 342 h 375"/>
              <a:gd name="T18" fmla="*/ 126 w 369"/>
              <a:gd name="T19" fmla="*/ 297 h 375"/>
              <a:gd name="T20" fmla="*/ 66 w 369"/>
              <a:gd name="T21" fmla="*/ 252 h 375"/>
              <a:gd name="T22" fmla="*/ 0 w 369"/>
              <a:gd name="T23" fmla="*/ 201 h 375"/>
              <a:gd name="T24" fmla="*/ 1 w 369"/>
              <a:gd name="T25" fmla="*/ 197 h 375"/>
              <a:gd name="T26" fmla="*/ 1 w 369"/>
              <a:gd name="T27" fmla="*/ 196 h 375"/>
              <a:gd name="T28" fmla="*/ 1 w 369"/>
              <a:gd name="T29" fmla="*/ 171 h 375"/>
              <a:gd name="T30" fmla="*/ 30 w 369"/>
              <a:gd name="T31" fmla="*/ 156 h 375"/>
              <a:gd name="T32" fmla="*/ 48 w 369"/>
              <a:gd name="T33" fmla="*/ 153 h 375"/>
              <a:gd name="T34" fmla="*/ 62 w 369"/>
              <a:gd name="T35" fmla="*/ 147 h 375"/>
              <a:gd name="T36" fmla="*/ 69 w 369"/>
              <a:gd name="T37" fmla="*/ 137 h 375"/>
              <a:gd name="T38" fmla="*/ 90 w 369"/>
              <a:gd name="T39" fmla="*/ 129 h 375"/>
              <a:gd name="T40" fmla="*/ 91 w 369"/>
              <a:gd name="T41" fmla="*/ 113 h 375"/>
              <a:gd name="T42" fmla="*/ 101 w 369"/>
              <a:gd name="T43" fmla="*/ 112 h 375"/>
              <a:gd name="T44" fmla="*/ 109 w 369"/>
              <a:gd name="T45" fmla="*/ 104 h 375"/>
              <a:gd name="T46" fmla="*/ 132 w 369"/>
              <a:gd name="T47" fmla="*/ 100 h 375"/>
              <a:gd name="T48" fmla="*/ 135 w 369"/>
              <a:gd name="T49" fmla="*/ 92 h 375"/>
              <a:gd name="T50" fmla="*/ 130 w 369"/>
              <a:gd name="T51" fmla="*/ 88 h 375"/>
              <a:gd name="T52" fmla="*/ 124 w 369"/>
              <a:gd name="T53" fmla="*/ 66 h 375"/>
              <a:gd name="T54" fmla="*/ 123 w 369"/>
              <a:gd name="T55" fmla="*/ 53 h 375"/>
              <a:gd name="T56" fmla="*/ 117 w 369"/>
              <a:gd name="T57" fmla="*/ 40 h 375"/>
              <a:gd name="T58" fmla="*/ 134 w 369"/>
              <a:gd name="T59" fmla="*/ 29 h 375"/>
              <a:gd name="T60" fmla="*/ 152 w 369"/>
              <a:gd name="T61" fmla="*/ 25 h 375"/>
              <a:gd name="T62" fmla="*/ 163 w 369"/>
              <a:gd name="T63" fmla="*/ 17 h 375"/>
              <a:gd name="T64" fmla="*/ 179 w 369"/>
              <a:gd name="T65" fmla="*/ 11 h 375"/>
              <a:gd name="T66" fmla="*/ 209 w 369"/>
              <a:gd name="T67" fmla="*/ 7 h 375"/>
              <a:gd name="T68" fmla="*/ 237 w 369"/>
              <a:gd name="T69" fmla="*/ 5 h 375"/>
              <a:gd name="T70" fmla="*/ 246 w 369"/>
              <a:gd name="T71" fmla="*/ 8 h 375"/>
              <a:gd name="T72" fmla="*/ 262 w 369"/>
              <a:gd name="T73" fmla="*/ 0 h 375"/>
              <a:gd name="T74" fmla="*/ 280 w 369"/>
              <a:gd name="T75" fmla="*/ 0 h 375"/>
              <a:gd name="T76" fmla="*/ 287 w 369"/>
              <a:gd name="T77" fmla="*/ 5 h 375"/>
              <a:gd name="T78" fmla="*/ 299 w 369"/>
              <a:gd name="T79" fmla="*/ 3 h 375"/>
              <a:gd name="T80" fmla="*/ 296 w 369"/>
              <a:gd name="T81" fmla="*/ 14 h 375"/>
              <a:gd name="T82" fmla="*/ 299 w 369"/>
              <a:gd name="T83" fmla="*/ 34 h 375"/>
              <a:gd name="T84" fmla="*/ 295 w 369"/>
              <a:gd name="T85" fmla="*/ 51 h 375"/>
              <a:gd name="T86" fmla="*/ 285 w 369"/>
              <a:gd name="T87" fmla="*/ 62 h 375"/>
              <a:gd name="T88" fmla="*/ 287 w 369"/>
              <a:gd name="T89" fmla="*/ 78 h 375"/>
              <a:gd name="T90" fmla="*/ 302 w 369"/>
              <a:gd name="T91" fmla="*/ 90 h 375"/>
              <a:gd name="T92" fmla="*/ 302 w 369"/>
              <a:gd name="T93" fmla="*/ 95 h 375"/>
              <a:gd name="T94" fmla="*/ 313 w 369"/>
              <a:gd name="T95" fmla="*/ 104 h 375"/>
              <a:gd name="T96" fmla="*/ 321 w 369"/>
              <a:gd name="T97" fmla="*/ 141 h 375"/>
              <a:gd name="T98" fmla="*/ 327 w 369"/>
              <a:gd name="T99" fmla="*/ 159 h 375"/>
              <a:gd name="T100" fmla="*/ 329 w 369"/>
              <a:gd name="T101" fmla="*/ 169 h 375"/>
              <a:gd name="T102" fmla="*/ 326 w 369"/>
              <a:gd name="T103" fmla="*/ 186 h 375"/>
              <a:gd name="T104" fmla="*/ 327 w 369"/>
              <a:gd name="T105" fmla="*/ 195 h 375"/>
              <a:gd name="T106" fmla="*/ 325 w 369"/>
              <a:gd name="T107" fmla="*/ 207 h 375"/>
              <a:gd name="T108" fmla="*/ 327 w 369"/>
              <a:gd name="T109" fmla="*/ 220 h 375"/>
              <a:gd name="T110" fmla="*/ 320 w 369"/>
              <a:gd name="T111" fmla="*/ 228 h 375"/>
              <a:gd name="T112" fmla="*/ 331 w 369"/>
              <a:gd name="T113" fmla="*/ 244 h 375"/>
              <a:gd name="T114" fmla="*/ 332 w 369"/>
              <a:gd name="T115" fmla="*/ 252 h 375"/>
              <a:gd name="T116" fmla="*/ 339 w 369"/>
              <a:gd name="T117" fmla="*/ 264 h 375"/>
              <a:gd name="T118" fmla="*/ 347 w 369"/>
              <a:gd name="T119" fmla="*/ 260 h 375"/>
              <a:gd name="T120" fmla="*/ 361 w 369"/>
              <a:gd name="T121" fmla="*/ 270 h 375"/>
              <a:gd name="T122" fmla="*/ 369 w 369"/>
              <a:gd name="T123" fmla="*/ 28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69" h="375">
                <a:moveTo>
                  <a:pt x="369" y="283"/>
                </a:moveTo>
                <a:lnTo>
                  <a:pt x="309" y="322"/>
                </a:lnTo>
                <a:lnTo>
                  <a:pt x="257" y="363"/>
                </a:lnTo>
                <a:lnTo>
                  <a:pt x="231" y="372"/>
                </a:lnTo>
                <a:lnTo>
                  <a:pt x="211" y="375"/>
                </a:lnTo>
                <a:lnTo>
                  <a:pt x="211" y="361"/>
                </a:lnTo>
                <a:lnTo>
                  <a:pt x="203" y="358"/>
                </a:lnTo>
                <a:lnTo>
                  <a:pt x="191" y="352"/>
                </a:lnTo>
                <a:lnTo>
                  <a:pt x="187" y="342"/>
                </a:lnTo>
                <a:lnTo>
                  <a:pt x="126" y="297"/>
                </a:lnTo>
                <a:lnTo>
                  <a:pt x="66" y="252"/>
                </a:lnTo>
                <a:lnTo>
                  <a:pt x="0" y="201"/>
                </a:lnTo>
                <a:lnTo>
                  <a:pt x="1" y="197"/>
                </a:lnTo>
                <a:lnTo>
                  <a:pt x="1" y="196"/>
                </a:lnTo>
                <a:lnTo>
                  <a:pt x="1" y="171"/>
                </a:lnTo>
                <a:lnTo>
                  <a:pt x="30" y="156"/>
                </a:lnTo>
                <a:lnTo>
                  <a:pt x="48" y="153"/>
                </a:lnTo>
                <a:lnTo>
                  <a:pt x="62" y="147"/>
                </a:lnTo>
                <a:lnTo>
                  <a:pt x="69" y="137"/>
                </a:lnTo>
                <a:lnTo>
                  <a:pt x="90" y="129"/>
                </a:lnTo>
                <a:lnTo>
                  <a:pt x="91" y="113"/>
                </a:lnTo>
                <a:lnTo>
                  <a:pt x="101" y="112"/>
                </a:lnTo>
                <a:lnTo>
                  <a:pt x="109" y="104"/>
                </a:lnTo>
                <a:lnTo>
                  <a:pt x="132" y="100"/>
                </a:lnTo>
                <a:lnTo>
                  <a:pt x="135" y="92"/>
                </a:lnTo>
                <a:lnTo>
                  <a:pt x="130" y="88"/>
                </a:lnTo>
                <a:lnTo>
                  <a:pt x="124" y="66"/>
                </a:lnTo>
                <a:lnTo>
                  <a:pt x="123" y="53"/>
                </a:lnTo>
                <a:lnTo>
                  <a:pt x="117" y="40"/>
                </a:lnTo>
                <a:lnTo>
                  <a:pt x="134" y="29"/>
                </a:lnTo>
                <a:lnTo>
                  <a:pt x="152" y="25"/>
                </a:lnTo>
                <a:lnTo>
                  <a:pt x="163" y="17"/>
                </a:lnTo>
                <a:lnTo>
                  <a:pt x="179" y="11"/>
                </a:lnTo>
                <a:lnTo>
                  <a:pt x="209" y="7"/>
                </a:lnTo>
                <a:lnTo>
                  <a:pt x="237" y="5"/>
                </a:lnTo>
                <a:lnTo>
                  <a:pt x="246" y="8"/>
                </a:lnTo>
                <a:lnTo>
                  <a:pt x="262" y="0"/>
                </a:lnTo>
                <a:lnTo>
                  <a:pt x="280" y="0"/>
                </a:lnTo>
                <a:lnTo>
                  <a:pt x="287" y="5"/>
                </a:lnTo>
                <a:lnTo>
                  <a:pt x="299" y="3"/>
                </a:lnTo>
                <a:lnTo>
                  <a:pt x="296" y="14"/>
                </a:lnTo>
                <a:lnTo>
                  <a:pt x="299" y="34"/>
                </a:lnTo>
                <a:lnTo>
                  <a:pt x="295" y="51"/>
                </a:lnTo>
                <a:lnTo>
                  <a:pt x="285" y="62"/>
                </a:lnTo>
                <a:lnTo>
                  <a:pt x="287" y="78"/>
                </a:lnTo>
                <a:lnTo>
                  <a:pt x="302" y="90"/>
                </a:lnTo>
                <a:lnTo>
                  <a:pt x="302" y="95"/>
                </a:lnTo>
                <a:lnTo>
                  <a:pt x="313" y="104"/>
                </a:lnTo>
                <a:lnTo>
                  <a:pt x="321" y="141"/>
                </a:lnTo>
                <a:lnTo>
                  <a:pt x="327" y="159"/>
                </a:lnTo>
                <a:lnTo>
                  <a:pt x="329" y="169"/>
                </a:lnTo>
                <a:lnTo>
                  <a:pt x="326" y="186"/>
                </a:lnTo>
                <a:lnTo>
                  <a:pt x="327" y="195"/>
                </a:lnTo>
                <a:lnTo>
                  <a:pt x="325" y="207"/>
                </a:lnTo>
                <a:lnTo>
                  <a:pt x="327" y="220"/>
                </a:lnTo>
                <a:lnTo>
                  <a:pt x="320" y="228"/>
                </a:lnTo>
                <a:lnTo>
                  <a:pt x="331" y="244"/>
                </a:lnTo>
                <a:lnTo>
                  <a:pt x="332" y="252"/>
                </a:lnTo>
                <a:lnTo>
                  <a:pt x="339" y="264"/>
                </a:lnTo>
                <a:lnTo>
                  <a:pt x="347" y="260"/>
                </a:lnTo>
                <a:lnTo>
                  <a:pt x="361" y="270"/>
                </a:lnTo>
                <a:lnTo>
                  <a:pt x="369" y="283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87" name="Freeform 58"/>
          <p:cNvSpPr>
            <a:spLocks/>
          </p:cNvSpPr>
          <p:nvPr/>
        </p:nvSpPr>
        <p:spPr bwMode="auto">
          <a:xfrm>
            <a:off x="2417965" y="4166205"/>
            <a:ext cx="925055" cy="1000408"/>
          </a:xfrm>
          <a:custGeom>
            <a:avLst/>
            <a:gdLst>
              <a:gd name="T0" fmla="*/ 181 w 228"/>
              <a:gd name="T1" fmla="*/ 44 h 199"/>
              <a:gd name="T2" fmla="*/ 177 w 228"/>
              <a:gd name="T3" fmla="*/ 52 h 199"/>
              <a:gd name="T4" fmla="*/ 175 w 228"/>
              <a:gd name="T5" fmla="*/ 68 h 199"/>
              <a:gd name="T6" fmla="*/ 171 w 228"/>
              <a:gd name="T7" fmla="*/ 79 h 199"/>
              <a:gd name="T8" fmla="*/ 167 w 228"/>
              <a:gd name="T9" fmla="*/ 82 h 199"/>
              <a:gd name="T10" fmla="*/ 160 w 228"/>
              <a:gd name="T11" fmla="*/ 75 h 199"/>
              <a:gd name="T12" fmla="*/ 152 w 228"/>
              <a:gd name="T13" fmla="*/ 66 h 199"/>
              <a:gd name="T14" fmla="*/ 137 w 228"/>
              <a:gd name="T15" fmla="*/ 36 h 199"/>
              <a:gd name="T16" fmla="*/ 135 w 228"/>
              <a:gd name="T17" fmla="*/ 38 h 199"/>
              <a:gd name="T18" fmla="*/ 144 w 228"/>
              <a:gd name="T19" fmla="*/ 60 h 199"/>
              <a:gd name="T20" fmla="*/ 157 w 228"/>
              <a:gd name="T21" fmla="*/ 81 h 199"/>
              <a:gd name="T22" fmla="*/ 173 w 228"/>
              <a:gd name="T23" fmla="*/ 113 h 199"/>
              <a:gd name="T24" fmla="*/ 180 w 228"/>
              <a:gd name="T25" fmla="*/ 125 h 199"/>
              <a:gd name="T26" fmla="*/ 187 w 228"/>
              <a:gd name="T27" fmla="*/ 136 h 199"/>
              <a:gd name="T28" fmla="*/ 204 w 228"/>
              <a:gd name="T29" fmla="*/ 159 h 199"/>
              <a:gd name="T30" fmla="*/ 201 w 228"/>
              <a:gd name="T31" fmla="*/ 163 h 199"/>
              <a:gd name="T32" fmla="*/ 203 w 228"/>
              <a:gd name="T33" fmla="*/ 176 h 199"/>
              <a:gd name="T34" fmla="*/ 225 w 228"/>
              <a:gd name="T35" fmla="*/ 195 h 199"/>
              <a:gd name="T36" fmla="*/ 228 w 228"/>
              <a:gd name="T37" fmla="*/ 199 h 199"/>
              <a:gd name="T38" fmla="*/ 157 w 228"/>
              <a:gd name="T39" fmla="*/ 199 h 199"/>
              <a:gd name="T40" fmla="*/ 87 w 228"/>
              <a:gd name="T41" fmla="*/ 199 h 199"/>
              <a:gd name="T42" fmla="*/ 15 w 228"/>
              <a:gd name="T43" fmla="*/ 199 h 199"/>
              <a:gd name="T44" fmla="*/ 11 w 228"/>
              <a:gd name="T45" fmla="*/ 123 h 199"/>
              <a:gd name="T46" fmla="*/ 6 w 228"/>
              <a:gd name="T47" fmla="*/ 49 h 199"/>
              <a:gd name="T48" fmla="*/ 0 w 228"/>
              <a:gd name="T49" fmla="*/ 32 h 199"/>
              <a:gd name="T50" fmla="*/ 4 w 228"/>
              <a:gd name="T51" fmla="*/ 19 h 199"/>
              <a:gd name="T52" fmla="*/ 1 w 228"/>
              <a:gd name="T53" fmla="*/ 11 h 199"/>
              <a:gd name="T54" fmla="*/ 6 w 228"/>
              <a:gd name="T55" fmla="*/ 1 h 199"/>
              <a:gd name="T56" fmla="*/ 29 w 228"/>
              <a:gd name="T57" fmla="*/ 0 h 199"/>
              <a:gd name="T58" fmla="*/ 47 w 228"/>
              <a:gd name="T59" fmla="*/ 6 h 199"/>
              <a:gd name="T60" fmla="*/ 65 w 228"/>
              <a:gd name="T61" fmla="*/ 12 h 199"/>
              <a:gd name="T62" fmla="*/ 73 w 228"/>
              <a:gd name="T63" fmla="*/ 15 h 199"/>
              <a:gd name="T64" fmla="*/ 86 w 228"/>
              <a:gd name="T65" fmla="*/ 9 h 199"/>
              <a:gd name="T66" fmla="*/ 93 w 228"/>
              <a:gd name="T67" fmla="*/ 3 h 199"/>
              <a:gd name="T68" fmla="*/ 108 w 228"/>
              <a:gd name="T69" fmla="*/ 1 h 199"/>
              <a:gd name="T70" fmla="*/ 121 w 228"/>
              <a:gd name="T71" fmla="*/ 4 h 199"/>
              <a:gd name="T72" fmla="*/ 126 w 228"/>
              <a:gd name="T73" fmla="*/ 14 h 199"/>
              <a:gd name="T74" fmla="*/ 130 w 228"/>
              <a:gd name="T75" fmla="*/ 7 h 199"/>
              <a:gd name="T76" fmla="*/ 144 w 228"/>
              <a:gd name="T77" fmla="*/ 12 h 199"/>
              <a:gd name="T78" fmla="*/ 158 w 228"/>
              <a:gd name="T79" fmla="*/ 13 h 199"/>
              <a:gd name="T80" fmla="*/ 166 w 228"/>
              <a:gd name="T81" fmla="*/ 8 h 199"/>
              <a:gd name="T82" fmla="*/ 181 w 228"/>
              <a:gd name="T83" fmla="*/ 44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228" h="199">
                <a:moveTo>
                  <a:pt x="181" y="44"/>
                </a:moveTo>
                <a:lnTo>
                  <a:pt x="177" y="52"/>
                </a:lnTo>
                <a:lnTo>
                  <a:pt x="175" y="68"/>
                </a:lnTo>
                <a:lnTo>
                  <a:pt x="171" y="79"/>
                </a:lnTo>
                <a:lnTo>
                  <a:pt x="167" y="82"/>
                </a:lnTo>
                <a:lnTo>
                  <a:pt x="160" y="75"/>
                </a:lnTo>
                <a:lnTo>
                  <a:pt x="152" y="66"/>
                </a:lnTo>
                <a:lnTo>
                  <a:pt x="137" y="36"/>
                </a:lnTo>
                <a:lnTo>
                  <a:pt x="135" y="38"/>
                </a:lnTo>
                <a:lnTo>
                  <a:pt x="144" y="60"/>
                </a:lnTo>
                <a:lnTo>
                  <a:pt x="157" y="81"/>
                </a:lnTo>
                <a:lnTo>
                  <a:pt x="173" y="113"/>
                </a:lnTo>
                <a:lnTo>
                  <a:pt x="180" y="125"/>
                </a:lnTo>
                <a:lnTo>
                  <a:pt x="187" y="136"/>
                </a:lnTo>
                <a:lnTo>
                  <a:pt x="204" y="159"/>
                </a:lnTo>
                <a:lnTo>
                  <a:pt x="201" y="163"/>
                </a:lnTo>
                <a:lnTo>
                  <a:pt x="203" y="176"/>
                </a:lnTo>
                <a:lnTo>
                  <a:pt x="225" y="195"/>
                </a:lnTo>
                <a:lnTo>
                  <a:pt x="228" y="199"/>
                </a:lnTo>
                <a:lnTo>
                  <a:pt x="157" y="199"/>
                </a:lnTo>
                <a:lnTo>
                  <a:pt x="87" y="199"/>
                </a:lnTo>
                <a:lnTo>
                  <a:pt x="15" y="199"/>
                </a:lnTo>
                <a:lnTo>
                  <a:pt x="11" y="123"/>
                </a:lnTo>
                <a:lnTo>
                  <a:pt x="6" y="49"/>
                </a:lnTo>
                <a:lnTo>
                  <a:pt x="0" y="32"/>
                </a:lnTo>
                <a:lnTo>
                  <a:pt x="4" y="19"/>
                </a:lnTo>
                <a:lnTo>
                  <a:pt x="1" y="11"/>
                </a:lnTo>
                <a:lnTo>
                  <a:pt x="6" y="1"/>
                </a:lnTo>
                <a:lnTo>
                  <a:pt x="29" y="0"/>
                </a:lnTo>
                <a:lnTo>
                  <a:pt x="47" y="6"/>
                </a:lnTo>
                <a:lnTo>
                  <a:pt x="65" y="12"/>
                </a:lnTo>
                <a:lnTo>
                  <a:pt x="73" y="15"/>
                </a:lnTo>
                <a:lnTo>
                  <a:pt x="86" y="9"/>
                </a:lnTo>
                <a:lnTo>
                  <a:pt x="93" y="3"/>
                </a:lnTo>
                <a:lnTo>
                  <a:pt x="108" y="1"/>
                </a:lnTo>
                <a:lnTo>
                  <a:pt x="121" y="4"/>
                </a:lnTo>
                <a:lnTo>
                  <a:pt x="126" y="14"/>
                </a:lnTo>
                <a:lnTo>
                  <a:pt x="130" y="7"/>
                </a:lnTo>
                <a:lnTo>
                  <a:pt x="144" y="12"/>
                </a:lnTo>
                <a:lnTo>
                  <a:pt x="158" y="13"/>
                </a:lnTo>
                <a:lnTo>
                  <a:pt x="166" y="8"/>
                </a:lnTo>
                <a:lnTo>
                  <a:pt x="181" y="44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88" name="Freeform 59"/>
          <p:cNvSpPr>
            <a:spLocks/>
          </p:cNvSpPr>
          <p:nvPr/>
        </p:nvSpPr>
        <p:spPr bwMode="auto">
          <a:xfrm>
            <a:off x="3334905" y="5588892"/>
            <a:ext cx="507158" cy="578125"/>
          </a:xfrm>
          <a:custGeom>
            <a:avLst/>
            <a:gdLst>
              <a:gd name="T0" fmla="*/ 112 w 125"/>
              <a:gd name="T1" fmla="*/ 113 h 115"/>
              <a:gd name="T2" fmla="*/ 106 w 125"/>
              <a:gd name="T3" fmla="*/ 106 h 115"/>
              <a:gd name="T4" fmla="*/ 98 w 125"/>
              <a:gd name="T5" fmla="*/ 94 h 115"/>
              <a:gd name="T6" fmla="*/ 89 w 125"/>
              <a:gd name="T7" fmla="*/ 87 h 115"/>
              <a:gd name="T8" fmla="*/ 84 w 125"/>
              <a:gd name="T9" fmla="*/ 80 h 115"/>
              <a:gd name="T10" fmla="*/ 68 w 125"/>
              <a:gd name="T11" fmla="*/ 72 h 115"/>
              <a:gd name="T12" fmla="*/ 56 w 125"/>
              <a:gd name="T13" fmla="*/ 71 h 115"/>
              <a:gd name="T14" fmla="*/ 51 w 125"/>
              <a:gd name="T15" fmla="*/ 67 h 115"/>
              <a:gd name="T16" fmla="*/ 41 w 125"/>
              <a:gd name="T17" fmla="*/ 72 h 115"/>
              <a:gd name="T18" fmla="*/ 29 w 125"/>
              <a:gd name="T19" fmla="*/ 63 h 115"/>
              <a:gd name="T20" fmla="*/ 24 w 125"/>
              <a:gd name="T21" fmla="*/ 78 h 115"/>
              <a:gd name="T22" fmla="*/ 3 w 125"/>
              <a:gd name="T23" fmla="*/ 74 h 115"/>
              <a:gd name="T24" fmla="*/ 0 w 125"/>
              <a:gd name="T25" fmla="*/ 65 h 115"/>
              <a:gd name="T26" fmla="*/ 7 w 125"/>
              <a:gd name="T27" fmla="*/ 35 h 115"/>
              <a:gd name="T28" fmla="*/ 8 w 125"/>
              <a:gd name="T29" fmla="*/ 21 h 115"/>
              <a:gd name="T30" fmla="*/ 13 w 125"/>
              <a:gd name="T31" fmla="*/ 15 h 115"/>
              <a:gd name="T32" fmla="*/ 27 w 125"/>
              <a:gd name="T33" fmla="*/ 11 h 115"/>
              <a:gd name="T34" fmla="*/ 35 w 125"/>
              <a:gd name="T35" fmla="*/ 0 h 115"/>
              <a:gd name="T36" fmla="*/ 47 w 125"/>
              <a:gd name="T37" fmla="*/ 23 h 115"/>
              <a:gd name="T38" fmla="*/ 53 w 125"/>
              <a:gd name="T39" fmla="*/ 43 h 115"/>
              <a:gd name="T40" fmla="*/ 63 w 125"/>
              <a:gd name="T41" fmla="*/ 53 h 115"/>
              <a:gd name="T42" fmla="*/ 89 w 125"/>
              <a:gd name="T43" fmla="*/ 72 h 115"/>
              <a:gd name="T44" fmla="*/ 100 w 125"/>
              <a:gd name="T45" fmla="*/ 84 h 115"/>
              <a:gd name="T46" fmla="*/ 110 w 125"/>
              <a:gd name="T47" fmla="*/ 96 h 115"/>
              <a:gd name="T48" fmla="*/ 116 w 125"/>
              <a:gd name="T49" fmla="*/ 103 h 115"/>
              <a:gd name="T50" fmla="*/ 125 w 125"/>
              <a:gd name="T51" fmla="*/ 110 h 115"/>
              <a:gd name="T52" fmla="*/ 120 w 125"/>
              <a:gd name="T53" fmla="*/ 115 h 115"/>
              <a:gd name="T54" fmla="*/ 112 w 125"/>
              <a:gd name="T55" fmla="*/ 113 h 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25" h="115">
                <a:moveTo>
                  <a:pt x="112" y="113"/>
                </a:moveTo>
                <a:lnTo>
                  <a:pt x="106" y="106"/>
                </a:lnTo>
                <a:lnTo>
                  <a:pt x="98" y="94"/>
                </a:lnTo>
                <a:lnTo>
                  <a:pt x="89" y="87"/>
                </a:lnTo>
                <a:lnTo>
                  <a:pt x="84" y="80"/>
                </a:lnTo>
                <a:lnTo>
                  <a:pt x="68" y="72"/>
                </a:lnTo>
                <a:lnTo>
                  <a:pt x="56" y="71"/>
                </a:lnTo>
                <a:lnTo>
                  <a:pt x="51" y="67"/>
                </a:lnTo>
                <a:lnTo>
                  <a:pt x="41" y="72"/>
                </a:lnTo>
                <a:lnTo>
                  <a:pt x="29" y="63"/>
                </a:lnTo>
                <a:lnTo>
                  <a:pt x="24" y="78"/>
                </a:lnTo>
                <a:lnTo>
                  <a:pt x="3" y="74"/>
                </a:lnTo>
                <a:lnTo>
                  <a:pt x="0" y="65"/>
                </a:lnTo>
                <a:lnTo>
                  <a:pt x="7" y="35"/>
                </a:lnTo>
                <a:lnTo>
                  <a:pt x="8" y="21"/>
                </a:lnTo>
                <a:lnTo>
                  <a:pt x="13" y="15"/>
                </a:lnTo>
                <a:lnTo>
                  <a:pt x="27" y="11"/>
                </a:lnTo>
                <a:lnTo>
                  <a:pt x="35" y="0"/>
                </a:lnTo>
                <a:lnTo>
                  <a:pt x="47" y="23"/>
                </a:lnTo>
                <a:lnTo>
                  <a:pt x="53" y="43"/>
                </a:lnTo>
                <a:lnTo>
                  <a:pt x="63" y="53"/>
                </a:lnTo>
                <a:lnTo>
                  <a:pt x="89" y="72"/>
                </a:lnTo>
                <a:lnTo>
                  <a:pt x="100" y="84"/>
                </a:lnTo>
                <a:lnTo>
                  <a:pt x="110" y="96"/>
                </a:lnTo>
                <a:lnTo>
                  <a:pt x="116" y="103"/>
                </a:lnTo>
                <a:lnTo>
                  <a:pt x="125" y="110"/>
                </a:lnTo>
                <a:lnTo>
                  <a:pt x="120" y="115"/>
                </a:lnTo>
                <a:lnTo>
                  <a:pt x="112" y="113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89" name="Freeform 60"/>
          <p:cNvSpPr>
            <a:spLocks/>
          </p:cNvSpPr>
          <p:nvPr/>
        </p:nvSpPr>
        <p:spPr bwMode="auto">
          <a:xfrm>
            <a:off x="20130" y="2904387"/>
            <a:ext cx="839854" cy="809374"/>
          </a:xfrm>
          <a:custGeom>
            <a:avLst/>
            <a:gdLst>
              <a:gd name="T0" fmla="*/ 5 w 207"/>
              <a:gd name="T1" fmla="*/ 39 h 161"/>
              <a:gd name="T2" fmla="*/ 6 w 207"/>
              <a:gd name="T3" fmla="*/ 24 h 161"/>
              <a:gd name="T4" fmla="*/ 0 w 207"/>
              <a:gd name="T5" fmla="*/ 15 h 161"/>
              <a:gd name="T6" fmla="*/ 24 w 207"/>
              <a:gd name="T7" fmla="*/ 0 h 161"/>
              <a:gd name="T8" fmla="*/ 44 w 207"/>
              <a:gd name="T9" fmla="*/ 4 h 161"/>
              <a:gd name="T10" fmla="*/ 66 w 207"/>
              <a:gd name="T11" fmla="*/ 4 h 161"/>
              <a:gd name="T12" fmla="*/ 84 w 207"/>
              <a:gd name="T13" fmla="*/ 7 h 161"/>
              <a:gd name="T14" fmla="*/ 98 w 207"/>
              <a:gd name="T15" fmla="*/ 6 h 161"/>
              <a:gd name="T16" fmla="*/ 125 w 207"/>
              <a:gd name="T17" fmla="*/ 7 h 161"/>
              <a:gd name="T18" fmla="*/ 131 w 207"/>
              <a:gd name="T19" fmla="*/ 15 h 161"/>
              <a:gd name="T20" fmla="*/ 162 w 207"/>
              <a:gd name="T21" fmla="*/ 24 h 161"/>
              <a:gd name="T22" fmla="*/ 168 w 207"/>
              <a:gd name="T23" fmla="*/ 20 h 161"/>
              <a:gd name="T24" fmla="*/ 187 w 207"/>
              <a:gd name="T25" fmla="*/ 29 h 161"/>
              <a:gd name="T26" fmla="*/ 206 w 207"/>
              <a:gd name="T27" fmla="*/ 27 h 161"/>
              <a:gd name="T28" fmla="*/ 207 w 207"/>
              <a:gd name="T29" fmla="*/ 38 h 161"/>
              <a:gd name="T30" fmla="*/ 191 w 207"/>
              <a:gd name="T31" fmla="*/ 52 h 161"/>
              <a:gd name="T32" fmla="*/ 170 w 207"/>
              <a:gd name="T33" fmla="*/ 57 h 161"/>
              <a:gd name="T34" fmla="*/ 169 w 207"/>
              <a:gd name="T35" fmla="*/ 63 h 161"/>
              <a:gd name="T36" fmla="*/ 158 w 207"/>
              <a:gd name="T37" fmla="*/ 75 h 161"/>
              <a:gd name="T38" fmla="*/ 152 w 207"/>
              <a:gd name="T39" fmla="*/ 92 h 161"/>
              <a:gd name="T40" fmla="*/ 158 w 207"/>
              <a:gd name="T41" fmla="*/ 103 h 161"/>
              <a:gd name="T42" fmla="*/ 148 w 207"/>
              <a:gd name="T43" fmla="*/ 113 h 161"/>
              <a:gd name="T44" fmla="*/ 145 w 207"/>
              <a:gd name="T45" fmla="*/ 126 h 161"/>
              <a:gd name="T46" fmla="*/ 132 w 207"/>
              <a:gd name="T47" fmla="*/ 130 h 161"/>
              <a:gd name="T48" fmla="*/ 119 w 207"/>
              <a:gd name="T49" fmla="*/ 146 h 161"/>
              <a:gd name="T50" fmla="*/ 98 w 207"/>
              <a:gd name="T51" fmla="*/ 146 h 161"/>
              <a:gd name="T52" fmla="*/ 81 w 207"/>
              <a:gd name="T53" fmla="*/ 146 h 161"/>
              <a:gd name="T54" fmla="*/ 70 w 207"/>
              <a:gd name="T55" fmla="*/ 153 h 161"/>
              <a:gd name="T56" fmla="*/ 64 w 207"/>
              <a:gd name="T57" fmla="*/ 161 h 161"/>
              <a:gd name="T58" fmla="*/ 55 w 207"/>
              <a:gd name="T59" fmla="*/ 159 h 161"/>
              <a:gd name="T60" fmla="*/ 49 w 207"/>
              <a:gd name="T61" fmla="*/ 152 h 161"/>
              <a:gd name="T62" fmla="*/ 44 w 207"/>
              <a:gd name="T63" fmla="*/ 140 h 161"/>
              <a:gd name="T64" fmla="*/ 29 w 207"/>
              <a:gd name="T65" fmla="*/ 137 h 161"/>
              <a:gd name="T66" fmla="*/ 27 w 207"/>
              <a:gd name="T67" fmla="*/ 130 h 161"/>
              <a:gd name="T68" fmla="*/ 34 w 207"/>
              <a:gd name="T69" fmla="*/ 123 h 161"/>
              <a:gd name="T70" fmla="*/ 36 w 207"/>
              <a:gd name="T71" fmla="*/ 117 h 161"/>
              <a:gd name="T72" fmla="*/ 31 w 207"/>
              <a:gd name="T73" fmla="*/ 111 h 161"/>
              <a:gd name="T74" fmla="*/ 36 w 207"/>
              <a:gd name="T75" fmla="*/ 98 h 161"/>
              <a:gd name="T76" fmla="*/ 29 w 207"/>
              <a:gd name="T77" fmla="*/ 85 h 161"/>
              <a:gd name="T78" fmla="*/ 37 w 207"/>
              <a:gd name="T79" fmla="*/ 83 h 161"/>
              <a:gd name="T80" fmla="*/ 37 w 207"/>
              <a:gd name="T81" fmla="*/ 74 h 161"/>
              <a:gd name="T82" fmla="*/ 40 w 207"/>
              <a:gd name="T83" fmla="*/ 71 h 161"/>
              <a:gd name="T84" fmla="*/ 41 w 207"/>
              <a:gd name="T85" fmla="*/ 55 h 161"/>
              <a:gd name="T86" fmla="*/ 49 w 207"/>
              <a:gd name="T87" fmla="*/ 49 h 161"/>
              <a:gd name="T88" fmla="*/ 44 w 207"/>
              <a:gd name="T89" fmla="*/ 39 h 161"/>
              <a:gd name="T90" fmla="*/ 35 w 207"/>
              <a:gd name="T91" fmla="*/ 38 h 161"/>
              <a:gd name="T92" fmla="*/ 32 w 207"/>
              <a:gd name="T93" fmla="*/ 40 h 161"/>
              <a:gd name="T94" fmla="*/ 22 w 207"/>
              <a:gd name="T95" fmla="*/ 40 h 161"/>
              <a:gd name="T96" fmla="*/ 18 w 207"/>
              <a:gd name="T97" fmla="*/ 30 h 161"/>
              <a:gd name="T98" fmla="*/ 11 w 207"/>
              <a:gd name="T99" fmla="*/ 33 h 161"/>
              <a:gd name="T100" fmla="*/ 5 w 207"/>
              <a:gd name="T101" fmla="*/ 39 h 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07" h="161">
                <a:moveTo>
                  <a:pt x="5" y="39"/>
                </a:moveTo>
                <a:lnTo>
                  <a:pt x="6" y="24"/>
                </a:lnTo>
                <a:lnTo>
                  <a:pt x="0" y="15"/>
                </a:lnTo>
                <a:lnTo>
                  <a:pt x="24" y="0"/>
                </a:lnTo>
                <a:lnTo>
                  <a:pt x="44" y="4"/>
                </a:lnTo>
                <a:lnTo>
                  <a:pt x="66" y="4"/>
                </a:lnTo>
                <a:lnTo>
                  <a:pt x="84" y="7"/>
                </a:lnTo>
                <a:lnTo>
                  <a:pt x="98" y="6"/>
                </a:lnTo>
                <a:lnTo>
                  <a:pt x="125" y="7"/>
                </a:lnTo>
                <a:lnTo>
                  <a:pt x="131" y="15"/>
                </a:lnTo>
                <a:lnTo>
                  <a:pt x="162" y="24"/>
                </a:lnTo>
                <a:lnTo>
                  <a:pt x="168" y="20"/>
                </a:lnTo>
                <a:lnTo>
                  <a:pt x="187" y="29"/>
                </a:lnTo>
                <a:lnTo>
                  <a:pt x="206" y="27"/>
                </a:lnTo>
                <a:lnTo>
                  <a:pt x="207" y="38"/>
                </a:lnTo>
                <a:lnTo>
                  <a:pt x="191" y="52"/>
                </a:lnTo>
                <a:lnTo>
                  <a:pt x="170" y="57"/>
                </a:lnTo>
                <a:lnTo>
                  <a:pt x="169" y="63"/>
                </a:lnTo>
                <a:lnTo>
                  <a:pt x="158" y="75"/>
                </a:lnTo>
                <a:lnTo>
                  <a:pt x="152" y="92"/>
                </a:lnTo>
                <a:lnTo>
                  <a:pt x="158" y="103"/>
                </a:lnTo>
                <a:lnTo>
                  <a:pt x="148" y="113"/>
                </a:lnTo>
                <a:lnTo>
                  <a:pt x="145" y="126"/>
                </a:lnTo>
                <a:lnTo>
                  <a:pt x="132" y="130"/>
                </a:lnTo>
                <a:lnTo>
                  <a:pt x="119" y="146"/>
                </a:lnTo>
                <a:lnTo>
                  <a:pt x="98" y="146"/>
                </a:lnTo>
                <a:lnTo>
                  <a:pt x="81" y="146"/>
                </a:lnTo>
                <a:lnTo>
                  <a:pt x="70" y="153"/>
                </a:lnTo>
                <a:lnTo>
                  <a:pt x="64" y="161"/>
                </a:lnTo>
                <a:lnTo>
                  <a:pt x="55" y="159"/>
                </a:lnTo>
                <a:lnTo>
                  <a:pt x="49" y="152"/>
                </a:lnTo>
                <a:lnTo>
                  <a:pt x="44" y="140"/>
                </a:lnTo>
                <a:lnTo>
                  <a:pt x="29" y="137"/>
                </a:lnTo>
                <a:lnTo>
                  <a:pt x="27" y="130"/>
                </a:lnTo>
                <a:lnTo>
                  <a:pt x="34" y="123"/>
                </a:lnTo>
                <a:lnTo>
                  <a:pt x="36" y="117"/>
                </a:lnTo>
                <a:lnTo>
                  <a:pt x="31" y="111"/>
                </a:lnTo>
                <a:lnTo>
                  <a:pt x="36" y="98"/>
                </a:lnTo>
                <a:lnTo>
                  <a:pt x="29" y="85"/>
                </a:lnTo>
                <a:lnTo>
                  <a:pt x="37" y="83"/>
                </a:lnTo>
                <a:lnTo>
                  <a:pt x="37" y="74"/>
                </a:lnTo>
                <a:lnTo>
                  <a:pt x="40" y="71"/>
                </a:lnTo>
                <a:lnTo>
                  <a:pt x="41" y="55"/>
                </a:lnTo>
                <a:lnTo>
                  <a:pt x="49" y="49"/>
                </a:lnTo>
                <a:lnTo>
                  <a:pt x="44" y="39"/>
                </a:lnTo>
                <a:lnTo>
                  <a:pt x="35" y="38"/>
                </a:lnTo>
                <a:lnTo>
                  <a:pt x="32" y="40"/>
                </a:lnTo>
                <a:lnTo>
                  <a:pt x="22" y="40"/>
                </a:lnTo>
                <a:lnTo>
                  <a:pt x="18" y="30"/>
                </a:lnTo>
                <a:lnTo>
                  <a:pt x="11" y="33"/>
                </a:lnTo>
                <a:lnTo>
                  <a:pt x="5" y="39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90" name="Freeform 61"/>
          <p:cNvSpPr>
            <a:spLocks/>
          </p:cNvSpPr>
          <p:nvPr/>
        </p:nvSpPr>
        <p:spPr bwMode="auto">
          <a:xfrm>
            <a:off x="2056872" y="1305746"/>
            <a:ext cx="288066" cy="211140"/>
          </a:xfrm>
          <a:custGeom>
            <a:avLst/>
            <a:gdLst>
              <a:gd name="T0" fmla="*/ 19 w 71"/>
              <a:gd name="T1" fmla="*/ 36 h 42"/>
              <a:gd name="T2" fmla="*/ 19 w 71"/>
              <a:gd name="T3" fmla="*/ 24 h 42"/>
              <a:gd name="T4" fmla="*/ 14 w 71"/>
              <a:gd name="T5" fmla="*/ 27 h 42"/>
              <a:gd name="T6" fmla="*/ 3 w 71"/>
              <a:gd name="T7" fmla="*/ 20 h 42"/>
              <a:gd name="T8" fmla="*/ 0 w 71"/>
              <a:gd name="T9" fmla="*/ 9 h 42"/>
              <a:gd name="T10" fmla="*/ 18 w 71"/>
              <a:gd name="T11" fmla="*/ 3 h 42"/>
              <a:gd name="T12" fmla="*/ 36 w 71"/>
              <a:gd name="T13" fmla="*/ 0 h 42"/>
              <a:gd name="T14" fmla="*/ 53 w 71"/>
              <a:gd name="T15" fmla="*/ 4 h 42"/>
              <a:gd name="T16" fmla="*/ 68 w 71"/>
              <a:gd name="T17" fmla="*/ 3 h 42"/>
              <a:gd name="T18" fmla="*/ 71 w 71"/>
              <a:gd name="T19" fmla="*/ 7 h 42"/>
              <a:gd name="T20" fmla="*/ 62 w 71"/>
              <a:gd name="T21" fmla="*/ 18 h 42"/>
              <a:gd name="T22" fmla="*/ 70 w 71"/>
              <a:gd name="T23" fmla="*/ 36 h 42"/>
              <a:gd name="T24" fmla="*/ 65 w 71"/>
              <a:gd name="T25" fmla="*/ 42 h 42"/>
              <a:gd name="T26" fmla="*/ 53 w 71"/>
              <a:gd name="T27" fmla="*/ 42 h 42"/>
              <a:gd name="T28" fmla="*/ 38 w 71"/>
              <a:gd name="T29" fmla="*/ 35 h 42"/>
              <a:gd name="T30" fmla="*/ 31 w 71"/>
              <a:gd name="T31" fmla="*/ 32 h 42"/>
              <a:gd name="T32" fmla="*/ 19 w 71"/>
              <a:gd name="T33" fmla="*/ 36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71" h="42">
                <a:moveTo>
                  <a:pt x="19" y="36"/>
                </a:moveTo>
                <a:lnTo>
                  <a:pt x="19" y="24"/>
                </a:lnTo>
                <a:lnTo>
                  <a:pt x="14" y="27"/>
                </a:lnTo>
                <a:lnTo>
                  <a:pt x="3" y="20"/>
                </a:lnTo>
                <a:lnTo>
                  <a:pt x="0" y="9"/>
                </a:lnTo>
                <a:lnTo>
                  <a:pt x="18" y="3"/>
                </a:lnTo>
                <a:lnTo>
                  <a:pt x="36" y="0"/>
                </a:lnTo>
                <a:lnTo>
                  <a:pt x="53" y="4"/>
                </a:lnTo>
                <a:lnTo>
                  <a:pt x="68" y="3"/>
                </a:lnTo>
                <a:lnTo>
                  <a:pt x="71" y="7"/>
                </a:lnTo>
                <a:lnTo>
                  <a:pt x="62" y="18"/>
                </a:lnTo>
                <a:lnTo>
                  <a:pt x="70" y="36"/>
                </a:lnTo>
                <a:lnTo>
                  <a:pt x="65" y="42"/>
                </a:lnTo>
                <a:lnTo>
                  <a:pt x="53" y="42"/>
                </a:lnTo>
                <a:lnTo>
                  <a:pt x="38" y="35"/>
                </a:lnTo>
                <a:lnTo>
                  <a:pt x="31" y="32"/>
                </a:lnTo>
                <a:lnTo>
                  <a:pt x="19" y="36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91" name="Freeform 63"/>
          <p:cNvSpPr>
            <a:spLocks/>
          </p:cNvSpPr>
          <p:nvPr/>
        </p:nvSpPr>
        <p:spPr bwMode="auto">
          <a:xfrm>
            <a:off x="1768806" y="335505"/>
            <a:ext cx="714077" cy="950135"/>
          </a:xfrm>
          <a:custGeom>
            <a:avLst/>
            <a:gdLst>
              <a:gd name="T0" fmla="*/ 106 w 176"/>
              <a:gd name="T1" fmla="*/ 19 h 189"/>
              <a:gd name="T2" fmla="*/ 107 w 176"/>
              <a:gd name="T3" fmla="*/ 31 h 189"/>
              <a:gd name="T4" fmla="*/ 131 w 176"/>
              <a:gd name="T5" fmla="*/ 43 h 189"/>
              <a:gd name="T6" fmla="*/ 122 w 176"/>
              <a:gd name="T7" fmla="*/ 56 h 189"/>
              <a:gd name="T8" fmla="*/ 144 w 176"/>
              <a:gd name="T9" fmla="*/ 77 h 189"/>
              <a:gd name="T10" fmla="*/ 138 w 176"/>
              <a:gd name="T11" fmla="*/ 93 h 189"/>
              <a:gd name="T12" fmla="*/ 154 w 176"/>
              <a:gd name="T13" fmla="*/ 106 h 189"/>
              <a:gd name="T14" fmla="*/ 151 w 176"/>
              <a:gd name="T15" fmla="*/ 119 h 189"/>
              <a:gd name="T16" fmla="*/ 176 w 176"/>
              <a:gd name="T17" fmla="*/ 132 h 189"/>
              <a:gd name="T18" fmla="*/ 173 w 176"/>
              <a:gd name="T19" fmla="*/ 141 h 189"/>
              <a:gd name="T20" fmla="*/ 162 w 176"/>
              <a:gd name="T21" fmla="*/ 152 h 189"/>
              <a:gd name="T22" fmla="*/ 136 w 176"/>
              <a:gd name="T23" fmla="*/ 176 h 189"/>
              <a:gd name="T24" fmla="*/ 110 w 176"/>
              <a:gd name="T25" fmla="*/ 178 h 189"/>
              <a:gd name="T26" fmla="*/ 85 w 176"/>
              <a:gd name="T27" fmla="*/ 185 h 189"/>
              <a:gd name="T28" fmla="*/ 62 w 176"/>
              <a:gd name="T29" fmla="*/ 189 h 189"/>
              <a:gd name="T30" fmla="*/ 52 w 176"/>
              <a:gd name="T31" fmla="*/ 179 h 189"/>
              <a:gd name="T32" fmla="*/ 37 w 176"/>
              <a:gd name="T33" fmla="*/ 172 h 189"/>
              <a:gd name="T34" fmla="*/ 37 w 176"/>
              <a:gd name="T35" fmla="*/ 153 h 189"/>
              <a:gd name="T36" fmla="*/ 27 w 176"/>
              <a:gd name="T37" fmla="*/ 136 h 189"/>
              <a:gd name="T38" fmla="*/ 32 w 176"/>
              <a:gd name="T39" fmla="*/ 125 h 189"/>
              <a:gd name="T40" fmla="*/ 43 w 176"/>
              <a:gd name="T41" fmla="*/ 114 h 189"/>
              <a:gd name="T42" fmla="*/ 71 w 176"/>
              <a:gd name="T43" fmla="*/ 93 h 189"/>
              <a:gd name="T44" fmla="*/ 80 w 176"/>
              <a:gd name="T45" fmla="*/ 90 h 189"/>
              <a:gd name="T46" fmla="*/ 76 w 176"/>
              <a:gd name="T47" fmla="*/ 82 h 189"/>
              <a:gd name="T48" fmla="*/ 55 w 176"/>
              <a:gd name="T49" fmla="*/ 73 h 189"/>
              <a:gd name="T50" fmla="*/ 49 w 176"/>
              <a:gd name="T51" fmla="*/ 66 h 189"/>
              <a:gd name="T52" fmla="*/ 43 w 176"/>
              <a:gd name="T53" fmla="*/ 39 h 189"/>
              <a:gd name="T54" fmla="*/ 20 w 176"/>
              <a:gd name="T55" fmla="*/ 27 h 189"/>
              <a:gd name="T56" fmla="*/ 0 w 176"/>
              <a:gd name="T57" fmla="*/ 18 h 189"/>
              <a:gd name="T58" fmla="*/ 7 w 176"/>
              <a:gd name="T59" fmla="*/ 13 h 189"/>
              <a:gd name="T60" fmla="*/ 24 w 176"/>
              <a:gd name="T61" fmla="*/ 22 h 189"/>
              <a:gd name="T62" fmla="*/ 41 w 176"/>
              <a:gd name="T63" fmla="*/ 22 h 189"/>
              <a:gd name="T64" fmla="*/ 56 w 176"/>
              <a:gd name="T65" fmla="*/ 26 h 189"/>
              <a:gd name="T66" fmla="*/ 67 w 176"/>
              <a:gd name="T67" fmla="*/ 18 h 189"/>
              <a:gd name="T68" fmla="*/ 71 w 176"/>
              <a:gd name="T69" fmla="*/ 5 h 189"/>
              <a:gd name="T70" fmla="*/ 90 w 176"/>
              <a:gd name="T71" fmla="*/ 0 h 189"/>
              <a:gd name="T72" fmla="*/ 108 w 176"/>
              <a:gd name="T73" fmla="*/ 6 h 189"/>
              <a:gd name="T74" fmla="*/ 106 w 176"/>
              <a:gd name="T75" fmla="*/ 19 h 1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76" h="189">
                <a:moveTo>
                  <a:pt x="106" y="19"/>
                </a:moveTo>
                <a:lnTo>
                  <a:pt x="107" y="31"/>
                </a:lnTo>
                <a:lnTo>
                  <a:pt x="131" y="43"/>
                </a:lnTo>
                <a:lnTo>
                  <a:pt x="122" y="56"/>
                </a:lnTo>
                <a:lnTo>
                  <a:pt x="144" y="77"/>
                </a:lnTo>
                <a:lnTo>
                  <a:pt x="138" y="93"/>
                </a:lnTo>
                <a:lnTo>
                  <a:pt x="154" y="106"/>
                </a:lnTo>
                <a:lnTo>
                  <a:pt x="151" y="119"/>
                </a:lnTo>
                <a:lnTo>
                  <a:pt x="176" y="132"/>
                </a:lnTo>
                <a:lnTo>
                  <a:pt x="173" y="141"/>
                </a:lnTo>
                <a:lnTo>
                  <a:pt x="162" y="152"/>
                </a:lnTo>
                <a:lnTo>
                  <a:pt x="136" y="176"/>
                </a:lnTo>
                <a:lnTo>
                  <a:pt x="110" y="178"/>
                </a:lnTo>
                <a:lnTo>
                  <a:pt x="85" y="185"/>
                </a:lnTo>
                <a:lnTo>
                  <a:pt x="62" y="189"/>
                </a:lnTo>
                <a:lnTo>
                  <a:pt x="52" y="179"/>
                </a:lnTo>
                <a:lnTo>
                  <a:pt x="37" y="172"/>
                </a:lnTo>
                <a:lnTo>
                  <a:pt x="37" y="153"/>
                </a:lnTo>
                <a:lnTo>
                  <a:pt x="27" y="136"/>
                </a:lnTo>
                <a:lnTo>
                  <a:pt x="32" y="125"/>
                </a:lnTo>
                <a:lnTo>
                  <a:pt x="43" y="114"/>
                </a:lnTo>
                <a:lnTo>
                  <a:pt x="71" y="93"/>
                </a:lnTo>
                <a:lnTo>
                  <a:pt x="80" y="90"/>
                </a:lnTo>
                <a:lnTo>
                  <a:pt x="76" y="82"/>
                </a:lnTo>
                <a:lnTo>
                  <a:pt x="55" y="73"/>
                </a:lnTo>
                <a:lnTo>
                  <a:pt x="49" y="66"/>
                </a:lnTo>
                <a:lnTo>
                  <a:pt x="43" y="39"/>
                </a:lnTo>
                <a:lnTo>
                  <a:pt x="20" y="27"/>
                </a:lnTo>
                <a:lnTo>
                  <a:pt x="0" y="18"/>
                </a:lnTo>
                <a:lnTo>
                  <a:pt x="7" y="13"/>
                </a:lnTo>
                <a:lnTo>
                  <a:pt x="24" y="22"/>
                </a:lnTo>
                <a:lnTo>
                  <a:pt x="41" y="22"/>
                </a:lnTo>
                <a:lnTo>
                  <a:pt x="56" y="26"/>
                </a:lnTo>
                <a:lnTo>
                  <a:pt x="67" y="18"/>
                </a:lnTo>
                <a:lnTo>
                  <a:pt x="71" y="5"/>
                </a:lnTo>
                <a:lnTo>
                  <a:pt x="90" y="0"/>
                </a:lnTo>
                <a:lnTo>
                  <a:pt x="108" y="6"/>
                </a:lnTo>
                <a:lnTo>
                  <a:pt x="106" y="19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92" name="Freeform 66"/>
          <p:cNvSpPr>
            <a:spLocks/>
          </p:cNvSpPr>
          <p:nvPr/>
        </p:nvSpPr>
        <p:spPr bwMode="auto">
          <a:xfrm>
            <a:off x="1233247" y="2984821"/>
            <a:ext cx="68974" cy="165900"/>
          </a:xfrm>
          <a:custGeom>
            <a:avLst/>
            <a:gdLst>
              <a:gd name="T0" fmla="*/ 17 w 17"/>
              <a:gd name="T1" fmla="*/ 17 h 33"/>
              <a:gd name="T2" fmla="*/ 13 w 17"/>
              <a:gd name="T3" fmla="*/ 33 h 33"/>
              <a:gd name="T4" fmla="*/ 5 w 17"/>
              <a:gd name="T5" fmla="*/ 29 h 33"/>
              <a:gd name="T6" fmla="*/ 0 w 17"/>
              <a:gd name="T7" fmla="*/ 15 h 33"/>
              <a:gd name="T8" fmla="*/ 3 w 17"/>
              <a:gd name="T9" fmla="*/ 7 h 33"/>
              <a:gd name="T10" fmla="*/ 14 w 17"/>
              <a:gd name="T11" fmla="*/ 0 h 33"/>
              <a:gd name="T12" fmla="*/ 17 w 17"/>
              <a:gd name="T13" fmla="*/ 17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" h="33">
                <a:moveTo>
                  <a:pt x="17" y="17"/>
                </a:moveTo>
                <a:lnTo>
                  <a:pt x="13" y="33"/>
                </a:lnTo>
                <a:lnTo>
                  <a:pt x="5" y="29"/>
                </a:lnTo>
                <a:lnTo>
                  <a:pt x="0" y="15"/>
                </a:lnTo>
                <a:lnTo>
                  <a:pt x="3" y="7"/>
                </a:lnTo>
                <a:lnTo>
                  <a:pt x="14" y="0"/>
                </a:lnTo>
                <a:lnTo>
                  <a:pt x="17" y="17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93" name="Freeform 67"/>
          <p:cNvSpPr>
            <a:spLocks/>
          </p:cNvSpPr>
          <p:nvPr/>
        </p:nvSpPr>
        <p:spPr bwMode="auto">
          <a:xfrm>
            <a:off x="352825" y="2150312"/>
            <a:ext cx="827681" cy="899865"/>
          </a:xfrm>
          <a:custGeom>
            <a:avLst/>
            <a:gdLst>
              <a:gd name="T0" fmla="*/ 131 w 204"/>
              <a:gd name="T1" fmla="*/ 15 h 179"/>
              <a:gd name="T2" fmla="*/ 143 w 204"/>
              <a:gd name="T3" fmla="*/ 25 h 179"/>
              <a:gd name="T4" fmla="*/ 151 w 204"/>
              <a:gd name="T5" fmla="*/ 23 h 179"/>
              <a:gd name="T6" fmla="*/ 165 w 204"/>
              <a:gd name="T7" fmla="*/ 33 h 179"/>
              <a:gd name="T8" fmla="*/ 169 w 204"/>
              <a:gd name="T9" fmla="*/ 34 h 179"/>
              <a:gd name="T10" fmla="*/ 173 w 204"/>
              <a:gd name="T11" fmla="*/ 34 h 179"/>
              <a:gd name="T12" fmla="*/ 181 w 204"/>
              <a:gd name="T13" fmla="*/ 39 h 179"/>
              <a:gd name="T14" fmla="*/ 204 w 204"/>
              <a:gd name="T15" fmla="*/ 43 h 179"/>
              <a:gd name="T16" fmla="*/ 197 w 204"/>
              <a:gd name="T17" fmla="*/ 57 h 179"/>
              <a:gd name="T18" fmla="*/ 195 w 204"/>
              <a:gd name="T19" fmla="*/ 71 h 179"/>
              <a:gd name="T20" fmla="*/ 191 w 204"/>
              <a:gd name="T21" fmla="*/ 75 h 179"/>
              <a:gd name="T22" fmla="*/ 184 w 204"/>
              <a:gd name="T23" fmla="*/ 73 h 179"/>
              <a:gd name="T24" fmla="*/ 184 w 204"/>
              <a:gd name="T25" fmla="*/ 78 h 179"/>
              <a:gd name="T26" fmla="*/ 173 w 204"/>
              <a:gd name="T27" fmla="*/ 89 h 179"/>
              <a:gd name="T28" fmla="*/ 173 w 204"/>
              <a:gd name="T29" fmla="*/ 99 h 179"/>
              <a:gd name="T30" fmla="*/ 181 w 204"/>
              <a:gd name="T31" fmla="*/ 96 h 179"/>
              <a:gd name="T32" fmla="*/ 186 w 204"/>
              <a:gd name="T33" fmla="*/ 105 h 179"/>
              <a:gd name="T34" fmla="*/ 186 w 204"/>
              <a:gd name="T35" fmla="*/ 110 h 179"/>
              <a:gd name="T36" fmla="*/ 191 w 204"/>
              <a:gd name="T37" fmla="*/ 118 h 179"/>
              <a:gd name="T38" fmla="*/ 186 w 204"/>
              <a:gd name="T39" fmla="*/ 124 h 179"/>
              <a:gd name="T40" fmla="*/ 190 w 204"/>
              <a:gd name="T41" fmla="*/ 140 h 179"/>
              <a:gd name="T42" fmla="*/ 199 w 204"/>
              <a:gd name="T43" fmla="*/ 143 h 179"/>
              <a:gd name="T44" fmla="*/ 198 w 204"/>
              <a:gd name="T45" fmla="*/ 151 h 179"/>
              <a:gd name="T46" fmla="*/ 183 w 204"/>
              <a:gd name="T47" fmla="*/ 163 h 179"/>
              <a:gd name="T48" fmla="*/ 150 w 204"/>
              <a:gd name="T49" fmla="*/ 157 h 179"/>
              <a:gd name="T50" fmla="*/ 126 w 204"/>
              <a:gd name="T51" fmla="*/ 164 h 179"/>
              <a:gd name="T52" fmla="*/ 124 w 204"/>
              <a:gd name="T53" fmla="*/ 177 h 179"/>
              <a:gd name="T54" fmla="*/ 105 w 204"/>
              <a:gd name="T55" fmla="*/ 179 h 179"/>
              <a:gd name="T56" fmla="*/ 86 w 204"/>
              <a:gd name="T57" fmla="*/ 170 h 179"/>
              <a:gd name="T58" fmla="*/ 80 w 204"/>
              <a:gd name="T59" fmla="*/ 174 h 179"/>
              <a:gd name="T60" fmla="*/ 49 w 204"/>
              <a:gd name="T61" fmla="*/ 165 h 179"/>
              <a:gd name="T62" fmla="*/ 43 w 204"/>
              <a:gd name="T63" fmla="*/ 157 h 179"/>
              <a:gd name="T64" fmla="*/ 51 w 204"/>
              <a:gd name="T65" fmla="*/ 145 h 179"/>
              <a:gd name="T66" fmla="*/ 55 w 204"/>
              <a:gd name="T67" fmla="*/ 104 h 179"/>
              <a:gd name="T68" fmla="*/ 38 w 204"/>
              <a:gd name="T69" fmla="*/ 83 h 179"/>
              <a:gd name="T70" fmla="*/ 26 w 204"/>
              <a:gd name="T71" fmla="*/ 72 h 179"/>
              <a:gd name="T72" fmla="*/ 2 w 204"/>
              <a:gd name="T73" fmla="*/ 65 h 179"/>
              <a:gd name="T74" fmla="*/ 0 w 204"/>
              <a:gd name="T75" fmla="*/ 50 h 179"/>
              <a:gd name="T76" fmla="*/ 21 w 204"/>
              <a:gd name="T77" fmla="*/ 45 h 179"/>
              <a:gd name="T78" fmla="*/ 48 w 204"/>
              <a:gd name="T79" fmla="*/ 50 h 179"/>
              <a:gd name="T80" fmla="*/ 44 w 204"/>
              <a:gd name="T81" fmla="*/ 27 h 179"/>
              <a:gd name="T82" fmla="*/ 58 w 204"/>
              <a:gd name="T83" fmla="*/ 36 h 179"/>
              <a:gd name="T84" fmla="*/ 96 w 204"/>
              <a:gd name="T85" fmla="*/ 20 h 179"/>
              <a:gd name="T86" fmla="*/ 100 w 204"/>
              <a:gd name="T87" fmla="*/ 4 h 179"/>
              <a:gd name="T88" fmla="*/ 114 w 204"/>
              <a:gd name="T89" fmla="*/ 0 h 179"/>
              <a:gd name="T90" fmla="*/ 117 w 204"/>
              <a:gd name="T91" fmla="*/ 7 h 179"/>
              <a:gd name="T92" fmla="*/ 124 w 204"/>
              <a:gd name="T93" fmla="*/ 7 h 179"/>
              <a:gd name="T94" fmla="*/ 131 w 204"/>
              <a:gd name="T95" fmla="*/ 15 h 1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04" h="179">
                <a:moveTo>
                  <a:pt x="131" y="15"/>
                </a:moveTo>
                <a:lnTo>
                  <a:pt x="143" y="25"/>
                </a:lnTo>
                <a:lnTo>
                  <a:pt x="151" y="23"/>
                </a:lnTo>
                <a:lnTo>
                  <a:pt x="165" y="33"/>
                </a:lnTo>
                <a:lnTo>
                  <a:pt x="169" y="34"/>
                </a:lnTo>
                <a:lnTo>
                  <a:pt x="173" y="34"/>
                </a:lnTo>
                <a:lnTo>
                  <a:pt x="181" y="39"/>
                </a:lnTo>
                <a:lnTo>
                  <a:pt x="204" y="43"/>
                </a:lnTo>
                <a:lnTo>
                  <a:pt x="197" y="57"/>
                </a:lnTo>
                <a:lnTo>
                  <a:pt x="195" y="71"/>
                </a:lnTo>
                <a:lnTo>
                  <a:pt x="191" y="75"/>
                </a:lnTo>
                <a:lnTo>
                  <a:pt x="184" y="73"/>
                </a:lnTo>
                <a:lnTo>
                  <a:pt x="184" y="78"/>
                </a:lnTo>
                <a:lnTo>
                  <a:pt x="173" y="89"/>
                </a:lnTo>
                <a:lnTo>
                  <a:pt x="173" y="99"/>
                </a:lnTo>
                <a:lnTo>
                  <a:pt x="181" y="96"/>
                </a:lnTo>
                <a:lnTo>
                  <a:pt x="186" y="105"/>
                </a:lnTo>
                <a:lnTo>
                  <a:pt x="186" y="110"/>
                </a:lnTo>
                <a:lnTo>
                  <a:pt x="191" y="118"/>
                </a:lnTo>
                <a:lnTo>
                  <a:pt x="186" y="124"/>
                </a:lnTo>
                <a:lnTo>
                  <a:pt x="190" y="140"/>
                </a:lnTo>
                <a:lnTo>
                  <a:pt x="199" y="143"/>
                </a:lnTo>
                <a:lnTo>
                  <a:pt x="198" y="151"/>
                </a:lnTo>
                <a:lnTo>
                  <a:pt x="183" y="163"/>
                </a:lnTo>
                <a:lnTo>
                  <a:pt x="150" y="157"/>
                </a:lnTo>
                <a:lnTo>
                  <a:pt x="126" y="164"/>
                </a:lnTo>
                <a:lnTo>
                  <a:pt x="124" y="177"/>
                </a:lnTo>
                <a:lnTo>
                  <a:pt x="105" y="179"/>
                </a:lnTo>
                <a:lnTo>
                  <a:pt x="86" y="170"/>
                </a:lnTo>
                <a:lnTo>
                  <a:pt x="80" y="174"/>
                </a:lnTo>
                <a:lnTo>
                  <a:pt x="49" y="165"/>
                </a:lnTo>
                <a:lnTo>
                  <a:pt x="43" y="157"/>
                </a:lnTo>
                <a:lnTo>
                  <a:pt x="51" y="145"/>
                </a:lnTo>
                <a:lnTo>
                  <a:pt x="55" y="104"/>
                </a:lnTo>
                <a:lnTo>
                  <a:pt x="38" y="83"/>
                </a:lnTo>
                <a:lnTo>
                  <a:pt x="26" y="72"/>
                </a:lnTo>
                <a:lnTo>
                  <a:pt x="2" y="65"/>
                </a:lnTo>
                <a:lnTo>
                  <a:pt x="0" y="50"/>
                </a:lnTo>
                <a:lnTo>
                  <a:pt x="21" y="45"/>
                </a:lnTo>
                <a:lnTo>
                  <a:pt x="48" y="50"/>
                </a:lnTo>
                <a:lnTo>
                  <a:pt x="44" y="27"/>
                </a:lnTo>
                <a:lnTo>
                  <a:pt x="58" y="36"/>
                </a:lnTo>
                <a:lnTo>
                  <a:pt x="96" y="20"/>
                </a:lnTo>
                <a:lnTo>
                  <a:pt x="100" y="4"/>
                </a:lnTo>
                <a:lnTo>
                  <a:pt x="114" y="0"/>
                </a:lnTo>
                <a:lnTo>
                  <a:pt x="117" y="7"/>
                </a:lnTo>
                <a:lnTo>
                  <a:pt x="124" y="7"/>
                </a:lnTo>
                <a:lnTo>
                  <a:pt x="131" y="15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94" name="Freeform 69"/>
          <p:cNvSpPr>
            <a:spLocks/>
          </p:cNvSpPr>
          <p:nvPr/>
        </p:nvSpPr>
        <p:spPr bwMode="auto">
          <a:xfrm>
            <a:off x="178360" y="1743113"/>
            <a:ext cx="121718" cy="130706"/>
          </a:xfrm>
          <a:custGeom>
            <a:avLst/>
            <a:gdLst>
              <a:gd name="T0" fmla="*/ 30 w 30"/>
              <a:gd name="T1" fmla="*/ 13 h 26"/>
              <a:gd name="T2" fmla="*/ 21 w 30"/>
              <a:gd name="T3" fmla="*/ 26 h 26"/>
              <a:gd name="T4" fmla="*/ 10 w 30"/>
              <a:gd name="T5" fmla="*/ 22 h 26"/>
              <a:gd name="T6" fmla="*/ 0 w 30"/>
              <a:gd name="T7" fmla="*/ 23 h 26"/>
              <a:gd name="T8" fmla="*/ 4 w 30"/>
              <a:gd name="T9" fmla="*/ 12 h 26"/>
              <a:gd name="T10" fmla="*/ 1 w 30"/>
              <a:gd name="T11" fmla="*/ 1 h 26"/>
              <a:gd name="T12" fmla="*/ 14 w 30"/>
              <a:gd name="T13" fmla="*/ 0 h 26"/>
              <a:gd name="T14" fmla="*/ 30 w 30"/>
              <a:gd name="T15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0" h="26">
                <a:moveTo>
                  <a:pt x="30" y="13"/>
                </a:moveTo>
                <a:lnTo>
                  <a:pt x="21" y="26"/>
                </a:lnTo>
                <a:lnTo>
                  <a:pt x="10" y="22"/>
                </a:lnTo>
                <a:lnTo>
                  <a:pt x="0" y="23"/>
                </a:lnTo>
                <a:lnTo>
                  <a:pt x="4" y="12"/>
                </a:lnTo>
                <a:lnTo>
                  <a:pt x="1" y="1"/>
                </a:lnTo>
                <a:lnTo>
                  <a:pt x="14" y="0"/>
                </a:lnTo>
                <a:lnTo>
                  <a:pt x="30" y="13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95" name="Freeform 70"/>
          <p:cNvSpPr>
            <a:spLocks/>
          </p:cNvSpPr>
          <p:nvPr/>
        </p:nvSpPr>
        <p:spPr bwMode="auto">
          <a:xfrm>
            <a:off x="275737" y="1406288"/>
            <a:ext cx="486870" cy="864672"/>
          </a:xfrm>
          <a:custGeom>
            <a:avLst/>
            <a:gdLst>
              <a:gd name="T0" fmla="*/ 49 w 120"/>
              <a:gd name="T1" fmla="*/ 0 h 172"/>
              <a:gd name="T2" fmla="*/ 32 w 120"/>
              <a:gd name="T3" fmla="*/ 21 h 172"/>
              <a:gd name="T4" fmla="*/ 47 w 120"/>
              <a:gd name="T5" fmla="*/ 18 h 172"/>
              <a:gd name="T6" fmla="*/ 64 w 120"/>
              <a:gd name="T7" fmla="*/ 18 h 172"/>
              <a:gd name="T8" fmla="*/ 60 w 120"/>
              <a:gd name="T9" fmla="*/ 34 h 172"/>
              <a:gd name="T10" fmla="*/ 46 w 120"/>
              <a:gd name="T11" fmla="*/ 51 h 172"/>
              <a:gd name="T12" fmla="*/ 62 w 120"/>
              <a:gd name="T13" fmla="*/ 53 h 172"/>
              <a:gd name="T14" fmla="*/ 63 w 120"/>
              <a:gd name="T15" fmla="*/ 55 h 172"/>
              <a:gd name="T16" fmla="*/ 76 w 120"/>
              <a:gd name="T17" fmla="*/ 78 h 172"/>
              <a:gd name="T18" fmla="*/ 87 w 120"/>
              <a:gd name="T19" fmla="*/ 82 h 172"/>
              <a:gd name="T20" fmla="*/ 96 w 120"/>
              <a:gd name="T21" fmla="*/ 104 h 172"/>
              <a:gd name="T22" fmla="*/ 101 w 120"/>
              <a:gd name="T23" fmla="*/ 112 h 172"/>
              <a:gd name="T24" fmla="*/ 120 w 120"/>
              <a:gd name="T25" fmla="*/ 116 h 172"/>
              <a:gd name="T26" fmla="*/ 118 w 120"/>
              <a:gd name="T27" fmla="*/ 129 h 172"/>
              <a:gd name="T28" fmla="*/ 110 w 120"/>
              <a:gd name="T29" fmla="*/ 135 h 172"/>
              <a:gd name="T30" fmla="*/ 116 w 120"/>
              <a:gd name="T31" fmla="*/ 145 h 172"/>
              <a:gd name="T32" fmla="*/ 102 w 120"/>
              <a:gd name="T33" fmla="*/ 155 h 172"/>
              <a:gd name="T34" fmla="*/ 81 w 120"/>
              <a:gd name="T35" fmla="*/ 155 h 172"/>
              <a:gd name="T36" fmla="*/ 54 w 120"/>
              <a:gd name="T37" fmla="*/ 161 h 172"/>
              <a:gd name="T38" fmla="*/ 46 w 120"/>
              <a:gd name="T39" fmla="*/ 157 h 172"/>
              <a:gd name="T40" fmla="*/ 36 w 120"/>
              <a:gd name="T41" fmla="*/ 166 h 172"/>
              <a:gd name="T42" fmla="*/ 21 w 120"/>
              <a:gd name="T43" fmla="*/ 164 h 172"/>
              <a:gd name="T44" fmla="*/ 10 w 120"/>
              <a:gd name="T45" fmla="*/ 172 h 172"/>
              <a:gd name="T46" fmla="*/ 1 w 120"/>
              <a:gd name="T47" fmla="*/ 168 h 172"/>
              <a:gd name="T48" fmla="*/ 25 w 120"/>
              <a:gd name="T49" fmla="*/ 147 h 172"/>
              <a:gd name="T50" fmla="*/ 39 w 120"/>
              <a:gd name="T51" fmla="*/ 142 h 172"/>
              <a:gd name="T52" fmla="*/ 39 w 120"/>
              <a:gd name="T53" fmla="*/ 142 h 172"/>
              <a:gd name="T54" fmla="*/ 15 w 120"/>
              <a:gd name="T55" fmla="*/ 139 h 172"/>
              <a:gd name="T56" fmla="*/ 11 w 120"/>
              <a:gd name="T57" fmla="*/ 131 h 172"/>
              <a:gd name="T58" fmla="*/ 27 w 120"/>
              <a:gd name="T59" fmla="*/ 125 h 172"/>
              <a:gd name="T60" fmla="*/ 19 w 120"/>
              <a:gd name="T61" fmla="*/ 114 h 172"/>
              <a:gd name="T62" fmla="*/ 22 w 120"/>
              <a:gd name="T63" fmla="*/ 101 h 172"/>
              <a:gd name="T64" fmla="*/ 45 w 120"/>
              <a:gd name="T65" fmla="*/ 102 h 172"/>
              <a:gd name="T66" fmla="*/ 45 w 120"/>
              <a:gd name="T67" fmla="*/ 102 h 172"/>
              <a:gd name="T68" fmla="*/ 48 w 120"/>
              <a:gd name="T69" fmla="*/ 91 h 172"/>
              <a:gd name="T70" fmla="*/ 38 w 120"/>
              <a:gd name="T71" fmla="*/ 79 h 172"/>
              <a:gd name="T72" fmla="*/ 37 w 120"/>
              <a:gd name="T73" fmla="*/ 79 h 172"/>
              <a:gd name="T74" fmla="*/ 19 w 120"/>
              <a:gd name="T75" fmla="*/ 75 h 172"/>
              <a:gd name="T76" fmla="*/ 15 w 120"/>
              <a:gd name="T77" fmla="*/ 70 h 172"/>
              <a:gd name="T78" fmla="*/ 21 w 120"/>
              <a:gd name="T79" fmla="*/ 61 h 172"/>
              <a:gd name="T80" fmla="*/ 16 w 120"/>
              <a:gd name="T81" fmla="*/ 55 h 172"/>
              <a:gd name="T82" fmla="*/ 8 w 120"/>
              <a:gd name="T83" fmla="*/ 65 h 172"/>
              <a:gd name="T84" fmla="*/ 8 w 120"/>
              <a:gd name="T85" fmla="*/ 46 h 172"/>
              <a:gd name="T86" fmla="*/ 0 w 120"/>
              <a:gd name="T87" fmla="*/ 36 h 172"/>
              <a:gd name="T88" fmla="*/ 7 w 120"/>
              <a:gd name="T89" fmla="*/ 15 h 172"/>
              <a:gd name="T90" fmla="*/ 19 w 120"/>
              <a:gd name="T91" fmla="*/ 0 h 172"/>
              <a:gd name="T92" fmla="*/ 31 w 120"/>
              <a:gd name="T93" fmla="*/ 1 h 172"/>
              <a:gd name="T94" fmla="*/ 49 w 120"/>
              <a:gd name="T95" fmla="*/ 0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20" h="172">
                <a:moveTo>
                  <a:pt x="49" y="0"/>
                </a:moveTo>
                <a:lnTo>
                  <a:pt x="32" y="21"/>
                </a:lnTo>
                <a:lnTo>
                  <a:pt x="47" y="18"/>
                </a:lnTo>
                <a:lnTo>
                  <a:pt x="64" y="18"/>
                </a:lnTo>
                <a:lnTo>
                  <a:pt x="60" y="34"/>
                </a:lnTo>
                <a:lnTo>
                  <a:pt x="46" y="51"/>
                </a:lnTo>
                <a:lnTo>
                  <a:pt x="62" y="53"/>
                </a:lnTo>
                <a:lnTo>
                  <a:pt x="63" y="55"/>
                </a:lnTo>
                <a:lnTo>
                  <a:pt x="76" y="78"/>
                </a:lnTo>
                <a:lnTo>
                  <a:pt x="87" y="82"/>
                </a:lnTo>
                <a:lnTo>
                  <a:pt x="96" y="104"/>
                </a:lnTo>
                <a:lnTo>
                  <a:pt x="101" y="112"/>
                </a:lnTo>
                <a:lnTo>
                  <a:pt x="120" y="116"/>
                </a:lnTo>
                <a:lnTo>
                  <a:pt x="118" y="129"/>
                </a:lnTo>
                <a:lnTo>
                  <a:pt x="110" y="135"/>
                </a:lnTo>
                <a:lnTo>
                  <a:pt x="116" y="145"/>
                </a:lnTo>
                <a:lnTo>
                  <a:pt x="102" y="155"/>
                </a:lnTo>
                <a:lnTo>
                  <a:pt x="81" y="155"/>
                </a:lnTo>
                <a:lnTo>
                  <a:pt x="54" y="161"/>
                </a:lnTo>
                <a:lnTo>
                  <a:pt x="46" y="157"/>
                </a:lnTo>
                <a:lnTo>
                  <a:pt x="36" y="166"/>
                </a:lnTo>
                <a:lnTo>
                  <a:pt x="21" y="164"/>
                </a:lnTo>
                <a:lnTo>
                  <a:pt x="10" y="172"/>
                </a:lnTo>
                <a:lnTo>
                  <a:pt x="1" y="168"/>
                </a:lnTo>
                <a:lnTo>
                  <a:pt x="25" y="147"/>
                </a:lnTo>
                <a:lnTo>
                  <a:pt x="39" y="142"/>
                </a:lnTo>
                <a:lnTo>
                  <a:pt x="39" y="142"/>
                </a:lnTo>
                <a:lnTo>
                  <a:pt x="15" y="139"/>
                </a:lnTo>
                <a:lnTo>
                  <a:pt x="11" y="131"/>
                </a:lnTo>
                <a:lnTo>
                  <a:pt x="27" y="125"/>
                </a:lnTo>
                <a:lnTo>
                  <a:pt x="19" y="114"/>
                </a:lnTo>
                <a:lnTo>
                  <a:pt x="22" y="101"/>
                </a:lnTo>
                <a:lnTo>
                  <a:pt x="45" y="102"/>
                </a:lnTo>
                <a:lnTo>
                  <a:pt x="45" y="102"/>
                </a:lnTo>
                <a:lnTo>
                  <a:pt x="48" y="91"/>
                </a:lnTo>
                <a:lnTo>
                  <a:pt x="38" y="79"/>
                </a:lnTo>
                <a:lnTo>
                  <a:pt x="37" y="79"/>
                </a:lnTo>
                <a:lnTo>
                  <a:pt x="19" y="75"/>
                </a:lnTo>
                <a:lnTo>
                  <a:pt x="15" y="70"/>
                </a:lnTo>
                <a:lnTo>
                  <a:pt x="21" y="61"/>
                </a:lnTo>
                <a:lnTo>
                  <a:pt x="16" y="55"/>
                </a:lnTo>
                <a:lnTo>
                  <a:pt x="8" y="65"/>
                </a:lnTo>
                <a:lnTo>
                  <a:pt x="8" y="46"/>
                </a:lnTo>
                <a:lnTo>
                  <a:pt x="0" y="36"/>
                </a:lnTo>
                <a:lnTo>
                  <a:pt x="7" y="15"/>
                </a:lnTo>
                <a:lnTo>
                  <a:pt x="19" y="0"/>
                </a:lnTo>
                <a:lnTo>
                  <a:pt x="31" y="1"/>
                </a:lnTo>
                <a:lnTo>
                  <a:pt x="49" y="0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96" name="Freeform 71"/>
          <p:cNvSpPr>
            <a:spLocks/>
          </p:cNvSpPr>
          <p:nvPr/>
        </p:nvSpPr>
        <p:spPr bwMode="auto">
          <a:xfrm>
            <a:off x="3351134" y="2924493"/>
            <a:ext cx="486870" cy="261413"/>
          </a:xfrm>
          <a:custGeom>
            <a:avLst/>
            <a:gdLst>
              <a:gd name="T0" fmla="*/ 33 w 120"/>
              <a:gd name="T1" fmla="*/ 42 h 52"/>
              <a:gd name="T2" fmla="*/ 34 w 120"/>
              <a:gd name="T3" fmla="*/ 33 h 52"/>
              <a:gd name="T4" fmla="*/ 28 w 120"/>
              <a:gd name="T5" fmla="*/ 19 h 52"/>
              <a:gd name="T6" fmla="*/ 17 w 120"/>
              <a:gd name="T7" fmla="*/ 11 h 52"/>
              <a:gd name="T8" fmla="*/ 7 w 120"/>
              <a:gd name="T9" fmla="*/ 9 h 52"/>
              <a:gd name="T10" fmla="*/ 0 w 120"/>
              <a:gd name="T11" fmla="*/ 3 h 52"/>
              <a:gd name="T12" fmla="*/ 1 w 120"/>
              <a:gd name="T13" fmla="*/ 0 h 52"/>
              <a:gd name="T14" fmla="*/ 16 w 120"/>
              <a:gd name="T15" fmla="*/ 4 h 52"/>
              <a:gd name="T16" fmla="*/ 41 w 120"/>
              <a:gd name="T17" fmla="*/ 7 h 52"/>
              <a:gd name="T18" fmla="*/ 66 w 120"/>
              <a:gd name="T19" fmla="*/ 17 h 52"/>
              <a:gd name="T20" fmla="*/ 69 w 120"/>
              <a:gd name="T21" fmla="*/ 21 h 52"/>
              <a:gd name="T22" fmla="*/ 79 w 120"/>
              <a:gd name="T23" fmla="*/ 18 h 52"/>
              <a:gd name="T24" fmla="*/ 95 w 120"/>
              <a:gd name="T25" fmla="*/ 22 h 52"/>
              <a:gd name="T26" fmla="*/ 102 w 120"/>
              <a:gd name="T27" fmla="*/ 30 h 52"/>
              <a:gd name="T28" fmla="*/ 113 w 120"/>
              <a:gd name="T29" fmla="*/ 35 h 52"/>
              <a:gd name="T30" fmla="*/ 110 w 120"/>
              <a:gd name="T31" fmla="*/ 38 h 52"/>
              <a:gd name="T32" fmla="*/ 120 w 120"/>
              <a:gd name="T33" fmla="*/ 49 h 52"/>
              <a:gd name="T34" fmla="*/ 118 w 120"/>
              <a:gd name="T35" fmla="*/ 52 h 52"/>
              <a:gd name="T36" fmla="*/ 109 w 120"/>
              <a:gd name="T37" fmla="*/ 50 h 52"/>
              <a:gd name="T38" fmla="*/ 95 w 120"/>
              <a:gd name="T39" fmla="*/ 44 h 52"/>
              <a:gd name="T40" fmla="*/ 92 w 120"/>
              <a:gd name="T41" fmla="*/ 48 h 52"/>
              <a:gd name="T42" fmla="*/ 69 w 120"/>
              <a:gd name="T43" fmla="*/ 51 h 52"/>
              <a:gd name="T44" fmla="*/ 51 w 120"/>
              <a:gd name="T45" fmla="*/ 41 h 52"/>
              <a:gd name="T46" fmla="*/ 33 w 120"/>
              <a:gd name="T47" fmla="*/ 4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20" h="52">
                <a:moveTo>
                  <a:pt x="33" y="42"/>
                </a:moveTo>
                <a:lnTo>
                  <a:pt x="34" y="33"/>
                </a:lnTo>
                <a:lnTo>
                  <a:pt x="28" y="19"/>
                </a:lnTo>
                <a:lnTo>
                  <a:pt x="17" y="11"/>
                </a:lnTo>
                <a:lnTo>
                  <a:pt x="7" y="9"/>
                </a:lnTo>
                <a:lnTo>
                  <a:pt x="0" y="3"/>
                </a:lnTo>
                <a:lnTo>
                  <a:pt x="1" y="0"/>
                </a:lnTo>
                <a:lnTo>
                  <a:pt x="16" y="4"/>
                </a:lnTo>
                <a:lnTo>
                  <a:pt x="41" y="7"/>
                </a:lnTo>
                <a:lnTo>
                  <a:pt x="66" y="17"/>
                </a:lnTo>
                <a:lnTo>
                  <a:pt x="69" y="21"/>
                </a:lnTo>
                <a:lnTo>
                  <a:pt x="79" y="18"/>
                </a:lnTo>
                <a:lnTo>
                  <a:pt x="95" y="22"/>
                </a:lnTo>
                <a:lnTo>
                  <a:pt x="102" y="30"/>
                </a:lnTo>
                <a:lnTo>
                  <a:pt x="113" y="35"/>
                </a:lnTo>
                <a:lnTo>
                  <a:pt x="110" y="38"/>
                </a:lnTo>
                <a:lnTo>
                  <a:pt x="120" y="49"/>
                </a:lnTo>
                <a:lnTo>
                  <a:pt x="118" y="52"/>
                </a:lnTo>
                <a:lnTo>
                  <a:pt x="109" y="50"/>
                </a:lnTo>
                <a:lnTo>
                  <a:pt x="95" y="44"/>
                </a:lnTo>
                <a:lnTo>
                  <a:pt x="92" y="48"/>
                </a:lnTo>
                <a:lnTo>
                  <a:pt x="69" y="51"/>
                </a:lnTo>
                <a:lnTo>
                  <a:pt x="51" y="41"/>
                </a:lnTo>
                <a:lnTo>
                  <a:pt x="33" y="42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97" name="Freeform 72"/>
          <p:cNvSpPr>
            <a:spLocks/>
          </p:cNvSpPr>
          <p:nvPr/>
        </p:nvSpPr>
        <p:spPr bwMode="auto">
          <a:xfrm>
            <a:off x="413681" y="6307778"/>
            <a:ext cx="320525" cy="663587"/>
          </a:xfrm>
          <a:custGeom>
            <a:avLst/>
            <a:gdLst>
              <a:gd name="T0" fmla="*/ 79 w 79"/>
              <a:gd name="T1" fmla="*/ 107 h 132"/>
              <a:gd name="T2" fmla="*/ 50 w 79"/>
              <a:gd name="T3" fmla="*/ 119 h 132"/>
              <a:gd name="T4" fmla="*/ 40 w 79"/>
              <a:gd name="T5" fmla="*/ 127 h 132"/>
              <a:gd name="T6" fmla="*/ 23 w 79"/>
              <a:gd name="T7" fmla="*/ 132 h 132"/>
              <a:gd name="T8" fmla="*/ 7 w 79"/>
              <a:gd name="T9" fmla="*/ 127 h 132"/>
              <a:gd name="T10" fmla="*/ 8 w 79"/>
              <a:gd name="T11" fmla="*/ 119 h 132"/>
              <a:gd name="T12" fmla="*/ 0 w 79"/>
              <a:gd name="T13" fmla="*/ 100 h 132"/>
              <a:gd name="T14" fmla="*/ 5 w 79"/>
              <a:gd name="T15" fmla="*/ 77 h 132"/>
              <a:gd name="T16" fmla="*/ 12 w 79"/>
              <a:gd name="T17" fmla="*/ 60 h 132"/>
              <a:gd name="T18" fmla="*/ 8 w 79"/>
              <a:gd name="T19" fmla="*/ 30 h 132"/>
              <a:gd name="T20" fmla="*/ 5 w 79"/>
              <a:gd name="T21" fmla="*/ 14 h 132"/>
              <a:gd name="T22" fmla="*/ 6 w 79"/>
              <a:gd name="T23" fmla="*/ 3 h 132"/>
              <a:gd name="T24" fmla="*/ 37 w 79"/>
              <a:gd name="T25" fmla="*/ 2 h 132"/>
              <a:gd name="T26" fmla="*/ 45 w 79"/>
              <a:gd name="T27" fmla="*/ 3 h 132"/>
              <a:gd name="T28" fmla="*/ 51 w 79"/>
              <a:gd name="T29" fmla="*/ 0 h 132"/>
              <a:gd name="T30" fmla="*/ 60 w 79"/>
              <a:gd name="T31" fmla="*/ 1 h 132"/>
              <a:gd name="T32" fmla="*/ 58 w 79"/>
              <a:gd name="T33" fmla="*/ 8 h 132"/>
              <a:gd name="T34" fmla="*/ 66 w 79"/>
              <a:gd name="T35" fmla="*/ 19 h 132"/>
              <a:gd name="T36" fmla="*/ 66 w 79"/>
              <a:gd name="T37" fmla="*/ 34 h 132"/>
              <a:gd name="T38" fmla="*/ 68 w 79"/>
              <a:gd name="T39" fmla="*/ 50 h 132"/>
              <a:gd name="T40" fmla="*/ 72 w 79"/>
              <a:gd name="T41" fmla="*/ 58 h 132"/>
              <a:gd name="T42" fmla="*/ 68 w 79"/>
              <a:gd name="T43" fmla="*/ 76 h 132"/>
              <a:gd name="T44" fmla="*/ 70 w 79"/>
              <a:gd name="T45" fmla="*/ 87 h 132"/>
              <a:gd name="T46" fmla="*/ 75 w 79"/>
              <a:gd name="T47" fmla="*/ 100 h 132"/>
              <a:gd name="T48" fmla="*/ 79 w 79"/>
              <a:gd name="T49" fmla="*/ 107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79" h="132">
                <a:moveTo>
                  <a:pt x="79" y="107"/>
                </a:moveTo>
                <a:lnTo>
                  <a:pt x="50" y="119"/>
                </a:lnTo>
                <a:lnTo>
                  <a:pt x="40" y="127"/>
                </a:lnTo>
                <a:lnTo>
                  <a:pt x="23" y="132"/>
                </a:lnTo>
                <a:lnTo>
                  <a:pt x="7" y="127"/>
                </a:lnTo>
                <a:lnTo>
                  <a:pt x="8" y="119"/>
                </a:lnTo>
                <a:lnTo>
                  <a:pt x="0" y="100"/>
                </a:lnTo>
                <a:lnTo>
                  <a:pt x="5" y="77"/>
                </a:lnTo>
                <a:lnTo>
                  <a:pt x="12" y="60"/>
                </a:lnTo>
                <a:lnTo>
                  <a:pt x="8" y="30"/>
                </a:lnTo>
                <a:lnTo>
                  <a:pt x="5" y="14"/>
                </a:lnTo>
                <a:lnTo>
                  <a:pt x="6" y="3"/>
                </a:lnTo>
                <a:lnTo>
                  <a:pt x="37" y="2"/>
                </a:lnTo>
                <a:lnTo>
                  <a:pt x="45" y="3"/>
                </a:lnTo>
                <a:lnTo>
                  <a:pt x="51" y="0"/>
                </a:lnTo>
                <a:lnTo>
                  <a:pt x="60" y="1"/>
                </a:lnTo>
                <a:lnTo>
                  <a:pt x="58" y="8"/>
                </a:lnTo>
                <a:lnTo>
                  <a:pt x="66" y="19"/>
                </a:lnTo>
                <a:lnTo>
                  <a:pt x="66" y="34"/>
                </a:lnTo>
                <a:lnTo>
                  <a:pt x="68" y="50"/>
                </a:lnTo>
                <a:lnTo>
                  <a:pt x="72" y="58"/>
                </a:lnTo>
                <a:lnTo>
                  <a:pt x="68" y="76"/>
                </a:lnTo>
                <a:lnTo>
                  <a:pt x="70" y="87"/>
                </a:lnTo>
                <a:lnTo>
                  <a:pt x="75" y="100"/>
                </a:lnTo>
                <a:lnTo>
                  <a:pt x="79" y="107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98" name="Freeform 73"/>
          <p:cNvSpPr>
            <a:spLocks/>
          </p:cNvSpPr>
          <p:nvPr/>
        </p:nvSpPr>
        <p:spPr bwMode="auto">
          <a:xfrm>
            <a:off x="-466740" y="6151937"/>
            <a:ext cx="539618" cy="552990"/>
          </a:xfrm>
          <a:custGeom>
            <a:avLst/>
            <a:gdLst>
              <a:gd name="T0" fmla="*/ 116 w 133"/>
              <a:gd name="T1" fmla="*/ 101 h 110"/>
              <a:gd name="T2" fmla="*/ 108 w 133"/>
              <a:gd name="T3" fmla="*/ 110 h 110"/>
              <a:gd name="T4" fmla="*/ 105 w 133"/>
              <a:gd name="T5" fmla="*/ 97 h 110"/>
              <a:gd name="T6" fmla="*/ 93 w 133"/>
              <a:gd name="T7" fmla="*/ 86 h 110"/>
              <a:gd name="T8" fmla="*/ 84 w 133"/>
              <a:gd name="T9" fmla="*/ 88 h 110"/>
              <a:gd name="T10" fmla="*/ 81 w 133"/>
              <a:gd name="T11" fmla="*/ 75 h 110"/>
              <a:gd name="T12" fmla="*/ 78 w 133"/>
              <a:gd name="T13" fmla="*/ 60 h 110"/>
              <a:gd name="T14" fmla="*/ 58 w 133"/>
              <a:gd name="T15" fmla="*/ 53 h 110"/>
              <a:gd name="T16" fmla="*/ 49 w 133"/>
              <a:gd name="T17" fmla="*/ 57 h 110"/>
              <a:gd name="T18" fmla="*/ 44 w 133"/>
              <a:gd name="T19" fmla="*/ 67 h 110"/>
              <a:gd name="T20" fmla="*/ 26 w 133"/>
              <a:gd name="T21" fmla="*/ 64 h 110"/>
              <a:gd name="T22" fmla="*/ 14 w 133"/>
              <a:gd name="T23" fmla="*/ 53 h 110"/>
              <a:gd name="T24" fmla="*/ 8 w 133"/>
              <a:gd name="T25" fmla="*/ 40 h 110"/>
              <a:gd name="T26" fmla="*/ 0 w 133"/>
              <a:gd name="T27" fmla="*/ 32 h 110"/>
              <a:gd name="T28" fmla="*/ 14 w 133"/>
              <a:gd name="T29" fmla="*/ 22 h 110"/>
              <a:gd name="T30" fmla="*/ 22 w 133"/>
              <a:gd name="T31" fmla="*/ 19 h 110"/>
              <a:gd name="T32" fmla="*/ 24 w 133"/>
              <a:gd name="T33" fmla="*/ 9 h 110"/>
              <a:gd name="T34" fmla="*/ 26 w 133"/>
              <a:gd name="T35" fmla="*/ 0 h 110"/>
              <a:gd name="T36" fmla="*/ 48 w 133"/>
              <a:gd name="T37" fmla="*/ 5 h 110"/>
              <a:gd name="T38" fmla="*/ 54 w 133"/>
              <a:gd name="T39" fmla="*/ 2 h 110"/>
              <a:gd name="T40" fmla="*/ 66 w 133"/>
              <a:gd name="T41" fmla="*/ 3 h 110"/>
              <a:gd name="T42" fmla="*/ 70 w 133"/>
              <a:gd name="T43" fmla="*/ 10 h 110"/>
              <a:gd name="T44" fmla="*/ 78 w 133"/>
              <a:gd name="T45" fmla="*/ 8 h 110"/>
              <a:gd name="T46" fmla="*/ 91 w 133"/>
              <a:gd name="T47" fmla="*/ 15 h 110"/>
              <a:gd name="T48" fmla="*/ 102 w 133"/>
              <a:gd name="T49" fmla="*/ 8 h 110"/>
              <a:gd name="T50" fmla="*/ 110 w 133"/>
              <a:gd name="T51" fmla="*/ 6 h 110"/>
              <a:gd name="T52" fmla="*/ 116 w 133"/>
              <a:gd name="T53" fmla="*/ 16 h 110"/>
              <a:gd name="T54" fmla="*/ 120 w 133"/>
              <a:gd name="T55" fmla="*/ 30 h 110"/>
              <a:gd name="T56" fmla="*/ 123 w 133"/>
              <a:gd name="T57" fmla="*/ 35 h 110"/>
              <a:gd name="T58" fmla="*/ 124 w 133"/>
              <a:gd name="T59" fmla="*/ 43 h 110"/>
              <a:gd name="T60" fmla="*/ 126 w 133"/>
              <a:gd name="T61" fmla="*/ 51 h 110"/>
              <a:gd name="T62" fmla="*/ 128 w 133"/>
              <a:gd name="T63" fmla="*/ 67 h 110"/>
              <a:gd name="T64" fmla="*/ 126 w 133"/>
              <a:gd name="T65" fmla="*/ 86 h 110"/>
              <a:gd name="T66" fmla="*/ 126 w 133"/>
              <a:gd name="T67" fmla="*/ 93 h 110"/>
              <a:gd name="T68" fmla="*/ 122 w 133"/>
              <a:gd name="T69" fmla="*/ 102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33" h="110">
                <a:moveTo>
                  <a:pt x="122" y="102"/>
                </a:moveTo>
                <a:lnTo>
                  <a:pt x="116" y="101"/>
                </a:lnTo>
                <a:lnTo>
                  <a:pt x="113" y="110"/>
                </a:lnTo>
                <a:lnTo>
                  <a:pt x="108" y="110"/>
                </a:lnTo>
                <a:lnTo>
                  <a:pt x="104" y="105"/>
                </a:lnTo>
                <a:lnTo>
                  <a:pt x="105" y="97"/>
                </a:lnTo>
                <a:lnTo>
                  <a:pt x="98" y="84"/>
                </a:lnTo>
                <a:lnTo>
                  <a:pt x="93" y="86"/>
                </a:lnTo>
                <a:lnTo>
                  <a:pt x="89" y="87"/>
                </a:lnTo>
                <a:lnTo>
                  <a:pt x="84" y="88"/>
                </a:lnTo>
                <a:lnTo>
                  <a:pt x="84" y="80"/>
                </a:lnTo>
                <a:lnTo>
                  <a:pt x="81" y="75"/>
                </a:lnTo>
                <a:lnTo>
                  <a:pt x="82" y="69"/>
                </a:lnTo>
                <a:lnTo>
                  <a:pt x="78" y="60"/>
                </a:lnTo>
                <a:lnTo>
                  <a:pt x="73" y="53"/>
                </a:lnTo>
                <a:lnTo>
                  <a:pt x="58" y="53"/>
                </a:lnTo>
                <a:lnTo>
                  <a:pt x="54" y="57"/>
                </a:lnTo>
                <a:lnTo>
                  <a:pt x="49" y="57"/>
                </a:lnTo>
                <a:lnTo>
                  <a:pt x="46" y="61"/>
                </a:lnTo>
                <a:lnTo>
                  <a:pt x="44" y="67"/>
                </a:lnTo>
                <a:lnTo>
                  <a:pt x="34" y="76"/>
                </a:lnTo>
                <a:lnTo>
                  <a:pt x="26" y="64"/>
                </a:lnTo>
                <a:lnTo>
                  <a:pt x="19" y="56"/>
                </a:lnTo>
                <a:lnTo>
                  <a:pt x="14" y="53"/>
                </a:lnTo>
                <a:lnTo>
                  <a:pt x="10" y="49"/>
                </a:lnTo>
                <a:lnTo>
                  <a:pt x="8" y="40"/>
                </a:lnTo>
                <a:lnTo>
                  <a:pt x="5" y="35"/>
                </a:lnTo>
                <a:lnTo>
                  <a:pt x="0" y="32"/>
                </a:lnTo>
                <a:lnTo>
                  <a:pt x="8" y="22"/>
                </a:lnTo>
                <a:lnTo>
                  <a:pt x="14" y="22"/>
                </a:lnTo>
                <a:lnTo>
                  <a:pt x="18" y="19"/>
                </a:lnTo>
                <a:lnTo>
                  <a:pt x="22" y="19"/>
                </a:lnTo>
                <a:lnTo>
                  <a:pt x="25" y="16"/>
                </a:lnTo>
                <a:lnTo>
                  <a:pt x="24" y="9"/>
                </a:lnTo>
                <a:lnTo>
                  <a:pt x="26" y="7"/>
                </a:lnTo>
                <a:lnTo>
                  <a:pt x="26" y="0"/>
                </a:lnTo>
                <a:lnTo>
                  <a:pt x="35" y="0"/>
                </a:lnTo>
                <a:lnTo>
                  <a:pt x="48" y="5"/>
                </a:lnTo>
                <a:lnTo>
                  <a:pt x="52" y="5"/>
                </a:lnTo>
                <a:lnTo>
                  <a:pt x="54" y="2"/>
                </a:lnTo>
                <a:lnTo>
                  <a:pt x="64" y="4"/>
                </a:lnTo>
                <a:lnTo>
                  <a:pt x="66" y="3"/>
                </a:lnTo>
                <a:lnTo>
                  <a:pt x="67" y="10"/>
                </a:lnTo>
                <a:lnTo>
                  <a:pt x="70" y="10"/>
                </a:lnTo>
                <a:lnTo>
                  <a:pt x="75" y="8"/>
                </a:lnTo>
                <a:lnTo>
                  <a:pt x="78" y="8"/>
                </a:lnTo>
                <a:lnTo>
                  <a:pt x="83" y="14"/>
                </a:lnTo>
                <a:lnTo>
                  <a:pt x="91" y="15"/>
                </a:lnTo>
                <a:lnTo>
                  <a:pt x="96" y="11"/>
                </a:lnTo>
                <a:lnTo>
                  <a:pt x="102" y="8"/>
                </a:lnTo>
                <a:lnTo>
                  <a:pt x="106" y="5"/>
                </a:lnTo>
                <a:lnTo>
                  <a:pt x="110" y="6"/>
                </a:lnTo>
                <a:lnTo>
                  <a:pt x="114" y="10"/>
                </a:lnTo>
                <a:lnTo>
                  <a:pt x="116" y="16"/>
                </a:lnTo>
                <a:lnTo>
                  <a:pt x="123" y="25"/>
                </a:lnTo>
                <a:lnTo>
                  <a:pt x="120" y="30"/>
                </a:lnTo>
                <a:lnTo>
                  <a:pt x="119" y="37"/>
                </a:lnTo>
                <a:lnTo>
                  <a:pt x="123" y="35"/>
                </a:lnTo>
                <a:lnTo>
                  <a:pt x="125" y="37"/>
                </a:lnTo>
                <a:lnTo>
                  <a:pt x="124" y="43"/>
                </a:lnTo>
                <a:lnTo>
                  <a:pt x="130" y="49"/>
                </a:lnTo>
                <a:lnTo>
                  <a:pt x="126" y="51"/>
                </a:lnTo>
                <a:lnTo>
                  <a:pt x="124" y="58"/>
                </a:lnTo>
                <a:lnTo>
                  <a:pt x="128" y="67"/>
                </a:lnTo>
                <a:lnTo>
                  <a:pt x="133" y="83"/>
                </a:lnTo>
                <a:lnTo>
                  <a:pt x="126" y="86"/>
                </a:lnTo>
                <a:lnTo>
                  <a:pt x="124" y="89"/>
                </a:lnTo>
                <a:lnTo>
                  <a:pt x="126" y="93"/>
                </a:lnTo>
                <a:lnTo>
                  <a:pt x="125" y="102"/>
                </a:lnTo>
                <a:lnTo>
                  <a:pt x="122" y="102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99" name="Freeform 74"/>
          <p:cNvSpPr>
            <a:spLocks/>
          </p:cNvSpPr>
          <p:nvPr/>
        </p:nvSpPr>
        <p:spPr bwMode="auto">
          <a:xfrm>
            <a:off x="-592518" y="6016205"/>
            <a:ext cx="223151" cy="80433"/>
          </a:xfrm>
          <a:custGeom>
            <a:avLst/>
            <a:gdLst>
              <a:gd name="T0" fmla="*/ 0 w 55"/>
              <a:gd name="T1" fmla="*/ 15 h 16"/>
              <a:gd name="T2" fmla="*/ 3 w 55"/>
              <a:gd name="T3" fmla="*/ 6 h 16"/>
              <a:gd name="T4" fmla="*/ 23 w 55"/>
              <a:gd name="T5" fmla="*/ 5 h 16"/>
              <a:gd name="T6" fmla="*/ 27 w 55"/>
              <a:gd name="T7" fmla="*/ 0 h 16"/>
              <a:gd name="T8" fmla="*/ 33 w 55"/>
              <a:gd name="T9" fmla="*/ 0 h 16"/>
              <a:gd name="T10" fmla="*/ 40 w 55"/>
              <a:gd name="T11" fmla="*/ 5 h 16"/>
              <a:gd name="T12" fmla="*/ 45 w 55"/>
              <a:gd name="T13" fmla="*/ 5 h 16"/>
              <a:gd name="T14" fmla="*/ 51 w 55"/>
              <a:gd name="T15" fmla="*/ 2 h 16"/>
              <a:gd name="T16" fmla="*/ 55 w 55"/>
              <a:gd name="T17" fmla="*/ 8 h 16"/>
              <a:gd name="T18" fmla="*/ 47 w 55"/>
              <a:gd name="T19" fmla="*/ 13 h 16"/>
              <a:gd name="T20" fmla="*/ 39 w 55"/>
              <a:gd name="T21" fmla="*/ 12 h 16"/>
              <a:gd name="T22" fmla="*/ 31 w 55"/>
              <a:gd name="T23" fmla="*/ 8 h 16"/>
              <a:gd name="T24" fmla="*/ 25 w 55"/>
              <a:gd name="T25" fmla="*/ 13 h 16"/>
              <a:gd name="T26" fmla="*/ 21 w 55"/>
              <a:gd name="T27" fmla="*/ 13 h 16"/>
              <a:gd name="T28" fmla="*/ 17 w 55"/>
              <a:gd name="T29" fmla="*/ 16 h 16"/>
              <a:gd name="T30" fmla="*/ 0 w 55"/>
              <a:gd name="T31" fmla="*/ 15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5" h="16">
                <a:moveTo>
                  <a:pt x="0" y="15"/>
                </a:moveTo>
                <a:lnTo>
                  <a:pt x="3" y="6"/>
                </a:lnTo>
                <a:lnTo>
                  <a:pt x="23" y="5"/>
                </a:lnTo>
                <a:lnTo>
                  <a:pt x="27" y="0"/>
                </a:lnTo>
                <a:lnTo>
                  <a:pt x="33" y="0"/>
                </a:lnTo>
                <a:lnTo>
                  <a:pt x="40" y="5"/>
                </a:lnTo>
                <a:lnTo>
                  <a:pt x="45" y="5"/>
                </a:lnTo>
                <a:lnTo>
                  <a:pt x="51" y="2"/>
                </a:lnTo>
                <a:lnTo>
                  <a:pt x="55" y="8"/>
                </a:lnTo>
                <a:lnTo>
                  <a:pt x="47" y="13"/>
                </a:lnTo>
                <a:lnTo>
                  <a:pt x="39" y="12"/>
                </a:lnTo>
                <a:lnTo>
                  <a:pt x="31" y="8"/>
                </a:lnTo>
                <a:lnTo>
                  <a:pt x="25" y="13"/>
                </a:lnTo>
                <a:lnTo>
                  <a:pt x="21" y="13"/>
                </a:lnTo>
                <a:lnTo>
                  <a:pt x="17" y="16"/>
                </a:lnTo>
                <a:lnTo>
                  <a:pt x="0" y="15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00" name="Freeform 75"/>
          <p:cNvSpPr>
            <a:spLocks/>
          </p:cNvSpPr>
          <p:nvPr/>
        </p:nvSpPr>
        <p:spPr bwMode="auto">
          <a:xfrm>
            <a:off x="-580344" y="6146911"/>
            <a:ext cx="219092" cy="165900"/>
          </a:xfrm>
          <a:custGeom>
            <a:avLst/>
            <a:gdLst>
              <a:gd name="T0" fmla="*/ 28 w 54"/>
              <a:gd name="T1" fmla="*/ 33 h 33"/>
              <a:gd name="T2" fmla="*/ 18 w 54"/>
              <a:gd name="T3" fmla="*/ 24 h 33"/>
              <a:gd name="T4" fmla="*/ 10 w 54"/>
              <a:gd name="T5" fmla="*/ 23 h 33"/>
              <a:gd name="T6" fmla="*/ 6 w 54"/>
              <a:gd name="T7" fmla="*/ 17 h 33"/>
              <a:gd name="T8" fmla="*/ 6 w 54"/>
              <a:gd name="T9" fmla="*/ 14 h 33"/>
              <a:gd name="T10" fmla="*/ 1 w 54"/>
              <a:gd name="T11" fmla="*/ 10 h 33"/>
              <a:gd name="T12" fmla="*/ 0 w 54"/>
              <a:gd name="T13" fmla="*/ 5 h 33"/>
              <a:gd name="T14" fmla="*/ 10 w 54"/>
              <a:gd name="T15" fmla="*/ 2 h 33"/>
              <a:gd name="T16" fmla="*/ 16 w 54"/>
              <a:gd name="T17" fmla="*/ 2 h 33"/>
              <a:gd name="T18" fmla="*/ 21 w 54"/>
              <a:gd name="T19" fmla="*/ 0 h 33"/>
              <a:gd name="T20" fmla="*/ 54 w 54"/>
              <a:gd name="T21" fmla="*/ 1 h 33"/>
              <a:gd name="T22" fmla="*/ 54 w 54"/>
              <a:gd name="T23" fmla="*/ 8 h 33"/>
              <a:gd name="T24" fmla="*/ 52 w 54"/>
              <a:gd name="T25" fmla="*/ 10 h 33"/>
              <a:gd name="T26" fmla="*/ 53 w 54"/>
              <a:gd name="T27" fmla="*/ 17 h 33"/>
              <a:gd name="T28" fmla="*/ 50 w 54"/>
              <a:gd name="T29" fmla="*/ 20 h 33"/>
              <a:gd name="T30" fmla="*/ 46 w 54"/>
              <a:gd name="T31" fmla="*/ 20 h 33"/>
              <a:gd name="T32" fmla="*/ 42 w 54"/>
              <a:gd name="T33" fmla="*/ 23 h 33"/>
              <a:gd name="T34" fmla="*/ 36 w 54"/>
              <a:gd name="T35" fmla="*/ 23 h 33"/>
              <a:gd name="T36" fmla="*/ 28 w 54"/>
              <a:gd name="T37" fmla="*/ 33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54" h="33">
                <a:moveTo>
                  <a:pt x="28" y="33"/>
                </a:moveTo>
                <a:lnTo>
                  <a:pt x="18" y="24"/>
                </a:lnTo>
                <a:lnTo>
                  <a:pt x="10" y="23"/>
                </a:lnTo>
                <a:lnTo>
                  <a:pt x="6" y="17"/>
                </a:lnTo>
                <a:lnTo>
                  <a:pt x="6" y="14"/>
                </a:lnTo>
                <a:lnTo>
                  <a:pt x="1" y="10"/>
                </a:lnTo>
                <a:lnTo>
                  <a:pt x="0" y="5"/>
                </a:lnTo>
                <a:lnTo>
                  <a:pt x="10" y="2"/>
                </a:lnTo>
                <a:lnTo>
                  <a:pt x="16" y="2"/>
                </a:lnTo>
                <a:lnTo>
                  <a:pt x="21" y="0"/>
                </a:lnTo>
                <a:lnTo>
                  <a:pt x="54" y="1"/>
                </a:lnTo>
                <a:lnTo>
                  <a:pt x="54" y="8"/>
                </a:lnTo>
                <a:lnTo>
                  <a:pt x="52" y="10"/>
                </a:lnTo>
                <a:lnTo>
                  <a:pt x="53" y="17"/>
                </a:lnTo>
                <a:lnTo>
                  <a:pt x="50" y="20"/>
                </a:lnTo>
                <a:lnTo>
                  <a:pt x="46" y="20"/>
                </a:lnTo>
                <a:lnTo>
                  <a:pt x="42" y="23"/>
                </a:lnTo>
                <a:lnTo>
                  <a:pt x="36" y="23"/>
                </a:lnTo>
                <a:lnTo>
                  <a:pt x="28" y="33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01" name="Freeform 77"/>
          <p:cNvSpPr>
            <a:spLocks/>
          </p:cNvSpPr>
          <p:nvPr/>
        </p:nvSpPr>
        <p:spPr bwMode="auto">
          <a:xfrm>
            <a:off x="2304361" y="3738896"/>
            <a:ext cx="194748" cy="80433"/>
          </a:xfrm>
          <a:custGeom>
            <a:avLst/>
            <a:gdLst>
              <a:gd name="T0" fmla="*/ 2 w 48"/>
              <a:gd name="T1" fmla="*/ 0 h 16"/>
              <a:gd name="T2" fmla="*/ 12 w 48"/>
              <a:gd name="T3" fmla="*/ 7 h 16"/>
              <a:gd name="T4" fmla="*/ 25 w 48"/>
              <a:gd name="T5" fmla="*/ 6 h 16"/>
              <a:gd name="T6" fmla="*/ 39 w 48"/>
              <a:gd name="T7" fmla="*/ 7 h 16"/>
              <a:gd name="T8" fmla="*/ 38 w 48"/>
              <a:gd name="T9" fmla="*/ 11 h 16"/>
              <a:gd name="T10" fmla="*/ 48 w 48"/>
              <a:gd name="T11" fmla="*/ 8 h 16"/>
              <a:gd name="T12" fmla="*/ 46 w 48"/>
              <a:gd name="T13" fmla="*/ 14 h 16"/>
              <a:gd name="T14" fmla="*/ 21 w 48"/>
              <a:gd name="T15" fmla="*/ 16 h 16"/>
              <a:gd name="T16" fmla="*/ 21 w 48"/>
              <a:gd name="T17" fmla="*/ 13 h 16"/>
              <a:gd name="T18" fmla="*/ 0 w 48"/>
              <a:gd name="T19" fmla="*/ 9 h 16"/>
              <a:gd name="T20" fmla="*/ 2 w 48"/>
              <a:gd name="T21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48" h="16">
                <a:moveTo>
                  <a:pt x="2" y="0"/>
                </a:moveTo>
                <a:lnTo>
                  <a:pt x="12" y="7"/>
                </a:lnTo>
                <a:lnTo>
                  <a:pt x="25" y="6"/>
                </a:lnTo>
                <a:lnTo>
                  <a:pt x="39" y="7"/>
                </a:lnTo>
                <a:lnTo>
                  <a:pt x="38" y="11"/>
                </a:lnTo>
                <a:lnTo>
                  <a:pt x="48" y="8"/>
                </a:lnTo>
                <a:lnTo>
                  <a:pt x="46" y="14"/>
                </a:lnTo>
                <a:lnTo>
                  <a:pt x="21" y="16"/>
                </a:lnTo>
                <a:lnTo>
                  <a:pt x="21" y="13"/>
                </a:lnTo>
                <a:lnTo>
                  <a:pt x="0" y="9"/>
                </a:lnTo>
                <a:lnTo>
                  <a:pt x="2" y="0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02" name="Freeform 78"/>
          <p:cNvSpPr>
            <a:spLocks/>
          </p:cNvSpPr>
          <p:nvPr/>
        </p:nvSpPr>
        <p:spPr bwMode="auto">
          <a:xfrm>
            <a:off x="2040642" y="3105473"/>
            <a:ext cx="426014" cy="558015"/>
          </a:xfrm>
          <a:custGeom>
            <a:avLst/>
            <a:gdLst>
              <a:gd name="T0" fmla="*/ 105 w 105"/>
              <a:gd name="T1" fmla="*/ 5 h 111"/>
              <a:gd name="T2" fmla="*/ 101 w 105"/>
              <a:gd name="T3" fmla="*/ 18 h 111"/>
              <a:gd name="T4" fmla="*/ 98 w 105"/>
              <a:gd name="T5" fmla="*/ 20 h 111"/>
              <a:gd name="T6" fmla="*/ 87 w 105"/>
              <a:gd name="T7" fmla="*/ 20 h 111"/>
              <a:gd name="T8" fmla="*/ 78 w 105"/>
              <a:gd name="T9" fmla="*/ 18 h 111"/>
              <a:gd name="T10" fmla="*/ 58 w 105"/>
              <a:gd name="T11" fmla="*/ 23 h 111"/>
              <a:gd name="T12" fmla="*/ 71 w 105"/>
              <a:gd name="T13" fmla="*/ 35 h 111"/>
              <a:gd name="T14" fmla="*/ 63 w 105"/>
              <a:gd name="T15" fmla="*/ 38 h 111"/>
              <a:gd name="T16" fmla="*/ 54 w 105"/>
              <a:gd name="T17" fmla="*/ 38 h 111"/>
              <a:gd name="T18" fmla="*/ 44 w 105"/>
              <a:gd name="T19" fmla="*/ 28 h 111"/>
              <a:gd name="T20" fmla="*/ 41 w 105"/>
              <a:gd name="T21" fmla="*/ 32 h 111"/>
              <a:gd name="T22" fmla="*/ 46 w 105"/>
              <a:gd name="T23" fmla="*/ 44 h 111"/>
              <a:gd name="T24" fmla="*/ 55 w 105"/>
              <a:gd name="T25" fmla="*/ 54 h 111"/>
              <a:gd name="T26" fmla="*/ 49 w 105"/>
              <a:gd name="T27" fmla="*/ 59 h 111"/>
              <a:gd name="T28" fmla="*/ 59 w 105"/>
              <a:gd name="T29" fmla="*/ 68 h 111"/>
              <a:gd name="T30" fmla="*/ 68 w 105"/>
              <a:gd name="T31" fmla="*/ 74 h 111"/>
              <a:gd name="T32" fmla="*/ 70 w 105"/>
              <a:gd name="T33" fmla="*/ 86 h 111"/>
              <a:gd name="T34" fmla="*/ 53 w 105"/>
              <a:gd name="T35" fmla="*/ 80 h 111"/>
              <a:gd name="T36" fmla="*/ 59 w 105"/>
              <a:gd name="T37" fmla="*/ 91 h 111"/>
              <a:gd name="T38" fmla="*/ 49 w 105"/>
              <a:gd name="T39" fmla="*/ 93 h 111"/>
              <a:gd name="T40" fmla="*/ 57 w 105"/>
              <a:gd name="T41" fmla="*/ 111 h 111"/>
              <a:gd name="T42" fmla="*/ 45 w 105"/>
              <a:gd name="T43" fmla="*/ 111 h 111"/>
              <a:gd name="T44" fmla="*/ 30 w 105"/>
              <a:gd name="T45" fmla="*/ 102 h 111"/>
              <a:gd name="T46" fmla="*/ 23 w 105"/>
              <a:gd name="T47" fmla="*/ 86 h 111"/>
              <a:gd name="T48" fmla="*/ 19 w 105"/>
              <a:gd name="T49" fmla="*/ 72 h 111"/>
              <a:gd name="T50" fmla="*/ 11 w 105"/>
              <a:gd name="T51" fmla="*/ 63 h 111"/>
              <a:gd name="T52" fmla="*/ 2 w 105"/>
              <a:gd name="T53" fmla="*/ 51 h 111"/>
              <a:gd name="T54" fmla="*/ 0 w 105"/>
              <a:gd name="T55" fmla="*/ 45 h 111"/>
              <a:gd name="T56" fmla="*/ 7 w 105"/>
              <a:gd name="T57" fmla="*/ 35 h 111"/>
              <a:gd name="T58" fmla="*/ 7 w 105"/>
              <a:gd name="T59" fmla="*/ 28 h 111"/>
              <a:gd name="T60" fmla="*/ 13 w 105"/>
              <a:gd name="T61" fmla="*/ 26 h 111"/>
              <a:gd name="T62" fmla="*/ 13 w 105"/>
              <a:gd name="T63" fmla="*/ 20 h 111"/>
              <a:gd name="T64" fmla="*/ 24 w 105"/>
              <a:gd name="T65" fmla="*/ 18 h 111"/>
              <a:gd name="T66" fmla="*/ 30 w 105"/>
              <a:gd name="T67" fmla="*/ 14 h 111"/>
              <a:gd name="T68" fmla="*/ 39 w 105"/>
              <a:gd name="T69" fmla="*/ 14 h 111"/>
              <a:gd name="T70" fmla="*/ 41 w 105"/>
              <a:gd name="T71" fmla="*/ 10 h 111"/>
              <a:gd name="T72" fmla="*/ 44 w 105"/>
              <a:gd name="T73" fmla="*/ 10 h 111"/>
              <a:gd name="T74" fmla="*/ 57 w 105"/>
              <a:gd name="T75" fmla="*/ 10 h 111"/>
              <a:gd name="T76" fmla="*/ 70 w 105"/>
              <a:gd name="T77" fmla="*/ 5 h 111"/>
              <a:gd name="T78" fmla="*/ 82 w 105"/>
              <a:gd name="T79" fmla="*/ 12 h 111"/>
              <a:gd name="T80" fmla="*/ 97 w 105"/>
              <a:gd name="T81" fmla="*/ 10 h 111"/>
              <a:gd name="T82" fmla="*/ 96 w 105"/>
              <a:gd name="T83" fmla="*/ 0 h 111"/>
              <a:gd name="T84" fmla="*/ 105 w 105"/>
              <a:gd name="T85" fmla="*/ 5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05" h="111">
                <a:moveTo>
                  <a:pt x="105" y="5"/>
                </a:moveTo>
                <a:lnTo>
                  <a:pt x="101" y="18"/>
                </a:lnTo>
                <a:lnTo>
                  <a:pt x="98" y="20"/>
                </a:lnTo>
                <a:lnTo>
                  <a:pt x="87" y="20"/>
                </a:lnTo>
                <a:lnTo>
                  <a:pt x="78" y="18"/>
                </a:lnTo>
                <a:lnTo>
                  <a:pt x="58" y="23"/>
                </a:lnTo>
                <a:lnTo>
                  <a:pt x="71" y="35"/>
                </a:lnTo>
                <a:lnTo>
                  <a:pt x="63" y="38"/>
                </a:lnTo>
                <a:lnTo>
                  <a:pt x="54" y="38"/>
                </a:lnTo>
                <a:lnTo>
                  <a:pt x="44" y="28"/>
                </a:lnTo>
                <a:lnTo>
                  <a:pt x="41" y="32"/>
                </a:lnTo>
                <a:lnTo>
                  <a:pt x="46" y="44"/>
                </a:lnTo>
                <a:lnTo>
                  <a:pt x="55" y="54"/>
                </a:lnTo>
                <a:lnTo>
                  <a:pt x="49" y="59"/>
                </a:lnTo>
                <a:lnTo>
                  <a:pt x="59" y="68"/>
                </a:lnTo>
                <a:lnTo>
                  <a:pt x="68" y="74"/>
                </a:lnTo>
                <a:lnTo>
                  <a:pt x="70" y="86"/>
                </a:lnTo>
                <a:lnTo>
                  <a:pt x="53" y="80"/>
                </a:lnTo>
                <a:lnTo>
                  <a:pt x="59" y="91"/>
                </a:lnTo>
                <a:lnTo>
                  <a:pt x="49" y="93"/>
                </a:lnTo>
                <a:lnTo>
                  <a:pt x="57" y="111"/>
                </a:lnTo>
                <a:lnTo>
                  <a:pt x="45" y="111"/>
                </a:lnTo>
                <a:lnTo>
                  <a:pt x="30" y="102"/>
                </a:lnTo>
                <a:lnTo>
                  <a:pt x="23" y="86"/>
                </a:lnTo>
                <a:lnTo>
                  <a:pt x="19" y="72"/>
                </a:lnTo>
                <a:lnTo>
                  <a:pt x="11" y="63"/>
                </a:lnTo>
                <a:lnTo>
                  <a:pt x="2" y="51"/>
                </a:lnTo>
                <a:lnTo>
                  <a:pt x="0" y="45"/>
                </a:lnTo>
                <a:lnTo>
                  <a:pt x="7" y="35"/>
                </a:lnTo>
                <a:lnTo>
                  <a:pt x="7" y="28"/>
                </a:lnTo>
                <a:lnTo>
                  <a:pt x="13" y="26"/>
                </a:lnTo>
                <a:lnTo>
                  <a:pt x="13" y="20"/>
                </a:lnTo>
                <a:lnTo>
                  <a:pt x="24" y="18"/>
                </a:lnTo>
                <a:lnTo>
                  <a:pt x="30" y="14"/>
                </a:lnTo>
                <a:lnTo>
                  <a:pt x="39" y="14"/>
                </a:lnTo>
                <a:lnTo>
                  <a:pt x="41" y="10"/>
                </a:lnTo>
                <a:lnTo>
                  <a:pt x="44" y="10"/>
                </a:lnTo>
                <a:lnTo>
                  <a:pt x="57" y="10"/>
                </a:lnTo>
                <a:lnTo>
                  <a:pt x="70" y="5"/>
                </a:lnTo>
                <a:lnTo>
                  <a:pt x="82" y="12"/>
                </a:lnTo>
                <a:lnTo>
                  <a:pt x="97" y="10"/>
                </a:lnTo>
                <a:lnTo>
                  <a:pt x="96" y="0"/>
                </a:lnTo>
                <a:lnTo>
                  <a:pt x="105" y="5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03" name="Freeform 83"/>
          <p:cNvSpPr>
            <a:spLocks/>
          </p:cNvSpPr>
          <p:nvPr/>
        </p:nvSpPr>
        <p:spPr bwMode="auto">
          <a:xfrm>
            <a:off x="1565943" y="2622865"/>
            <a:ext cx="381381" cy="412229"/>
          </a:xfrm>
          <a:custGeom>
            <a:avLst/>
            <a:gdLst>
              <a:gd name="T0" fmla="*/ 343 w 386"/>
              <a:gd name="T1" fmla="*/ 50 h 337"/>
              <a:gd name="T2" fmla="*/ 363 w 386"/>
              <a:gd name="T3" fmla="*/ 82 h 337"/>
              <a:gd name="T4" fmla="*/ 386 w 386"/>
              <a:gd name="T5" fmla="*/ 106 h 337"/>
              <a:gd name="T6" fmla="*/ 363 w 386"/>
              <a:gd name="T7" fmla="*/ 137 h 337"/>
              <a:gd name="T8" fmla="*/ 331 w 386"/>
              <a:gd name="T9" fmla="*/ 119 h 337"/>
              <a:gd name="T10" fmla="*/ 284 w 386"/>
              <a:gd name="T11" fmla="*/ 120 h 337"/>
              <a:gd name="T12" fmla="*/ 225 w 386"/>
              <a:gd name="T13" fmla="*/ 106 h 337"/>
              <a:gd name="T14" fmla="*/ 194 w 386"/>
              <a:gd name="T15" fmla="*/ 108 h 337"/>
              <a:gd name="T16" fmla="*/ 181 w 386"/>
              <a:gd name="T17" fmla="*/ 125 h 337"/>
              <a:gd name="T18" fmla="*/ 155 w 386"/>
              <a:gd name="T19" fmla="*/ 106 h 337"/>
              <a:gd name="T20" fmla="*/ 144 w 386"/>
              <a:gd name="T21" fmla="*/ 141 h 337"/>
              <a:gd name="T22" fmla="*/ 180 w 386"/>
              <a:gd name="T23" fmla="*/ 180 h 337"/>
              <a:gd name="T24" fmla="*/ 196 w 386"/>
              <a:gd name="T25" fmla="*/ 206 h 337"/>
              <a:gd name="T26" fmla="*/ 230 w 386"/>
              <a:gd name="T27" fmla="*/ 237 h 337"/>
              <a:gd name="T28" fmla="*/ 257 w 386"/>
              <a:gd name="T29" fmla="*/ 256 h 337"/>
              <a:gd name="T30" fmla="*/ 286 w 386"/>
              <a:gd name="T31" fmla="*/ 291 h 337"/>
              <a:gd name="T32" fmla="*/ 349 w 386"/>
              <a:gd name="T33" fmla="*/ 323 h 337"/>
              <a:gd name="T34" fmla="*/ 342 w 386"/>
              <a:gd name="T35" fmla="*/ 337 h 337"/>
              <a:gd name="T36" fmla="*/ 276 w 386"/>
              <a:gd name="T37" fmla="*/ 306 h 337"/>
              <a:gd name="T38" fmla="*/ 234 w 386"/>
              <a:gd name="T39" fmla="*/ 276 h 337"/>
              <a:gd name="T40" fmla="*/ 170 w 386"/>
              <a:gd name="T41" fmla="*/ 251 h 337"/>
              <a:gd name="T42" fmla="*/ 108 w 386"/>
              <a:gd name="T43" fmla="*/ 189 h 337"/>
              <a:gd name="T44" fmla="*/ 121 w 386"/>
              <a:gd name="T45" fmla="*/ 183 h 337"/>
              <a:gd name="T46" fmla="*/ 88 w 386"/>
              <a:gd name="T47" fmla="*/ 148 h 337"/>
              <a:gd name="T48" fmla="*/ 85 w 386"/>
              <a:gd name="T49" fmla="*/ 119 h 337"/>
              <a:gd name="T50" fmla="*/ 40 w 386"/>
              <a:gd name="T51" fmla="*/ 106 h 337"/>
              <a:gd name="T52" fmla="*/ 22 w 386"/>
              <a:gd name="T53" fmla="*/ 142 h 337"/>
              <a:gd name="T54" fmla="*/ 0 w 386"/>
              <a:gd name="T55" fmla="*/ 114 h 337"/>
              <a:gd name="T56" fmla="*/ 0 w 386"/>
              <a:gd name="T57" fmla="*/ 85 h 337"/>
              <a:gd name="T58" fmla="*/ 2 w 386"/>
              <a:gd name="T59" fmla="*/ 84 h 337"/>
              <a:gd name="T60" fmla="*/ 49 w 386"/>
              <a:gd name="T61" fmla="*/ 87 h 337"/>
              <a:gd name="T62" fmla="*/ 61 w 386"/>
              <a:gd name="T63" fmla="*/ 72 h 337"/>
              <a:gd name="T64" fmla="*/ 85 w 386"/>
              <a:gd name="T65" fmla="*/ 86 h 337"/>
              <a:gd name="T66" fmla="*/ 111 w 386"/>
              <a:gd name="T67" fmla="*/ 88 h 337"/>
              <a:gd name="T68" fmla="*/ 109 w 386"/>
              <a:gd name="T69" fmla="*/ 64 h 337"/>
              <a:gd name="T70" fmla="*/ 132 w 386"/>
              <a:gd name="T71" fmla="*/ 56 h 337"/>
              <a:gd name="T72" fmla="*/ 136 w 386"/>
              <a:gd name="T73" fmla="*/ 22 h 337"/>
              <a:gd name="T74" fmla="*/ 187 w 386"/>
              <a:gd name="T75" fmla="*/ 0 h 337"/>
              <a:gd name="T76" fmla="*/ 210 w 386"/>
              <a:gd name="T77" fmla="*/ 10 h 337"/>
              <a:gd name="T78" fmla="*/ 263 w 386"/>
              <a:gd name="T79" fmla="*/ 46 h 337"/>
              <a:gd name="T80" fmla="*/ 320 w 386"/>
              <a:gd name="T81" fmla="*/ 62 h 337"/>
              <a:gd name="T82" fmla="*/ 344 w 386"/>
              <a:gd name="T83" fmla="*/ 50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386" h="337">
                <a:moveTo>
                  <a:pt x="343" y="50"/>
                </a:moveTo>
                <a:lnTo>
                  <a:pt x="363" y="82"/>
                </a:lnTo>
                <a:lnTo>
                  <a:pt x="386" y="106"/>
                </a:lnTo>
                <a:lnTo>
                  <a:pt x="363" y="137"/>
                </a:lnTo>
                <a:lnTo>
                  <a:pt x="331" y="119"/>
                </a:lnTo>
                <a:lnTo>
                  <a:pt x="284" y="120"/>
                </a:lnTo>
                <a:lnTo>
                  <a:pt x="225" y="106"/>
                </a:lnTo>
                <a:lnTo>
                  <a:pt x="194" y="108"/>
                </a:lnTo>
                <a:lnTo>
                  <a:pt x="181" y="125"/>
                </a:lnTo>
                <a:lnTo>
                  <a:pt x="155" y="106"/>
                </a:lnTo>
                <a:lnTo>
                  <a:pt x="144" y="141"/>
                </a:lnTo>
                <a:lnTo>
                  <a:pt x="180" y="180"/>
                </a:lnTo>
                <a:lnTo>
                  <a:pt x="196" y="206"/>
                </a:lnTo>
                <a:lnTo>
                  <a:pt x="230" y="237"/>
                </a:lnTo>
                <a:lnTo>
                  <a:pt x="257" y="256"/>
                </a:lnTo>
                <a:lnTo>
                  <a:pt x="286" y="291"/>
                </a:lnTo>
                <a:lnTo>
                  <a:pt x="349" y="323"/>
                </a:lnTo>
                <a:lnTo>
                  <a:pt x="342" y="337"/>
                </a:lnTo>
                <a:lnTo>
                  <a:pt x="276" y="306"/>
                </a:lnTo>
                <a:lnTo>
                  <a:pt x="234" y="276"/>
                </a:lnTo>
                <a:lnTo>
                  <a:pt x="170" y="251"/>
                </a:lnTo>
                <a:lnTo>
                  <a:pt x="108" y="189"/>
                </a:lnTo>
                <a:lnTo>
                  <a:pt x="121" y="183"/>
                </a:lnTo>
                <a:lnTo>
                  <a:pt x="88" y="148"/>
                </a:lnTo>
                <a:lnTo>
                  <a:pt x="85" y="119"/>
                </a:lnTo>
                <a:lnTo>
                  <a:pt x="40" y="106"/>
                </a:lnTo>
                <a:lnTo>
                  <a:pt x="22" y="142"/>
                </a:lnTo>
                <a:lnTo>
                  <a:pt x="0" y="114"/>
                </a:lnTo>
                <a:lnTo>
                  <a:pt x="0" y="85"/>
                </a:lnTo>
                <a:lnTo>
                  <a:pt x="2" y="84"/>
                </a:lnTo>
                <a:lnTo>
                  <a:pt x="49" y="87"/>
                </a:lnTo>
                <a:lnTo>
                  <a:pt x="61" y="72"/>
                </a:lnTo>
                <a:lnTo>
                  <a:pt x="85" y="86"/>
                </a:lnTo>
                <a:lnTo>
                  <a:pt x="111" y="88"/>
                </a:lnTo>
                <a:lnTo>
                  <a:pt x="109" y="64"/>
                </a:lnTo>
                <a:lnTo>
                  <a:pt x="132" y="56"/>
                </a:lnTo>
                <a:lnTo>
                  <a:pt x="136" y="22"/>
                </a:lnTo>
                <a:lnTo>
                  <a:pt x="187" y="0"/>
                </a:lnTo>
                <a:lnTo>
                  <a:pt x="210" y="10"/>
                </a:lnTo>
                <a:lnTo>
                  <a:pt x="263" y="46"/>
                </a:lnTo>
                <a:lnTo>
                  <a:pt x="320" y="62"/>
                </a:lnTo>
                <a:lnTo>
                  <a:pt x="344" y="50"/>
                </a:lnTo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04" name="Freeform 85"/>
          <p:cNvSpPr>
            <a:spLocks/>
          </p:cNvSpPr>
          <p:nvPr/>
        </p:nvSpPr>
        <p:spPr bwMode="auto">
          <a:xfrm>
            <a:off x="1724176" y="2406696"/>
            <a:ext cx="421955" cy="291577"/>
          </a:xfrm>
          <a:custGeom>
            <a:avLst/>
            <a:gdLst>
              <a:gd name="T0" fmla="*/ 0 w 104"/>
              <a:gd name="T1" fmla="*/ 36 h 58"/>
              <a:gd name="T2" fmla="*/ 5 w 104"/>
              <a:gd name="T3" fmla="*/ 23 h 58"/>
              <a:gd name="T4" fmla="*/ 1 w 104"/>
              <a:gd name="T5" fmla="*/ 18 h 58"/>
              <a:gd name="T6" fmla="*/ 10 w 104"/>
              <a:gd name="T7" fmla="*/ 18 h 58"/>
              <a:gd name="T8" fmla="*/ 11 w 104"/>
              <a:gd name="T9" fmla="*/ 10 h 58"/>
              <a:gd name="T10" fmla="*/ 20 w 104"/>
              <a:gd name="T11" fmla="*/ 15 h 58"/>
              <a:gd name="T12" fmla="*/ 26 w 104"/>
              <a:gd name="T13" fmla="*/ 17 h 58"/>
              <a:gd name="T14" fmla="*/ 39 w 104"/>
              <a:gd name="T15" fmla="*/ 15 h 58"/>
              <a:gd name="T16" fmla="*/ 40 w 104"/>
              <a:gd name="T17" fmla="*/ 11 h 58"/>
              <a:gd name="T18" fmla="*/ 46 w 104"/>
              <a:gd name="T19" fmla="*/ 10 h 58"/>
              <a:gd name="T20" fmla="*/ 54 w 104"/>
              <a:gd name="T21" fmla="*/ 7 h 58"/>
              <a:gd name="T22" fmla="*/ 56 w 104"/>
              <a:gd name="T23" fmla="*/ 8 h 58"/>
              <a:gd name="T24" fmla="*/ 63 w 104"/>
              <a:gd name="T25" fmla="*/ 6 h 58"/>
              <a:gd name="T26" fmla="*/ 66 w 104"/>
              <a:gd name="T27" fmla="*/ 1 h 58"/>
              <a:gd name="T28" fmla="*/ 72 w 104"/>
              <a:gd name="T29" fmla="*/ 0 h 58"/>
              <a:gd name="T30" fmla="*/ 90 w 104"/>
              <a:gd name="T31" fmla="*/ 6 h 58"/>
              <a:gd name="T32" fmla="*/ 93 w 104"/>
              <a:gd name="T33" fmla="*/ 4 h 58"/>
              <a:gd name="T34" fmla="*/ 102 w 104"/>
              <a:gd name="T35" fmla="*/ 9 h 58"/>
              <a:gd name="T36" fmla="*/ 104 w 104"/>
              <a:gd name="T37" fmla="*/ 15 h 58"/>
              <a:gd name="T38" fmla="*/ 95 w 104"/>
              <a:gd name="T39" fmla="*/ 19 h 58"/>
              <a:gd name="T40" fmla="*/ 89 w 104"/>
              <a:gd name="T41" fmla="*/ 33 h 58"/>
              <a:gd name="T42" fmla="*/ 80 w 104"/>
              <a:gd name="T43" fmla="*/ 47 h 58"/>
              <a:gd name="T44" fmla="*/ 67 w 104"/>
              <a:gd name="T45" fmla="*/ 51 h 58"/>
              <a:gd name="T46" fmla="*/ 57 w 104"/>
              <a:gd name="T47" fmla="*/ 50 h 58"/>
              <a:gd name="T48" fmla="*/ 45 w 104"/>
              <a:gd name="T49" fmla="*/ 55 h 58"/>
              <a:gd name="T50" fmla="*/ 39 w 104"/>
              <a:gd name="T51" fmla="*/ 58 h 58"/>
              <a:gd name="T52" fmla="*/ 25 w 104"/>
              <a:gd name="T53" fmla="*/ 54 h 58"/>
              <a:gd name="T54" fmla="*/ 12 w 104"/>
              <a:gd name="T55" fmla="*/ 45 h 58"/>
              <a:gd name="T56" fmla="*/ 7 w 104"/>
              <a:gd name="T57" fmla="*/ 43 h 58"/>
              <a:gd name="T58" fmla="*/ 3 w 104"/>
              <a:gd name="T59" fmla="*/ 36 h 58"/>
              <a:gd name="T60" fmla="*/ 0 w 104"/>
              <a:gd name="T61" fmla="*/ 36 h 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04" h="58">
                <a:moveTo>
                  <a:pt x="0" y="36"/>
                </a:moveTo>
                <a:lnTo>
                  <a:pt x="5" y="23"/>
                </a:lnTo>
                <a:lnTo>
                  <a:pt x="1" y="18"/>
                </a:lnTo>
                <a:lnTo>
                  <a:pt x="10" y="18"/>
                </a:lnTo>
                <a:lnTo>
                  <a:pt x="11" y="10"/>
                </a:lnTo>
                <a:lnTo>
                  <a:pt x="20" y="15"/>
                </a:lnTo>
                <a:lnTo>
                  <a:pt x="26" y="17"/>
                </a:lnTo>
                <a:lnTo>
                  <a:pt x="39" y="15"/>
                </a:lnTo>
                <a:lnTo>
                  <a:pt x="40" y="11"/>
                </a:lnTo>
                <a:lnTo>
                  <a:pt x="46" y="10"/>
                </a:lnTo>
                <a:lnTo>
                  <a:pt x="54" y="7"/>
                </a:lnTo>
                <a:lnTo>
                  <a:pt x="56" y="8"/>
                </a:lnTo>
                <a:lnTo>
                  <a:pt x="63" y="6"/>
                </a:lnTo>
                <a:lnTo>
                  <a:pt x="66" y="1"/>
                </a:lnTo>
                <a:lnTo>
                  <a:pt x="72" y="0"/>
                </a:lnTo>
                <a:lnTo>
                  <a:pt x="90" y="6"/>
                </a:lnTo>
                <a:lnTo>
                  <a:pt x="93" y="4"/>
                </a:lnTo>
                <a:lnTo>
                  <a:pt x="102" y="9"/>
                </a:lnTo>
                <a:lnTo>
                  <a:pt x="104" y="15"/>
                </a:lnTo>
                <a:lnTo>
                  <a:pt x="95" y="19"/>
                </a:lnTo>
                <a:lnTo>
                  <a:pt x="89" y="33"/>
                </a:lnTo>
                <a:lnTo>
                  <a:pt x="80" y="47"/>
                </a:lnTo>
                <a:lnTo>
                  <a:pt x="67" y="51"/>
                </a:lnTo>
                <a:lnTo>
                  <a:pt x="57" y="50"/>
                </a:lnTo>
                <a:lnTo>
                  <a:pt x="45" y="55"/>
                </a:lnTo>
                <a:lnTo>
                  <a:pt x="39" y="58"/>
                </a:lnTo>
                <a:lnTo>
                  <a:pt x="25" y="54"/>
                </a:lnTo>
                <a:lnTo>
                  <a:pt x="12" y="45"/>
                </a:lnTo>
                <a:lnTo>
                  <a:pt x="7" y="43"/>
                </a:lnTo>
                <a:lnTo>
                  <a:pt x="3" y="36"/>
                </a:lnTo>
                <a:lnTo>
                  <a:pt x="0" y="36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05" name="Freeform 87"/>
          <p:cNvSpPr>
            <a:spLocks/>
          </p:cNvSpPr>
          <p:nvPr/>
        </p:nvSpPr>
        <p:spPr bwMode="auto">
          <a:xfrm>
            <a:off x="5611028" y="3759005"/>
            <a:ext cx="2044857" cy="2875539"/>
          </a:xfrm>
          <a:custGeom>
            <a:avLst/>
            <a:gdLst>
              <a:gd name="T0" fmla="*/ 149 w 504"/>
              <a:gd name="T1" fmla="*/ 42 h 572"/>
              <a:gd name="T2" fmla="*/ 148 w 504"/>
              <a:gd name="T3" fmla="*/ 60 h 572"/>
              <a:gd name="T4" fmla="*/ 206 w 504"/>
              <a:gd name="T5" fmla="*/ 110 h 572"/>
              <a:gd name="T6" fmla="*/ 212 w 504"/>
              <a:gd name="T7" fmla="*/ 147 h 572"/>
              <a:gd name="T8" fmla="*/ 282 w 504"/>
              <a:gd name="T9" fmla="*/ 172 h 572"/>
              <a:gd name="T10" fmla="*/ 330 w 504"/>
              <a:gd name="T11" fmla="*/ 189 h 572"/>
              <a:gd name="T12" fmla="*/ 340 w 504"/>
              <a:gd name="T13" fmla="*/ 167 h 572"/>
              <a:gd name="T14" fmla="*/ 355 w 504"/>
              <a:gd name="T15" fmla="*/ 170 h 572"/>
              <a:gd name="T16" fmla="*/ 384 w 504"/>
              <a:gd name="T17" fmla="*/ 179 h 572"/>
              <a:gd name="T18" fmla="*/ 412 w 504"/>
              <a:gd name="T19" fmla="*/ 167 h 572"/>
              <a:gd name="T20" fmla="*/ 430 w 504"/>
              <a:gd name="T21" fmla="*/ 142 h 572"/>
              <a:gd name="T22" fmla="*/ 474 w 504"/>
              <a:gd name="T23" fmla="*/ 126 h 572"/>
              <a:gd name="T24" fmla="*/ 501 w 504"/>
              <a:gd name="T25" fmla="*/ 150 h 572"/>
              <a:gd name="T26" fmla="*/ 504 w 504"/>
              <a:gd name="T27" fmla="*/ 175 h 572"/>
              <a:gd name="T28" fmla="*/ 473 w 504"/>
              <a:gd name="T29" fmla="*/ 197 h 572"/>
              <a:gd name="T30" fmla="*/ 463 w 504"/>
              <a:gd name="T31" fmla="*/ 242 h 572"/>
              <a:gd name="T32" fmla="*/ 449 w 504"/>
              <a:gd name="T33" fmla="*/ 266 h 572"/>
              <a:gd name="T34" fmla="*/ 429 w 504"/>
              <a:gd name="T35" fmla="*/ 247 h 572"/>
              <a:gd name="T36" fmla="*/ 412 w 504"/>
              <a:gd name="T37" fmla="*/ 249 h 572"/>
              <a:gd name="T38" fmla="*/ 428 w 504"/>
              <a:gd name="T39" fmla="*/ 219 h 572"/>
              <a:gd name="T40" fmla="*/ 383 w 504"/>
              <a:gd name="T41" fmla="*/ 212 h 572"/>
              <a:gd name="T42" fmla="*/ 354 w 504"/>
              <a:gd name="T43" fmla="*/ 188 h 572"/>
              <a:gd name="T44" fmla="*/ 356 w 504"/>
              <a:gd name="T45" fmla="*/ 221 h 572"/>
              <a:gd name="T46" fmla="*/ 364 w 504"/>
              <a:gd name="T47" fmla="*/ 246 h 572"/>
              <a:gd name="T48" fmla="*/ 378 w 504"/>
              <a:gd name="T49" fmla="*/ 287 h 572"/>
              <a:gd name="T50" fmla="*/ 347 w 504"/>
              <a:gd name="T51" fmla="*/ 306 h 572"/>
              <a:gd name="T52" fmla="*/ 298 w 504"/>
              <a:gd name="T53" fmla="*/ 357 h 572"/>
              <a:gd name="T54" fmla="*/ 271 w 504"/>
              <a:gd name="T55" fmla="*/ 394 h 572"/>
              <a:gd name="T56" fmla="*/ 238 w 504"/>
              <a:gd name="T57" fmla="*/ 407 h 572"/>
              <a:gd name="T58" fmla="*/ 243 w 504"/>
              <a:gd name="T59" fmla="*/ 467 h 572"/>
              <a:gd name="T60" fmla="*/ 230 w 504"/>
              <a:gd name="T61" fmla="*/ 523 h 572"/>
              <a:gd name="T62" fmla="*/ 212 w 504"/>
              <a:gd name="T63" fmla="*/ 552 h 572"/>
              <a:gd name="T64" fmla="*/ 181 w 504"/>
              <a:gd name="T65" fmla="*/ 553 h 572"/>
              <a:gd name="T66" fmla="*/ 156 w 504"/>
              <a:gd name="T67" fmla="*/ 493 h 572"/>
              <a:gd name="T68" fmla="*/ 134 w 504"/>
              <a:gd name="T69" fmla="*/ 434 h 572"/>
              <a:gd name="T70" fmla="*/ 95 w 504"/>
              <a:gd name="T71" fmla="*/ 338 h 572"/>
              <a:gd name="T72" fmla="*/ 61 w 504"/>
              <a:gd name="T73" fmla="*/ 306 h 572"/>
              <a:gd name="T74" fmla="*/ 29 w 504"/>
              <a:gd name="T75" fmla="*/ 271 h 572"/>
              <a:gd name="T76" fmla="*/ 10 w 504"/>
              <a:gd name="T77" fmla="*/ 231 h 572"/>
              <a:gd name="T78" fmla="*/ 31 w 504"/>
              <a:gd name="T79" fmla="*/ 203 h 572"/>
              <a:gd name="T80" fmla="*/ 29 w 504"/>
              <a:gd name="T81" fmla="*/ 156 h 572"/>
              <a:gd name="T82" fmla="*/ 72 w 504"/>
              <a:gd name="T83" fmla="*/ 115 h 572"/>
              <a:gd name="T84" fmla="*/ 94 w 504"/>
              <a:gd name="T85" fmla="*/ 67 h 572"/>
              <a:gd name="T86" fmla="*/ 58 w 504"/>
              <a:gd name="T87" fmla="*/ 25 h 572"/>
              <a:gd name="T88" fmla="*/ 110 w 504"/>
              <a:gd name="T89" fmla="*/ 18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504" h="572">
                <a:moveTo>
                  <a:pt x="122" y="0"/>
                </a:moveTo>
                <a:lnTo>
                  <a:pt x="147" y="25"/>
                </a:lnTo>
                <a:lnTo>
                  <a:pt x="149" y="42"/>
                </a:lnTo>
                <a:lnTo>
                  <a:pt x="159" y="52"/>
                </a:lnTo>
                <a:lnTo>
                  <a:pt x="161" y="63"/>
                </a:lnTo>
                <a:lnTo>
                  <a:pt x="148" y="60"/>
                </a:lnTo>
                <a:lnTo>
                  <a:pt x="158" y="83"/>
                </a:lnTo>
                <a:lnTo>
                  <a:pt x="178" y="96"/>
                </a:lnTo>
                <a:lnTo>
                  <a:pt x="206" y="110"/>
                </a:lnTo>
                <a:lnTo>
                  <a:pt x="197" y="120"/>
                </a:lnTo>
                <a:lnTo>
                  <a:pt x="194" y="139"/>
                </a:lnTo>
                <a:lnTo>
                  <a:pt x="212" y="147"/>
                </a:lnTo>
                <a:lnTo>
                  <a:pt x="231" y="157"/>
                </a:lnTo>
                <a:lnTo>
                  <a:pt x="257" y="169"/>
                </a:lnTo>
                <a:lnTo>
                  <a:pt x="282" y="172"/>
                </a:lnTo>
                <a:lnTo>
                  <a:pt x="294" y="182"/>
                </a:lnTo>
                <a:lnTo>
                  <a:pt x="308" y="184"/>
                </a:lnTo>
                <a:lnTo>
                  <a:pt x="330" y="189"/>
                </a:lnTo>
                <a:lnTo>
                  <a:pt x="345" y="189"/>
                </a:lnTo>
                <a:lnTo>
                  <a:pt x="346" y="181"/>
                </a:lnTo>
                <a:lnTo>
                  <a:pt x="340" y="167"/>
                </a:lnTo>
                <a:lnTo>
                  <a:pt x="340" y="158"/>
                </a:lnTo>
                <a:lnTo>
                  <a:pt x="350" y="154"/>
                </a:lnTo>
                <a:lnTo>
                  <a:pt x="355" y="170"/>
                </a:lnTo>
                <a:lnTo>
                  <a:pt x="356" y="174"/>
                </a:lnTo>
                <a:lnTo>
                  <a:pt x="374" y="182"/>
                </a:lnTo>
                <a:lnTo>
                  <a:pt x="384" y="179"/>
                </a:lnTo>
                <a:lnTo>
                  <a:pt x="400" y="181"/>
                </a:lnTo>
                <a:lnTo>
                  <a:pt x="414" y="180"/>
                </a:lnTo>
                <a:lnTo>
                  <a:pt x="412" y="167"/>
                </a:lnTo>
                <a:lnTo>
                  <a:pt x="404" y="161"/>
                </a:lnTo>
                <a:lnTo>
                  <a:pt x="418" y="158"/>
                </a:lnTo>
                <a:lnTo>
                  <a:pt x="430" y="142"/>
                </a:lnTo>
                <a:lnTo>
                  <a:pt x="447" y="129"/>
                </a:lnTo>
                <a:lnTo>
                  <a:pt x="463" y="134"/>
                </a:lnTo>
                <a:lnTo>
                  <a:pt x="474" y="126"/>
                </a:lnTo>
                <a:lnTo>
                  <a:pt x="485" y="139"/>
                </a:lnTo>
                <a:lnTo>
                  <a:pt x="481" y="147"/>
                </a:lnTo>
                <a:lnTo>
                  <a:pt x="501" y="150"/>
                </a:lnTo>
                <a:lnTo>
                  <a:pt x="504" y="158"/>
                </a:lnTo>
                <a:lnTo>
                  <a:pt x="499" y="162"/>
                </a:lnTo>
                <a:lnTo>
                  <a:pt x="504" y="175"/>
                </a:lnTo>
                <a:lnTo>
                  <a:pt x="490" y="171"/>
                </a:lnTo>
                <a:lnTo>
                  <a:pt x="470" y="185"/>
                </a:lnTo>
                <a:lnTo>
                  <a:pt x="473" y="197"/>
                </a:lnTo>
                <a:lnTo>
                  <a:pt x="467" y="215"/>
                </a:lnTo>
                <a:lnTo>
                  <a:pt x="468" y="225"/>
                </a:lnTo>
                <a:lnTo>
                  <a:pt x="463" y="242"/>
                </a:lnTo>
                <a:lnTo>
                  <a:pt x="449" y="237"/>
                </a:lnTo>
                <a:lnTo>
                  <a:pt x="452" y="259"/>
                </a:lnTo>
                <a:lnTo>
                  <a:pt x="449" y="266"/>
                </a:lnTo>
                <a:lnTo>
                  <a:pt x="452" y="274"/>
                </a:lnTo>
                <a:lnTo>
                  <a:pt x="444" y="280"/>
                </a:lnTo>
                <a:lnTo>
                  <a:pt x="429" y="247"/>
                </a:lnTo>
                <a:lnTo>
                  <a:pt x="424" y="247"/>
                </a:lnTo>
                <a:lnTo>
                  <a:pt x="424" y="260"/>
                </a:lnTo>
                <a:lnTo>
                  <a:pt x="412" y="249"/>
                </a:lnTo>
                <a:lnTo>
                  <a:pt x="415" y="237"/>
                </a:lnTo>
                <a:lnTo>
                  <a:pt x="423" y="236"/>
                </a:lnTo>
                <a:lnTo>
                  <a:pt x="428" y="219"/>
                </a:lnTo>
                <a:lnTo>
                  <a:pt x="417" y="215"/>
                </a:lnTo>
                <a:lnTo>
                  <a:pt x="400" y="215"/>
                </a:lnTo>
                <a:lnTo>
                  <a:pt x="383" y="212"/>
                </a:lnTo>
                <a:lnTo>
                  <a:pt x="378" y="198"/>
                </a:lnTo>
                <a:lnTo>
                  <a:pt x="370" y="197"/>
                </a:lnTo>
                <a:lnTo>
                  <a:pt x="354" y="188"/>
                </a:lnTo>
                <a:lnTo>
                  <a:pt x="350" y="202"/>
                </a:lnTo>
                <a:lnTo>
                  <a:pt x="366" y="213"/>
                </a:lnTo>
                <a:lnTo>
                  <a:pt x="356" y="221"/>
                </a:lnTo>
                <a:lnTo>
                  <a:pt x="353" y="228"/>
                </a:lnTo>
                <a:lnTo>
                  <a:pt x="365" y="234"/>
                </a:lnTo>
                <a:lnTo>
                  <a:pt x="364" y="246"/>
                </a:lnTo>
                <a:lnTo>
                  <a:pt x="373" y="262"/>
                </a:lnTo>
                <a:lnTo>
                  <a:pt x="379" y="279"/>
                </a:lnTo>
                <a:lnTo>
                  <a:pt x="378" y="287"/>
                </a:lnTo>
                <a:lnTo>
                  <a:pt x="365" y="286"/>
                </a:lnTo>
                <a:lnTo>
                  <a:pt x="344" y="291"/>
                </a:lnTo>
                <a:lnTo>
                  <a:pt x="347" y="306"/>
                </a:lnTo>
                <a:lnTo>
                  <a:pt x="339" y="319"/>
                </a:lnTo>
                <a:lnTo>
                  <a:pt x="315" y="333"/>
                </a:lnTo>
                <a:lnTo>
                  <a:pt x="298" y="357"/>
                </a:lnTo>
                <a:lnTo>
                  <a:pt x="286" y="370"/>
                </a:lnTo>
                <a:lnTo>
                  <a:pt x="270" y="384"/>
                </a:lnTo>
                <a:lnTo>
                  <a:pt x="271" y="394"/>
                </a:lnTo>
                <a:lnTo>
                  <a:pt x="262" y="399"/>
                </a:lnTo>
                <a:lnTo>
                  <a:pt x="246" y="406"/>
                </a:lnTo>
                <a:lnTo>
                  <a:pt x="238" y="407"/>
                </a:lnTo>
                <a:lnTo>
                  <a:pt x="234" y="423"/>
                </a:lnTo>
                <a:lnTo>
                  <a:pt x="241" y="450"/>
                </a:lnTo>
                <a:lnTo>
                  <a:pt x="243" y="467"/>
                </a:lnTo>
                <a:lnTo>
                  <a:pt x="237" y="487"/>
                </a:lnTo>
                <a:lnTo>
                  <a:pt x="239" y="522"/>
                </a:lnTo>
                <a:lnTo>
                  <a:pt x="230" y="523"/>
                </a:lnTo>
                <a:lnTo>
                  <a:pt x="222" y="539"/>
                </a:lnTo>
                <a:lnTo>
                  <a:pt x="228" y="546"/>
                </a:lnTo>
                <a:lnTo>
                  <a:pt x="212" y="552"/>
                </a:lnTo>
                <a:lnTo>
                  <a:pt x="206" y="566"/>
                </a:lnTo>
                <a:lnTo>
                  <a:pt x="199" y="572"/>
                </a:lnTo>
                <a:lnTo>
                  <a:pt x="181" y="553"/>
                </a:lnTo>
                <a:lnTo>
                  <a:pt x="171" y="523"/>
                </a:lnTo>
                <a:lnTo>
                  <a:pt x="163" y="503"/>
                </a:lnTo>
                <a:lnTo>
                  <a:pt x="156" y="493"/>
                </a:lnTo>
                <a:lnTo>
                  <a:pt x="144" y="473"/>
                </a:lnTo>
                <a:lnTo>
                  <a:pt x="138" y="447"/>
                </a:lnTo>
                <a:lnTo>
                  <a:pt x="134" y="434"/>
                </a:lnTo>
                <a:lnTo>
                  <a:pt x="115" y="405"/>
                </a:lnTo>
                <a:lnTo>
                  <a:pt x="103" y="365"/>
                </a:lnTo>
                <a:lnTo>
                  <a:pt x="95" y="338"/>
                </a:lnTo>
                <a:lnTo>
                  <a:pt x="92" y="313"/>
                </a:lnTo>
                <a:lnTo>
                  <a:pt x="86" y="294"/>
                </a:lnTo>
                <a:lnTo>
                  <a:pt x="61" y="306"/>
                </a:lnTo>
                <a:lnTo>
                  <a:pt x="48" y="304"/>
                </a:lnTo>
                <a:lnTo>
                  <a:pt x="22" y="279"/>
                </a:lnTo>
                <a:lnTo>
                  <a:pt x="29" y="271"/>
                </a:lnTo>
                <a:lnTo>
                  <a:pt x="23" y="263"/>
                </a:lnTo>
                <a:lnTo>
                  <a:pt x="0" y="245"/>
                </a:lnTo>
                <a:lnTo>
                  <a:pt x="10" y="231"/>
                </a:lnTo>
                <a:lnTo>
                  <a:pt x="49" y="231"/>
                </a:lnTo>
                <a:lnTo>
                  <a:pt x="43" y="213"/>
                </a:lnTo>
                <a:lnTo>
                  <a:pt x="31" y="203"/>
                </a:lnTo>
                <a:lnTo>
                  <a:pt x="27" y="187"/>
                </a:lnTo>
                <a:lnTo>
                  <a:pt x="13" y="178"/>
                </a:lnTo>
                <a:lnTo>
                  <a:pt x="29" y="156"/>
                </a:lnTo>
                <a:lnTo>
                  <a:pt x="50" y="158"/>
                </a:lnTo>
                <a:lnTo>
                  <a:pt x="65" y="136"/>
                </a:lnTo>
                <a:lnTo>
                  <a:pt x="72" y="115"/>
                </a:lnTo>
                <a:lnTo>
                  <a:pt x="85" y="94"/>
                </a:lnTo>
                <a:lnTo>
                  <a:pt x="81" y="79"/>
                </a:lnTo>
                <a:lnTo>
                  <a:pt x="94" y="67"/>
                </a:lnTo>
                <a:lnTo>
                  <a:pt x="77" y="57"/>
                </a:lnTo>
                <a:lnTo>
                  <a:pt x="68" y="43"/>
                </a:lnTo>
                <a:lnTo>
                  <a:pt x="58" y="25"/>
                </a:lnTo>
                <a:lnTo>
                  <a:pt x="64" y="16"/>
                </a:lnTo>
                <a:lnTo>
                  <a:pt x="92" y="21"/>
                </a:lnTo>
                <a:lnTo>
                  <a:pt x="110" y="18"/>
                </a:lnTo>
                <a:lnTo>
                  <a:pt x="122" y="0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06" name="Freeform 88"/>
          <p:cNvSpPr>
            <a:spLocks/>
          </p:cNvSpPr>
          <p:nvPr/>
        </p:nvSpPr>
        <p:spPr bwMode="auto">
          <a:xfrm>
            <a:off x="16071" y="1748138"/>
            <a:ext cx="255607" cy="346876"/>
          </a:xfrm>
          <a:custGeom>
            <a:avLst/>
            <a:gdLst>
              <a:gd name="T0" fmla="*/ 61 w 63"/>
              <a:gd name="T1" fmla="*/ 25 h 69"/>
              <a:gd name="T2" fmla="*/ 63 w 63"/>
              <a:gd name="T3" fmla="*/ 40 h 69"/>
              <a:gd name="T4" fmla="*/ 51 w 63"/>
              <a:gd name="T5" fmla="*/ 57 h 69"/>
              <a:gd name="T6" fmla="*/ 22 w 63"/>
              <a:gd name="T7" fmla="*/ 69 h 69"/>
              <a:gd name="T8" fmla="*/ 0 w 63"/>
              <a:gd name="T9" fmla="*/ 66 h 69"/>
              <a:gd name="T10" fmla="*/ 14 w 63"/>
              <a:gd name="T11" fmla="*/ 45 h 69"/>
              <a:gd name="T12" fmla="*/ 7 w 63"/>
              <a:gd name="T13" fmla="*/ 25 h 69"/>
              <a:gd name="T14" fmla="*/ 29 w 63"/>
              <a:gd name="T15" fmla="*/ 10 h 69"/>
              <a:gd name="T16" fmla="*/ 41 w 63"/>
              <a:gd name="T17" fmla="*/ 0 h 69"/>
              <a:gd name="T18" fmla="*/ 44 w 63"/>
              <a:gd name="T19" fmla="*/ 11 h 69"/>
              <a:gd name="T20" fmla="*/ 40 w 63"/>
              <a:gd name="T21" fmla="*/ 22 h 69"/>
              <a:gd name="T22" fmla="*/ 50 w 63"/>
              <a:gd name="T23" fmla="*/ 21 h 69"/>
              <a:gd name="T24" fmla="*/ 61 w 63"/>
              <a:gd name="T25" fmla="*/ 25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3" h="69">
                <a:moveTo>
                  <a:pt x="61" y="25"/>
                </a:moveTo>
                <a:lnTo>
                  <a:pt x="63" y="40"/>
                </a:lnTo>
                <a:lnTo>
                  <a:pt x="51" y="57"/>
                </a:lnTo>
                <a:lnTo>
                  <a:pt x="22" y="69"/>
                </a:lnTo>
                <a:lnTo>
                  <a:pt x="0" y="66"/>
                </a:lnTo>
                <a:lnTo>
                  <a:pt x="14" y="45"/>
                </a:lnTo>
                <a:lnTo>
                  <a:pt x="7" y="25"/>
                </a:lnTo>
                <a:lnTo>
                  <a:pt x="29" y="10"/>
                </a:lnTo>
                <a:lnTo>
                  <a:pt x="41" y="0"/>
                </a:lnTo>
                <a:lnTo>
                  <a:pt x="44" y="11"/>
                </a:lnTo>
                <a:lnTo>
                  <a:pt x="40" y="22"/>
                </a:lnTo>
                <a:lnTo>
                  <a:pt x="50" y="21"/>
                </a:lnTo>
                <a:lnTo>
                  <a:pt x="61" y="25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07" name="Freeform 89"/>
          <p:cNvSpPr>
            <a:spLocks/>
          </p:cNvSpPr>
          <p:nvPr/>
        </p:nvSpPr>
        <p:spPr bwMode="auto">
          <a:xfrm>
            <a:off x="3680372" y="3309236"/>
            <a:ext cx="1529587" cy="1523234"/>
          </a:xfrm>
          <a:custGeom>
            <a:avLst/>
            <a:gdLst>
              <a:gd name="T0" fmla="*/ 190 w 377"/>
              <a:gd name="T1" fmla="*/ 48 h 303"/>
              <a:gd name="T2" fmla="*/ 211 w 377"/>
              <a:gd name="T3" fmla="*/ 37 h 303"/>
              <a:gd name="T4" fmla="*/ 231 w 377"/>
              <a:gd name="T5" fmla="*/ 35 h 303"/>
              <a:gd name="T6" fmla="*/ 266 w 377"/>
              <a:gd name="T7" fmla="*/ 48 h 303"/>
              <a:gd name="T8" fmla="*/ 302 w 377"/>
              <a:gd name="T9" fmla="*/ 67 h 303"/>
              <a:gd name="T10" fmla="*/ 306 w 377"/>
              <a:gd name="T11" fmla="*/ 110 h 303"/>
              <a:gd name="T12" fmla="*/ 312 w 377"/>
              <a:gd name="T13" fmla="*/ 128 h 303"/>
              <a:gd name="T14" fmla="*/ 315 w 377"/>
              <a:gd name="T15" fmla="*/ 156 h 303"/>
              <a:gd name="T16" fmla="*/ 333 w 377"/>
              <a:gd name="T17" fmla="*/ 173 h 303"/>
              <a:gd name="T18" fmla="*/ 324 w 377"/>
              <a:gd name="T19" fmla="*/ 205 h 303"/>
              <a:gd name="T20" fmla="*/ 343 w 377"/>
              <a:gd name="T21" fmla="*/ 228 h 303"/>
              <a:gd name="T22" fmla="*/ 365 w 377"/>
              <a:gd name="T23" fmla="*/ 256 h 303"/>
              <a:gd name="T24" fmla="*/ 377 w 377"/>
              <a:gd name="T25" fmla="*/ 268 h 303"/>
              <a:gd name="T26" fmla="*/ 349 w 377"/>
              <a:gd name="T27" fmla="*/ 303 h 303"/>
              <a:gd name="T28" fmla="*/ 295 w 377"/>
              <a:gd name="T29" fmla="*/ 292 h 303"/>
              <a:gd name="T30" fmla="*/ 264 w 377"/>
              <a:gd name="T31" fmla="*/ 264 h 303"/>
              <a:gd name="T32" fmla="*/ 241 w 377"/>
              <a:gd name="T33" fmla="*/ 264 h 303"/>
              <a:gd name="T34" fmla="*/ 202 w 377"/>
              <a:gd name="T35" fmla="*/ 268 h 303"/>
              <a:gd name="T36" fmla="*/ 164 w 377"/>
              <a:gd name="T37" fmla="*/ 246 h 303"/>
              <a:gd name="T38" fmla="*/ 133 w 377"/>
              <a:gd name="T39" fmla="*/ 198 h 303"/>
              <a:gd name="T40" fmla="*/ 112 w 377"/>
              <a:gd name="T41" fmla="*/ 195 h 303"/>
              <a:gd name="T42" fmla="*/ 96 w 377"/>
              <a:gd name="T43" fmla="*/ 192 h 303"/>
              <a:gd name="T44" fmla="*/ 88 w 377"/>
              <a:gd name="T45" fmla="*/ 181 h 303"/>
              <a:gd name="T46" fmla="*/ 78 w 377"/>
              <a:gd name="T47" fmla="*/ 150 h 303"/>
              <a:gd name="T48" fmla="*/ 40 w 377"/>
              <a:gd name="T49" fmla="*/ 119 h 303"/>
              <a:gd name="T50" fmla="*/ 49 w 377"/>
              <a:gd name="T51" fmla="*/ 96 h 303"/>
              <a:gd name="T52" fmla="*/ 34 w 377"/>
              <a:gd name="T53" fmla="*/ 77 h 303"/>
              <a:gd name="T54" fmla="*/ 7 w 377"/>
              <a:gd name="T55" fmla="*/ 36 h 303"/>
              <a:gd name="T56" fmla="*/ 0 w 377"/>
              <a:gd name="T57" fmla="*/ 6 h 303"/>
              <a:gd name="T58" fmla="*/ 15 w 377"/>
              <a:gd name="T59" fmla="*/ 8 h 303"/>
              <a:gd name="T60" fmla="*/ 37 w 377"/>
              <a:gd name="T61" fmla="*/ 20 h 303"/>
              <a:gd name="T62" fmla="*/ 60 w 377"/>
              <a:gd name="T63" fmla="*/ 5 h 303"/>
              <a:gd name="T64" fmla="*/ 73 w 377"/>
              <a:gd name="T65" fmla="*/ 9 h 303"/>
              <a:gd name="T66" fmla="*/ 81 w 377"/>
              <a:gd name="T67" fmla="*/ 30 h 303"/>
              <a:gd name="T68" fmla="*/ 93 w 377"/>
              <a:gd name="T69" fmla="*/ 44 h 303"/>
              <a:gd name="T70" fmla="*/ 124 w 377"/>
              <a:gd name="T71" fmla="*/ 59 h 303"/>
              <a:gd name="T72" fmla="*/ 175 w 377"/>
              <a:gd name="T73" fmla="*/ 57 h 3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377" h="303">
                <a:moveTo>
                  <a:pt x="176" y="52"/>
                </a:moveTo>
                <a:lnTo>
                  <a:pt x="190" y="48"/>
                </a:lnTo>
                <a:lnTo>
                  <a:pt x="200" y="36"/>
                </a:lnTo>
                <a:lnTo>
                  <a:pt x="211" y="37"/>
                </a:lnTo>
                <a:lnTo>
                  <a:pt x="218" y="33"/>
                </a:lnTo>
                <a:lnTo>
                  <a:pt x="231" y="35"/>
                </a:lnTo>
                <a:lnTo>
                  <a:pt x="252" y="45"/>
                </a:lnTo>
                <a:lnTo>
                  <a:pt x="266" y="48"/>
                </a:lnTo>
                <a:lnTo>
                  <a:pt x="289" y="66"/>
                </a:lnTo>
                <a:lnTo>
                  <a:pt x="302" y="67"/>
                </a:lnTo>
                <a:lnTo>
                  <a:pt x="308" y="84"/>
                </a:lnTo>
                <a:lnTo>
                  <a:pt x="306" y="110"/>
                </a:lnTo>
                <a:lnTo>
                  <a:pt x="304" y="125"/>
                </a:lnTo>
                <a:lnTo>
                  <a:pt x="312" y="128"/>
                </a:lnTo>
                <a:lnTo>
                  <a:pt x="307" y="139"/>
                </a:lnTo>
                <a:lnTo>
                  <a:pt x="315" y="156"/>
                </a:lnTo>
                <a:lnTo>
                  <a:pt x="319" y="169"/>
                </a:lnTo>
                <a:lnTo>
                  <a:pt x="333" y="173"/>
                </a:lnTo>
                <a:lnTo>
                  <a:pt x="337" y="186"/>
                </a:lnTo>
                <a:lnTo>
                  <a:pt x="324" y="205"/>
                </a:lnTo>
                <a:lnTo>
                  <a:pt x="334" y="216"/>
                </a:lnTo>
                <a:lnTo>
                  <a:pt x="343" y="228"/>
                </a:lnTo>
                <a:lnTo>
                  <a:pt x="362" y="237"/>
                </a:lnTo>
                <a:lnTo>
                  <a:pt x="365" y="256"/>
                </a:lnTo>
                <a:lnTo>
                  <a:pt x="374" y="259"/>
                </a:lnTo>
                <a:lnTo>
                  <a:pt x="377" y="268"/>
                </a:lnTo>
                <a:lnTo>
                  <a:pt x="353" y="279"/>
                </a:lnTo>
                <a:lnTo>
                  <a:pt x="349" y="303"/>
                </a:lnTo>
                <a:lnTo>
                  <a:pt x="315" y="297"/>
                </a:lnTo>
                <a:lnTo>
                  <a:pt x="295" y="292"/>
                </a:lnTo>
                <a:lnTo>
                  <a:pt x="274" y="290"/>
                </a:lnTo>
                <a:lnTo>
                  <a:pt x="264" y="264"/>
                </a:lnTo>
                <a:lnTo>
                  <a:pt x="255" y="260"/>
                </a:lnTo>
                <a:lnTo>
                  <a:pt x="241" y="264"/>
                </a:lnTo>
                <a:lnTo>
                  <a:pt x="225" y="274"/>
                </a:lnTo>
                <a:lnTo>
                  <a:pt x="202" y="268"/>
                </a:lnTo>
                <a:lnTo>
                  <a:pt x="182" y="251"/>
                </a:lnTo>
                <a:lnTo>
                  <a:pt x="164" y="246"/>
                </a:lnTo>
                <a:lnTo>
                  <a:pt x="150" y="226"/>
                </a:lnTo>
                <a:lnTo>
                  <a:pt x="133" y="198"/>
                </a:lnTo>
                <a:lnTo>
                  <a:pt x="124" y="202"/>
                </a:lnTo>
                <a:lnTo>
                  <a:pt x="112" y="195"/>
                </a:lnTo>
                <a:lnTo>
                  <a:pt x="107" y="203"/>
                </a:lnTo>
                <a:lnTo>
                  <a:pt x="96" y="192"/>
                </a:lnTo>
                <a:lnTo>
                  <a:pt x="94" y="181"/>
                </a:lnTo>
                <a:lnTo>
                  <a:pt x="88" y="181"/>
                </a:lnTo>
                <a:lnTo>
                  <a:pt x="89" y="166"/>
                </a:lnTo>
                <a:lnTo>
                  <a:pt x="78" y="150"/>
                </a:lnTo>
                <a:lnTo>
                  <a:pt x="55" y="139"/>
                </a:lnTo>
                <a:lnTo>
                  <a:pt x="40" y="119"/>
                </a:lnTo>
                <a:lnTo>
                  <a:pt x="42" y="103"/>
                </a:lnTo>
                <a:lnTo>
                  <a:pt x="49" y="96"/>
                </a:lnTo>
                <a:lnTo>
                  <a:pt x="46" y="84"/>
                </a:lnTo>
                <a:lnTo>
                  <a:pt x="34" y="77"/>
                </a:lnTo>
                <a:lnTo>
                  <a:pt x="19" y="53"/>
                </a:lnTo>
                <a:lnTo>
                  <a:pt x="7" y="36"/>
                </a:lnTo>
                <a:lnTo>
                  <a:pt x="9" y="30"/>
                </a:lnTo>
                <a:lnTo>
                  <a:pt x="0" y="6"/>
                </a:lnTo>
                <a:lnTo>
                  <a:pt x="11" y="0"/>
                </a:lnTo>
                <a:lnTo>
                  <a:pt x="15" y="8"/>
                </a:lnTo>
                <a:lnTo>
                  <a:pt x="25" y="18"/>
                </a:lnTo>
                <a:lnTo>
                  <a:pt x="37" y="20"/>
                </a:lnTo>
                <a:lnTo>
                  <a:pt x="43" y="20"/>
                </a:lnTo>
                <a:lnTo>
                  <a:pt x="60" y="5"/>
                </a:lnTo>
                <a:lnTo>
                  <a:pt x="67" y="3"/>
                </a:lnTo>
                <a:lnTo>
                  <a:pt x="73" y="9"/>
                </a:lnTo>
                <a:lnTo>
                  <a:pt x="69" y="19"/>
                </a:lnTo>
                <a:lnTo>
                  <a:pt x="81" y="30"/>
                </a:lnTo>
                <a:lnTo>
                  <a:pt x="85" y="29"/>
                </a:lnTo>
                <a:lnTo>
                  <a:pt x="93" y="44"/>
                </a:lnTo>
                <a:lnTo>
                  <a:pt x="110" y="49"/>
                </a:lnTo>
                <a:lnTo>
                  <a:pt x="124" y="59"/>
                </a:lnTo>
                <a:lnTo>
                  <a:pt x="149" y="63"/>
                </a:lnTo>
                <a:lnTo>
                  <a:pt x="175" y="57"/>
                </a:lnTo>
                <a:lnTo>
                  <a:pt x="176" y="52"/>
                </a:lnTo>
                <a:close/>
              </a:path>
            </a:pathLst>
          </a:custGeom>
          <a:solidFill>
            <a:srgbClr val="92D050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08" name="Freeform 90"/>
          <p:cNvSpPr>
            <a:spLocks/>
          </p:cNvSpPr>
          <p:nvPr/>
        </p:nvSpPr>
        <p:spPr bwMode="auto">
          <a:xfrm>
            <a:off x="3395767" y="3562945"/>
            <a:ext cx="730307" cy="864672"/>
          </a:xfrm>
          <a:custGeom>
            <a:avLst/>
            <a:gdLst>
              <a:gd name="T0" fmla="*/ 107 w 180"/>
              <a:gd name="T1" fmla="*/ 29 h 172"/>
              <a:gd name="T2" fmla="*/ 119 w 180"/>
              <a:gd name="T3" fmla="*/ 36 h 172"/>
              <a:gd name="T4" fmla="*/ 122 w 180"/>
              <a:gd name="T5" fmla="*/ 48 h 172"/>
              <a:gd name="T6" fmla="*/ 115 w 180"/>
              <a:gd name="T7" fmla="*/ 55 h 172"/>
              <a:gd name="T8" fmla="*/ 113 w 180"/>
              <a:gd name="T9" fmla="*/ 71 h 172"/>
              <a:gd name="T10" fmla="*/ 128 w 180"/>
              <a:gd name="T11" fmla="*/ 91 h 172"/>
              <a:gd name="T12" fmla="*/ 151 w 180"/>
              <a:gd name="T13" fmla="*/ 102 h 172"/>
              <a:gd name="T14" fmla="*/ 162 w 180"/>
              <a:gd name="T15" fmla="*/ 118 h 172"/>
              <a:gd name="T16" fmla="*/ 161 w 180"/>
              <a:gd name="T17" fmla="*/ 133 h 172"/>
              <a:gd name="T18" fmla="*/ 167 w 180"/>
              <a:gd name="T19" fmla="*/ 133 h 172"/>
              <a:gd name="T20" fmla="*/ 169 w 180"/>
              <a:gd name="T21" fmla="*/ 144 h 172"/>
              <a:gd name="T22" fmla="*/ 180 w 180"/>
              <a:gd name="T23" fmla="*/ 155 h 172"/>
              <a:gd name="T24" fmla="*/ 169 w 180"/>
              <a:gd name="T25" fmla="*/ 154 h 172"/>
              <a:gd name="T26" fmla="*/ 157 w 180"/>
              <a:gd name="T27" fmla="*/ 152 h 172"/>
              <a:gd name="T28" fmla="*/ 147 w 180"/>
              <a:gd name="T29" fmla="*/ 172 h 172"/>
              <a:gd name="T30" fmla="*/ 114 w 180"/>
              <a:gd name="T31" fmla="*/ 170 h 172"/>
              <a:gd name="T32" fmla="*/ 59 w 180"/>
              <a:gd name="T33" fmla="*/ 129 h 172"/>
              <a:gd name="T34" fmla="*/ 31 w 180"/>
              <a:gd name="T35" fmla="*/ 114 h 172"/>
              <a:gd name="T36" fmla="*/ 10 w 180"/>
              <a:gd name="T37" fmla="*/ 109 h 172"/>
              <a:gd name="T38" fmla="*/ 0 w 180"/>
              <a:gd name="T39" fmla="*/ 83 h 172"/>
              <a:gd name="T40" fmla="*/ 35 w 180"/>
              <a:gd name="T41" fmla="*/ 62 h 172"/>
              <a:gd name="T42" fmla="*/ 38 w 180"/>
              <a:gd name="T43" fmla="*/ 37 h 172"/>
              <a:gd name="T44" fmla="*/ 35 w 180"/>
              <a:gd name="T45" fmla="*/ 22 h 172"/>
              <a:gd name="T46" fmla="*/ 43 w 180"/>
              <a:gd name="T47" fmla="*/ 17 h 172"/>
              <a:gd name="T48" fmla="*/ 50 w 180"/>
              <a:gd name="T49" fmla="*/ 4 h 172"/>
              <a:gd name="T50" fmla="*/ 57 w 180"/>
              <a:gd name="T51" fmla="*/ 0 h 172"/>
              <a:gd name="T52" fmla="*/ 78 w 180"/>
              <a:gd name="T53" fmla="*/ 3 h 172"/>
              <a:gd name="T54" fmla="*/ 84 w 180"/>
              <a:gd name="T55" fmla="*/ 8 h 172"/>
              <a:gd name="T56" fmla="*/ 92 w 180"/>
              <a:gd name="T57" fmla="*/ 5 h 172"/>
              <a:gd name="T58" fmla="*/ 107 w 180"/>
              <a:gd name="T59" fmla="*/ 29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80" h="172">
                <a:moveTo>
                  <a:pt x="107" y="29"/>
                </a:moveTo>
                <a:lnTo>
                  <a:pt x="119" y="36"/>
                </a:lnTo>
                <a:lnTo>
                  <a:pt x="122" y="48"/>
                </a:lnTo>
                <a:lnTo>
                  <a:pt x="115" y="55"/>
                </a:lnTo>
                <a:lnTo>
                  <a:pt x="113" y="71"/>
                </a:lnTo>
                <a:lnTo>
                  <a:pt x="128" y="91"/>
                </a:lnTo>
                <a:lnTo>
                  <a:pt x="151" y="102"/>
                </a:lnTo>
                <a:lnTo>
                  <a:pt x="162" y="118"/>
                </a:lnTo>
                <a:lnTo>
                  <a:pt x="161" y="133"/>
                </a:lnTo>
                <a:lnTo>
                  <a:pt x="167" y="133"/>
                </a:lnTo>
                <a:lnTo>
                  <a:pt x="169" y="144"/>
                </a:lnTo>
                <a:lnTo>
                  <a:pt x="180" y="155"/>
                </a:lnTo>
                <a:lnTo>
                  <a:pt x="169" y="154"/>
                </a:lnTo>
                <a:lnTo>
                  <a:pt x="157" y="152"/>
                </a:lnTo>
                <a:lnTo>
                  <a:pt x="147" y="172"/>
                </a:lnTo>
                <a:lnTo>
                  <a:pt x="114" y="170"/>
                </a:lnTo>
                <a:lnTo>
                  <a:pt x="59" y="129"/>
                </a:lnTo>
                <a:lnTo>
                  <a:pt x="31" y="114"/>
                </a:lnTo>
                <a:lnTo>
                  <a:pt x="10" y="109"/>
                </a:lnTo>
                <a:lnTo>
                  <a:pt x="0" y="83"/>
                </a:lnTo>
                <a:lnTo>
                  <a:pt x="35" y="62"/>
                </a:lnTo>
                <a:lnTo>
                  <a:pt x="38" y="37"/>
                </a:lnTo>
                <a:lnTo>
                  <a:pt x="35" y="22"/>
                </a:lnTo>
                <a:lnTo>
                  <a:pt x="43" y="17"/>
                </a:lnTo>
                <a:lnTo>
                  <a:pt x="50" y="4"/>
                </a:lnTo>
                <a:lnTo>
                  <a:pt x="57" y="0"/>
                </a:lnTo>
                <a:lnTo>
                  <a:pt x="78" y="3"/>
                </a:lnTo>
                <a:lnTo>
                  <a:pt x="84" y="8"/>
                </a:lnTo>
                <a:lnTo>
                  <a:pt x="92" y="5"/>
                </a:lnTo>
                <a:lnTo>
                  <a:pt x="107" y="29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09" name="Freeform 91"/>
          <p:cNvSpPr>
            <a:spLocks/>
          </p:cNvSpPr>
          <p:nvPr/>
        </p:nvSpPr>
        <p:spPr bwMode="auto">
          <a:xfrm>
            <a:off x="-714236" y="657242"/>
            <a:ext cx="600474" cy="281522"/>
          </a:xfrm>
          <a:custGeom>
            <a:avLst/>
            <a:gdLst>
              <a:gd name="T0" fmla="*/ 138 w 148"/>
              <a:gd name="T1" fmla="*/ 1 h 56"/>
              <a:gd name="T2" fmla="*/ 133 w 148"/>
              <a:gd name="T3" fmla="*/ 13 h 56"/>
              <a:gd name="T4" fmla="*/ 148 w 148"/>
              <a:gd name="T5" fmla="*/ 25 h 56"/>
              <a:gd name="T6" fmla="*/ 128 w 148"/>
              <a:gd name="T7" fmla="*/ 39 h 56"/>
              <a:gd name="T8" fmla="*/ 85 w 148"/>
              <a:gd name="T9" fmla="*/ 52 h 56"/>
              <a:gd name="T10" fmla="*/ 73 w 148"/>
              <a:gd name="T11" fmla="*/ 56 h 56"/>
              <a:gd name="T12" fmla="*/ 54 w 148"/>
              <a:gd name="T13" fmla="*/ 53 h 56"/>
              <a:gd name="T14" fmla="*/ 16 w 148"/>
              <a:gd name="T15" fmla="*/ 47 h 56"/>
              <a:gd name="T16" fmla="*/ 31 w 148"/>
              <a:gd name="T17" fmla="*/ 39 h 56"/>
              <a:gd name="T18" fmla="*/ 2 w 148"/>
              <a:gd name="T19" fmla="*/ 30 h 56"/>
              <a:gd name="T20" fmla="*/ 28 w 148"/>
              <a:gd name="T21" fmla="*/ 26 h 56"/>
              <a:gd name="T22" fmla="*/ 28 w 148"/>
              <a:gd name="T23" fmla="*/ 21 h 56"/>
              <a:gd name="T24" fmla="*/ 0 w 148"/>
              <a:gd name="T25" fmla="*/ 17 h 56"/>
              <a:gd name="T26" fmla="*/ 12 w 148"/>
              <a:gd name="T27" fmla="*/ 5 h 56"/>
              <a:gd name="T28" fmla="*/ 33 w 148"/>
              <a:gd name="T29" fmla="*/ 2 h 56"/>
              <a:gd name="T30" fmla="*/ 52 w 148"/>
              <a:gd name="T31" fmla="*/ 14 h 56"/>
              <a:gd name="T32" fmla="*/ 75 w 148"/>
              <a:gd name="T33" fmla="*/ 4 h 56"/>
              <a:gd name="T34" fmla="*/ 91 w 148"/>
              <a:gd name="T35" fmla="*/ 9 h 56"/>
              <a:gd name="T36" fmla="*/ 115 w 148"/>
              <a:gd name="T37" fmla="*/ 0 h 56"/>
              <a:gd name="T38" fmla="*/ 138 w 148"/>
              <a:gd name="T39" fmla="*/ 1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8" h="56">
                <a:moveTo>
                  <a:pt x="138" y="1"/>
                </a:moveTo>
                <a:lnTo>
                  <a:pt x="133" y="13"/>
                </a:lnTo>
                <a:lnTo>
                  <a:pt x="148" y="25"/>
                </a:lnTo>
                <a:lnTo>
                  <a:pt x="128" y="39"/>
                </a:lnTo>
                <a:lnTo>
                  <a:pt x="85" y="52"/>
                </a:lnTo>
                <a:lnTo>
                  <a:pt x="73" y="56"/>
                </a:lnTo>
                <a:lnTo>
                  <a:pt x="54" y="53"/>
                </a:lnTo>
                <a:lnTo>
                  <a:pt x="16" y="47"/>
                </a:lnTo>
                <a:lnTo>
                  <a:pt x="31" y="39"/>
                </a:lnTo>
                <a:lnTo>
                  <a:pt x="2" y="30"/>
                </a:lnTo>
                <a:lnTo>
                  <a:pt x="28" y="26"/>
                </a:lnTo>
                <a:lnTo>
                  <a:pt x="28" y="21"/>
                </a:lnTo>
                <a:lnTo>
                  <a:pt x="0" y="17"/>
                </a:lnTo>
                <a:lnTo>
                  <a:pt x="12" y="5"/>
                </a:lnTo>
                <a:lnTo>
                  <a:pt x="33" y="2"/>
                </a:lnTo>
                <a:lnTo>
                  <a:pt x="52" y="14"/>
                </a:lnTo>
                <a:lnTo>
                  <a:pt x="75" y="4"/>
                </a:lnTo>
                <a:lnTo>
                  <a:pt x="91" y="9"/>
                </a:lnTo>
                <a:lnTo>
                  <a:pt x="115" y="0"/>
                </a:lnTo>
                <a:lnTo>
                  <a:pt x="138" y="1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10" name="Freeform 92"/>
          <p:cNvSpPr>
            <a:spLocks/>
          </p:cNvSpPr>
          <p:nvPr/>
        </p:nvSpPr>
        <p:spPr bwMode="auto">
          <a:xfrm>
            <a:off x="3091471" y="3990254"/>
            <a:ext cx="97374" cy="397149"/>
          </a:xfrm>
          <a:custGeom>
            <a:avLst/>
            <a:gdLst>
              <a:gd name="T0" fmla="*/ 23 w 24"/>
              <a:gd name="T1" fmla="*/ 12 h 79"/>
              <a:gd name="T2" fmla="*/ 20 w 24"/>
              <a:gd name="T3" fmla="*/ 19 h 79"/>
              <a:gd name="T4" fmla="*/ 14 w 24"/>
              <a:gd name="T5" fmla="*/ 16 h 79"/>
              <a:gd name="T6" fmla="*/ 11 w 24"/>
              <a:gd name="T7" fmla="*/ 30 h 79"/>
              <a:gd name="T8" fmla="*/ 16 w 24"/>
              <a:gd name="T9" fmla="*/ 32 h 79"/>
              <a:gd name="T10" fmla="*/ 12 w 24"/>
              <a:gd name="T11" fmla="*/ 35 h 79"/>
              <a:gd name="T12" fmla="*/ 12 w 24"/>
              <a:gd name="T13" fmla="*/ 40 h 79"/>
              <a:gd name="T14" fmla="*/ 20 w 24"/>
              <a:gd name="T15" fmla="*/ 37 h 79"/>
              <a:gd name="T16" fmla="*/ 21 w 24"/>
              <a:gd name="T17" fmla="*/ 45 h 79"/>
              <a:gd name="T18" fmla="*/ 15 w 24"/>
              <a:gd name="T19" fmla="*/ 79 h 79"/>
              <a:gd name="T20" fmla="*/ 0 w 24"/>
              <a:gd name="T21" fmla="*/ 43 h 79"/>
              <a:gd name="T22" fmla="*/ 5 w 24"/>
              <a:gd name="T23" fmla="*/ 36 h 79"/>
              <a:gd name="T24" fmla="*/ 3 w 24"/>
              <a:gd name="T25" fmla="*/ 35 h 79"/>
              <a:gd name="T26" fmla="*/ 7 w 24"/>
              <a:gd name="T27" fmla="*/ 25 h 79"/>
              <a:gd name="T28" fmla="*/ 9 w 24"/>
              <a:gd name="T29" fmla="*/ 10 h 79"/>
              <a:gd name="T30" fmla="*/ 11 w 24"/>
              <a:gd name="T31" fmla="*/ 4 h 79"/>
              <a:gd name="T32" fmla="*/ 11 w 24"/>
              <a:gd name="T33" fmla="*/ 4 h 79"/>
              <a:gd name="T34" fmla="*/ 17 w 24"/>
              <a:gd name="T35" fmla="*/ 4 h 79"/>
              <a:gd name="T36" fmla="*/ 18 w 24"/>
              <a:gd name="T37" fmla="*/ 1 h 79"/>
              <a:gd name="T38" fmla="*/ 23 w 24"/>
              <a:gd name="T39" fmla="*/ 0 h 79"/>
              <a:gd name="T40" fmla="*/ 24 w 24"/>
              <a:gd name="T41" fmla="*/ 9 h 79"/>
              <a:gd name="T42" fmla="*/ 22 w 24"/>
              <a:gd name="T43" fmla="*/ 12 h 79"/>
              <a:gd name="T44" fmla="*/ 23 w 24"/>
              <a:gd name="T45" fmla="*/ 12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4" h="79">
                <a:moveTo>
                  <a:pt x="23" y="12"/>
                </a:moveTo>
                <a:lnTo>
                  <a:pt x="20" y="19"/>
                </a:lnTo>
                <a:lnTo>
                  <a:pt x="14" y="16"/>
                </a:lnTo>
                <a:lnTo>
                  <a:pt x="11" y="30"/>
                </a:lnTo>
                <a:lnTo>
                  <a:pt x="16" y="32"/>
                </a:lnTo>
                <a:lnTo>
                  <a:pt x="12" y="35"/>
                </a:lnTo>
                <a:lnTo>
                  <a:pt x="12" y="40"/>
                </a:lnTo>
                <a:lnTo>
                  <a:pt x="20" y="37"/>
                </a:lnTo>
                <a:lnTo>
                  <a:pt x="21" y="45"/>
                </a:lnTo>
                <a:lnTo>
                  <a:pt x="15" y="79"/>
                </a:lnTo>
                <a:lnTo>
                  <a:pt x="0" y="43"/>
                </a:lnTo>
                <a:lnTo>
                  <a:pt x="5" y="36"/>
                </a:lnTo>
                <a:lnTo>
                  <a:pt x="3" y="35"/>
                </a:lnTo>
                <a:lnTo>
                  <a:pt x="7" y="25"/>
                </a:lnTo>
                <a:lnTo>
                  <a:pt x="9" y="10"/>
                </a:lnTo>
                <a:lnTo>
                  <a:pt x="11" y="4"/>
                </a:lnTo>
                <a:lnTo>
                  <a:pt x="11" y="4"/>
                </a:lnTo>
                <a:lnTo>
                  <a:pt x="17" y="4"/>
                </a:lnTo>
                <a:lnTo>
                  <a:pt x="18" y="1"/>
                </a:lnTo>
                <a:lnTo>
                  <a:pt x="23" y="0"/>
                </a:lnTo>
                <a:lnTo>
                  <a:pt x="24" y="9"/>
                </a:lnTo>
                <a:lnTo>
                  <a:pt x="22" y="12"/>
                </a:lnTo>
                <a:lnTo>
                  <a:pt x="23" y="12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11" name="Freeform 93"/>
          <p:cNvSpPr>
            <a:spLocks/>
          </p:cNvSpPr>
          <p:nvPr/>
        </p:nvSpPr>
        <p:spPr bwMode="auto">
          <a:xfrm>
            <a:off x="1517254" y="3477483"/>
            <a:ext cx="210978" cy="165900"/>
          </a:xfrm>
          <a:custGeom>
            <a:avLst/>
            <a:gdLst>
              <a:gd name="T0" fmla="*/ 52 w 52"/>
              <a:gd name="T1" fmla="*/ 0 h 33"/>
              <a:gd name="T2" fmla="*/ 47 w 52"/>
              <a:gd name="T3" fmla="*/ 16 h 33"/>
              <a:gd name="T4" fmla="*/ 50 w 52"/>
              <a:gd name="T5" fmla="*/ 23 h 33"/>
              <a:gd name="T6" fmla="*/ 47 w 52"/>
              <a:gd name="T7" fmla="*/ 33 h 33"/>
              <a:gd name="T8" fmla="*/ 33 w 52"/>
              <a:gd name="T9" fmla="*/ 25 h 33"/>
              <a:gd name="T10" fmla="*/ 24 w 52"/>
              <a:gd name="T11" fmla="*/ 23 h 33"/>
              <a:gd name="T12" fmla="*/ 0 w 52"/>
              <a:gd name="T13" fmla="*/ 13 h 33"/>
              <a:gd name="T14" fmla="*/ 2 w 52"/>
              <a:gd name="T15" fmla="*/ 2 h 33"/>
              <a:gd name="T16" fmla="*/ 22 w 52"/>
              <a:gd name="T17" fmla="*/ 4 h 33"/>
              <a:gd name="T18" fmla="*/ 39 w 52"/>
              <a:gd name="T19" fmla="*/ 2 h 33"/>
              <a:gd name="T20" fmla="*/ 52 w 52"/>
              <a:gd name="T21" fmla="*/ 0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2" h="33">
                <a:moveTo>
                  <a:pt x="52" y="0"/>
                </a:moveTo>
                <a:lnTo>
                  <a:pt x="47" y="16"/>
                </a:lnTo>
                <a:lnTo>
                  <a:pt x="50" y="23"/>
                </a:lnTo>
                <a:lnTo>
                  <a:pt x="47" y="33"/>
                </a:lnTo>
                <a:lnTo>
                  <a:pt x="33" y="25"/>
                </a:lnTo>
                <a:lnTo>
                  <a:pt x="24" y="23"/>
                </a:lnTo>
                <a:lnTo>
                  <a:pt x="0" y="13"/>
                </a:lnTo>
                <a:lnTo>
                  <a:pt x="2" y="2"/>
                </a:lnTo>
                <a:lnTo>
                  <a:pt x="22" y="4"/>
                </a:lnTo>
                <a:lnTo>
                  <a:pt x="39" y="2"/>
                </a:lnTo>
                <a:lnTo>
                  <a:pt x="52" y="0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12" name="Freeform 94"/>
          <p:cNvSpPr>
            <a:spLocks/>
          </p:cNvSpPr>
          <p:nvPr/>
        </p:nvSpPr>
        <p:spPr bwMode="auto">
          <a:xfrm>
            <a:off x="1212962" y="3165797"/>
            <a:ext cx="113604" cy="241304"/>
          </a:xfrm>
          <a:custGeom>
            <a:avLst/>
            <a:gdLst>
              <a:gd name="T0" fmla="*/ 17 w 28"/>
              <a:gd name="T1" fmla="*/ 0 h 48"/>
              <a:gd name="T2" fmla="*/ 28 w 28"/>
              <a:gd name="T3" fmla="*/ 15 h 48"/>
              <a:gd name="T4" fmla="*/ 27 w 28"/>
              <a:gd name="T5" fmla="*/ 42 h 48"/>
              <a:gd name="T6" fmla="*/ 19 w 28"/>
              <a:gd name="T7" fmla="*/ 41 h 48"/>
              <a:gd name="T8" fmla="*/ 12 w 28"/>
              <a:gd name="T9" fmla="*/ 48 h 48"/>
              <a:gd name="T10" fmla="*/ 6 w 28"/>
              <a:gd name="T11" fmla="*/ 43 h 48"/>
              <a:gd name="T12" fmla="*/ 4 w 28"/>
              <a:gd name="T13" fmla="*/ 18 h 48"/>
              <a:gd name="T14" fmla="*/ 0 w 28"/>
              <a:gd name="T15" fmla="*/ 6 h 48"/>
              <a:gd name="T16" fmla="*/ 9 w 28"/>
              <a:gd name="T17" fmla="*/ 7 h 48"/>
              <a:gd name="T18" fmla="*/ 17 w 28"/>
              <a:gd name="T19" fmla="*/ 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8" h="48">
                <a:moveTo>
                  <a:pt x="17" y="0"/>
                </a:moveTo>
                <a:lnTo>
                  <a:pt x="28" y="15"/>
                </a:lnTo>
                <a:lnTo>
                  <a:pt x="27" y="42"/>
                </a:lnTo>
                <a:lnTo>
                  <a:pt x="19" y="41"/>
                </a:lnTo>
                <a:lnTo>
                  <a:pt x="12" y="48"/>
                </a:lnTo>
                <a:lnTo>
                  <a:pt x="6" y="43"/>
                </a:lnTo>
                <a:lnTo>
                  <a:pt x="4" y="18"/>
                </a:lnTo>
                <a:lnTo>
                  <a:pt x="0" y="6"/>
                </a:lnTo>
                <a:lnTo>
                  <a:pt x="9" y="7"/>
                </a:lnTo>
                <a:lnTo>
                  <a:pt x="17" y="0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13" name="Freeform 95"/>
          <p:cNvSpPr>
            <a:spLocks/>
          </p:cNvSpPr>
          <p:nvPr/>
        </p:nvSpPr>
        <p:spPr bwMode="auto">
          <a:xfrm>
            <a:off x="1107473" y="2562537"/>
            <a:ext cx="815510" cy="945106"/>
          </a:xfrm>
          <a:custGeom>
            <a:avLst/>
            <a:gdLst>
              <a:gd name="T0" fmla="*/ 114 w 201"/>
              <a:gd name="T1" fmla="*/ 12 h 188"/>
              <a:gd name="T2" fmla="*/ 117 w 201"/>
              <a:gd name="T3" fmla="*/ 31 h 188"/>
              <a:gd name="T4" fmla="*/ 91 w 201"/>
              <a:gd name="T5" fmla="*/ 35 h 188"/>
              <a:gd name="T6" fmla="*/ 91 w 201"/>
              <a:gd name="T7" fmla="*/ 51 h 188"/>
              <a:gd name="T8" fmla="*/ 113 w 201"/>
              <a:gd name="T9" fmla="*/ 72 h 188"/>
              <a:gd name="T10" fmla="*/ 142 w 201"/>
              <a:gd name="T11" fmla="*/ 105 h 188"/>
              <a:gd name="T12" fmla="*/ 160 w 201"/>
              <a:gd name="T13" fmla="*/ 110 h 188"/>
              <a:gd name="T14" fmla="*/ 171 w 201"/>
              <a:gd name="T15" fmla="*/ 121 h 188"/>
              <a:gd name="T16" fmla="*/ 199 w 201"/>
              <a:gd name="T17" fmla="*/ 138 h 188"/>
              <a:gd name="T18" fmla="*/ 198 w 201"/>
              <a:gd name="T19" fmla="*/ 149 h 188"/>
              <a:gd name="T20" fmla="*/ 173 w 201"/>
              <a:gd name="T21" fmla="*/ 136 h 188"/>
              <a:gd name="T22" fmla="*/ 180 w 201"/>
              <a:gd name="T23" fmla="*/ 157 h 188"/>
              <a:gd name="T24" fmla="*/ 172 w 201"/>
              <a:gd name="T25" fmla="*/ 169 h 188"/>
              <a:gd name="T26" fmla="*/ 156 w 201"/>
              <a:gd name="T27" fmla="*/ 188 h 188"/>
              <a:gd name="T28" fmla="*/ 159 w 201"/>
              <a:gd name="T29" fmla="*/ 171 h 188"/>
              <a:gd name="T30" fmla="*/ 155 w 201"/>
              <a:gd name="T31" fmla="*/ 155 h 188"/>
              <a:gd name="T32" fmla="*/ 142 w 201"/>
              <a:gd name="T33" fmla="*/ 142 h 188"/>
              <a:gd name="T34" fmla="*/ 125 w 201"/>
              <a:gd name="T35" fmla="*/ 129 h 188"/>
              <a:gd name="T36" fmla="*/ 105 w 201"/>
              <a:gd name="T37" fmla="*/ 120 h 188"/>
              <a:gd name="T38" fmla="*/ 76 w 201"/>
              <a:gd name="T39" fmla="*/ 97 h 188"/>
              <a:gd name="T40" fmla="*/ 58 w 201"/>
              <a:gd name="T41" fmla="*/ 65 h 188"/>
              <a:gd name="T42" fmla="*/ 35 w 201"/>
              <a:gd name="T43" fmla="*/ 56 h 188"/>
              <a:gd name="T44" fmla="*/ 19 w 201"/>
              <a:gd name="T45" fmla="*/ 68 h 188"/>
              <a:gd name="T46" fmla="*/ 13 w 201"/>
              <a:gd name="T47" fmla="*/ 61 h 188"/>
              <a:gd name="T48" fmla="*/ 0 w 201"/>
              <a:gd name="T49" fmla="*/ 42 h 188"/>
              <a:gd name="T50" fmla="*/ 0 w 201"/>
              <a:gd name="T51" fmla="*/ 28 h 188"/>
              <a:gd name="T52" fmla="*/ 8 w 201"/>
              <a:gd name="T53" fmla="*/ 27 h 188"/>
              <a:gd name="T54" fmla="*/ 25 w 201"/>
              <a:gd name="T55" fmla="*/ 19 h 188"/>
              <a:gd name="T56" fmla="*/ 35 w 201"/>
              <a:gd name="T57" fmla="*/ 22 h 188"/>
              <a:gd name="T58" fmla="*/ 51 w 201"/>
              <a:gd name="T59" fmla="*/ 16 h 188"/>
              <a:gd name="T60" fmla="*/ 58 w 201"/>
              <a:gd name="T61" fmla="*/ 4 h 188"/>
              <a:gd name="T62" fmla="*/ 70 w 201"/>
              <a:gd name="T63" fmla="*/ 3 h 188"/>
              <a:gd name="T64" fmla="*/ 90 w 201"/>
              <a:gd name="T65" fmla="*/ 7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01" h="188">
                <a:moveTo>
                  <a:pt x="90" y="7"/>
                </a:moveTo>
                <a:lnTo>
                  <a:pt x="114" y="12"/>
                </a:lnTo>
                <a:lnTo>
                  <a:pt x="113" y="22"/>
                </a:lnTo>
                <a:lnTo>
                  <a:pt x="117" y="31"/>
                </a:lnTo>
                <a:lnTo>
                  <a:pt x="104" y="28"/>
                </a:lnTo>
                <a:lnTo>
                  <a:pt x="91" y="35"/>
                </a:lnTo>
                <a:lnTo>
                  <a:pt x="93" y="45"/>
                </a:lnTo>
                <a:lnTo>
                  <a:pt x="91" y="51"/>
                </a:lnTo>
                <a:lnTo>
                  <a:pt x="97" y="61"/>
                </a:lnTo>
                <a:lnTo>
                  <a:pt x="113" y="72"/>
                </a:lnTo>
                <a:lnTo>
                  <a:pt x="122" y="89"/>
                </a:lnTo>
                <a:lnTo>
                  <a:pt x="142" y="105"/>
                </a:lnTo>
                <a:lnTo>
                  <a:pt x="155" y="105"/>
                </a:lnTo>
                <a:lnTo>
                  <a:pt x="160" y="110"/>
                </a:lnTo>
                <a:lnTo>
                  <a:pt x="155" y="114"/>
                </a:lnTo>
                <a:lnTo>
                  <a:pt x="171" y="121"/>
                </a:lnTo>
                <a:lnTo>
                  <a:pt x="183" y="127"/>
                </a:lnTo>
                <a:lnTo>
                  <a:pt x="199" y="138"/>
                </a:lnTo>
                <a:lnTo>
                  <a:pt x="201" y="142"/>
                </a:lnTo>
                <a:lnTo>
                  <a:pt x="198" y="149"/>
                </a:lnTo>
                <a:lnTo>
                  <a:pt x="188" y="140"/>
                </a:lnTo>
                <a:lnTo>
                  <a:pt x="173" y="136"/>
                </a:lnTo>
                <a:lnTo>
                  <a:pt x="167" y="150"/>
                </a:lnTo>
                <a:lnTo>
                  <a:pt x="180" y="157"/>
                </a:lnTo>
                <a:lnTo>
                  <a:pt x="179" y="168"/>
                </a:lnTo>
                <a:lnTo>
                  <a:pt x="172" y="169"/>
                </a:lnTo>
                <a:lnTo>
                  <a:pt x="163" y="187"/>
                </a:lnTo>
                <a:lnTo>
                  <a:pt x="156" y="188"/>
                </a:lnTo>
                <a:lnTo>
                  <a:pt x="156" y="182"/>
                </a:lnTo>
                <a:lnTo>
                  <a:pt x="159" y="171"/>
                </a:lnTo>
                <a:lnTo>
                  <a:pt x="162" y="167"/>
                </a:lnTo>
                <a:lnTo>
                  <a:pt x="155" y="155"/>
                </a:lnTo>
                <a:lnTo>
                  <a:pt x="149" y="144"/>
                </a:lnTo>
                <a:lnTo>
                  <a:pt x="142" y="142"/>
                </a:lnTo>
                <a:lnTo>
                  <a:pt x="136" y="133"/>
                </a:lnTo>
                <a:lnTo>
                  <a:pt x="125" y="129"/>
                </a:lnTo>
                <a:lnTo>
                  <a:pt x="118" y="121"/>
                </a:lnTo>
                <a:lnTo>
                  <a:pt x="105" y="120"/>
                </a:lnTo>
                <a:lnTo>
                  <a:pt x="91" y="110"/>
                </a:lnTo>
                <a:lnTo>
                  <a:pt x="76" y="97"/>
                </a:lnTo>
                <a:lnTo>
                  <a:pt x="64" y="85"/>
                </a:lnTo>
                <a:lnTo>
                  <a:pt x="58" y="65"/>
                </a:lnTo>
                <a:lnTo>
                  <a:pt x="49" y="63"/>
                </a:lnTo>
                <a:lnTo>
                  <a:pt x="35" y="56"/>
                </a:lnTo>
                <a:lnTo>
                  <a:pt x="28" y="58"/>
                </a:lnTo>
                <a:lnTo>
                  <a:pt x="19" y="68"/>
                </a:lnTo>
                <a:lnTo>
                  <a:pt x="12" y="69"/>
                </a:lnTo>
                <a:lnTo>
                  <a:pt x="13" y="61"/>
                </a:lnTo>
                <a:lnTo>
                  <a:pt x="4" y="58"/>
                </a:lnTo>
                <a:lnTo>
                  <a:pt x="0" y="42"/>
                </a:lnTo>
                <a:lnTo>
                  <a:pt x="5" y="36"/>
                </a:lnTo>
                <a:lnTo>
                  <a:pt x="0" y="28"/>
                </a:lnTo>
                <a:lnTo>
                  <a:pt x="0" y="23"/>
                </a:lnTo>
                <a:lnTo>
                  <a:pt x="8" y="27"/>
                </a:lnTo>
                <a:lnTo>
                  <a:pt x="16" y="26"/>
                </a:lnTo>
                <a:lnTo>
                  <a:pt x="25" y="19"/>
                </a:lnTo>
                <a:lnTo>
                  <a:pt x="27" y="22"/>
                </a:lnTo>
                <a:lnTo>
                  <a:pt x="35" y="22"/>
                </a:lnTo>
                <a:lnTo>
                  <a:pt x="38" y="13"/>
                </a:lnTo>
                <a:lnTo>
                  <a:pt x="51" y="16"/>
                </a:lnTo>
                <a:lnTo>
                  <a:pt x="58" y="12"/>
                </a:lnTo>
                <a:lnTo>
                  <a:pt x="58" y="4"/>
                </a:lnTo>
                <a:lnTo>
                  <a:pt x="68" y="7"/>
                </a:lnTo>
                <a:lnTo>
                  <a:pt x="70" y="3"/>
                </a:lnTo>
                <a:lnTo>
                  <a:pt x="86" y="0"/>
                </a:lnTo>
                <a:lnTo>
                  <a:pt x="90" y="7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14" name="Freeform 97"/>
          <p:cNvSpPr>
            <a:spLocks/>
          </p:cNvSpPr>
          <p:nvPr/>
        </p:nvSpPr>
        <p:spPr bwMode="auto">
          <a:xfrm>
            <a:off x="3152330" y="3980199"/>
            <a:ext cx="284007" cy="437363"/>
          </a:xfrm>
          <a:custGeom>
            <a:avLst/>
            <a:gdLst>
              <a:gd name="T0" fmla="*/ 5 w 70"/>
              <a:gd name="T1" fmla="*/ 21 h 87"/>
              <a:gd name="T2" fmla="*/ 8 w 70"/>
              <a:gd name="T3" fmla="*/ 14 h 87"/>
              <a:gd name="T4" fmla="*/ 28 w 70"/>
              <a:gd name="T5" fmla="*/ 22 h 87"/>
              <a:gd name="T6" fmla="*/ 60 w 70"/>
              <a:gd name="T7" fmla="*/ 0 h 87"/>
              <a:gd name="T8" fmla="*/ 70 w 70"/>
              <a:gd name="T9" fmla="*/ 26 h 87"/>
              <a:gd name="T10" fmla="*/ 67 w 70"/>
              <a:gd name="T11" fmla="*/ 29 h 87"/>
              <a:gd name="T12" fmla="*/ 33 w 70"/>
              <a:gd name="T13" fmla="*/ 39 h 87"/>
              <a:gd name="T14" fmla="*/ 52 w 70"/>
              <a:gd name="T15" fmla="*/ 60 h 87"/>
              <a:gd name="T16" fmla="*/ 47 w 70"/>
              <a:gd name="T17" fmla="*/ 63 h 87"/>
              <a:gd name="T18" fmla="*/ 45 w 70"/>
              <a:gd name="T19" fmla="*/ 70 h 87"/>
              <a:gd name="T20" fmla="*/ 32 w 70"/>
              <a:gd name="T21" fmla="*/ 73 h 87"/>
              <a:gd name="T22" fmla="*/ 28 w 70"/>
              <a:gd name="T23" fmla="*/ 81 h 87"/>
              <a:gd name="T24" fmla="*/ 21 w 70"/>
              <a:gd name="T25" fmla="*/ 87 h 87"/>
              <a:gd name="T26" fmla="*/ 1 w 70"/>
              <a:gd name="T27" fmla="*/ 84 h 87"/>
              <a:gd name="T28" fmla="*/ 0 w 70"/>
              <a:gd name="T29" fmla="*/ 81 h 87"/>
              <a:gd name="T30" fmla="*/ 6 w 70"/>
              <a:gd name="T31" fmla="*/ 47 h 87"/>
              <a:gd name="T32" fmla="*/ 5 w 70"/>
              <a:gd name="T33" fmla="*/ 39 h 87"/>
              <a:gd name="T34" fmla="*/ 7 w 70"/>
              <a:gd name="T35" fmla="*/ 33 h 87"/>
              <a:gd name="T36" fmla="*/ 5 w 70"/>
              <a:gd name="T37" fmla="*/ 21 h 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70" h="87">
                <a:moveTo>
                  <a:pt x="5" y="21"/>
                </a:moveTo>
                <a:lnTo>
                  <a:pt x="8" y="14"/>
                </a:lnTo>
                <a:lnTo>
                  <a:pt x="28" y="22"/>
                </a:lnTo>
                <a:lnTo>
                  <a:pt x="60" y="0"/>
                </a:lnTo>
                <a:lnTo>
                  <a:pt x="70" y="26"/>
                </a:lnTo>
                <a:lnTo>
                  <a:pt x="67" y="29"/>
                </a:lnTo>
                <a:lnTo>
                  <a:pt x="33" y="39"/>
                </a:lnTo>
                <a:lnTo>
                  <a:pt x="52" y="60"/>
                </a:lnTo>
                <a:lnTo>
                  <a:pt x="47" y="63"/>
                </a:lnTo>
                <a:lnTo>
                  <a:pt x="45" y="70"/>
                </a:lnTo>
                <a:lnTo>
                  <a:pt x="32" y="73"/>
                </a:lnTo>
                <a:lnTo>
                  <a:pt x="28" y="81"/>
                </a:lnTo>
                <a:lnTo>
                  <a:pt x="21" y="87"/>
                </a:lnTo>
                <a:lnTo>
                  <a:pt x="1" y="84"/>
                </a:lnTo>
                <a:lnTo>
                  <a:pt x="0" y="81"/>
                </a:lnTo>
                <a:lnTo>
                  <a:pt x="6" y="47"/>
                </a:lnTo>
                <a:lnTo>
                  <a:pt x="5" y="39"/>
                </a:lnTo>
                <a:lnTo>
                  <a:pt x="7" y="33"/>
                </a:lnTo>
                <a:lnTo>
                  <a:pt x="5" y="21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15" name="Freeform 98"/>
          <p:cNvSpPr>
            <a:spLocks/>
          </p:cNvSpPr>
          <p:nvPr/>
        </p:nvSpPr>
        <p:spPr bwMode="auto">
          <a:xfrm>
            <a:off x="10000976" y="3879657"/>
            <a:ext cx="154174" cy="170925"/>
          </a:xfrm>
          <a:custGeom>
            <a:avLst/>
            <a:gdLst>
              <a:gd name="T0" fmla="*/ 33 w 38"/>
              <a:gd name="T1" fmla="*/ 4 h 34"/>
              <a:gd name="T2" fmla="*/ 38 w 38"/>
              <a:gd name="T3" fmla="*/ 11 h 34"/>
              <a:gd name="T4" fmla="*/ 34 w 38"/>
              <a:gd name="T5" fmla="*/ 24 h 34"/>
              <a:gd name="T6" fmla="*/ 24 w 38"/>
              <a:gd name="T7" fmla="*/ 17 h 34"/>
              <a:gd name="T8" fmla="*/ 17 w 38"/>
              <a:gd name="T9" fmla="*/ 22 h 34"/>
              <a:gd name="T10" fmla="*/ 17 w 38"/>
              <a:gd name="T11" fmla="*/ 34 h 34"/>
              <a:gd name="T12" fmla="*/ 4 w 38"/>
              <a:gd name="T13" fmla="*/ 28 h 34"/>
              <a:gd name="T14" fmla="*/ 0 w 38"/>
              <a:gd name="T15" fmla="*/ 18 h 34"/>
              <a:gd name="T16" fmla="*/ 4 w 38"/>
              <a:gd name="T17" fmla="*/ 6 h 34"/>
              <a:gd name="T18" fmla="*/ 15 w 38"/>
              <a:gd name="T19" fmla="*/ 8 h 34"/>
              <a:gd name="T20" fmla="*/ 19 w 38"/>
              <a:gd name="T21" fmla="*/ 0 h 34"/>
              <a:gd name="T22" fmla="*/ 33 w 38"/>
              <a:gd name="T23" fmla="*/ 4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8" h="34">
                <a:moveTo>
                  <a:pt x="33" y="4"/>
                </a:moveTo>
                <a:lnTo>
                  <a:pt x="38" y="11"/>
                </a:lnTo>
                <a:lnTo>
                  <a:pt x="34" y="24"/>
                </a:lnTo>
                <a:lnTo>
                  <a:pt x="24" y="17"/>
                </a:lnTo>
                <a:lnTo>
                  <a:pt x="17" y="22"/>
                </a:lnTo>
                <a:lnTo>
                  <a:pt x="17" y="34"/>
                </a:lnTo>
                <a:lnTo>
                  <a:pt x="4" y="28"/>
                </a:lnTo>
                <a:lnTo>
                  <a:pt x="0" y="18"/>
                </a:lnTo>
                <a:lnTo>
                  <a:pt x="4" y="6"/>
                </a:lnTo>
                <a:lnTo>
                  <a:pt x="15" y="8"/>
                </a:lnTo>
                <a:lnTo>
                  <a:pt x="19" y="0"/>
                </a:lnTo>
                <a:lnTo>
                  <a:pt x="33" y="4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16" name="Freeform 99"/>
          <p:cNvSpPr>
            <a:spLocks/>
          </p:cNvSpPr>
          <p:nvPr/>
        </p:nvSpPr>
        <p:spPr bwMode="auto">
          <a:xfrm>
            <a:off x="9798113" y="3150717"/>
            <a:ext cx="705962" cy="1075812"/>
          </a:xfrm>
          <a:custGeom>
            <a:avLst/>
            <a:gdLst>
              <a:gd name="T0" fmla="*/ 164 w 174"/>
              <a:gd name="T1" fmla="*/ 87 h 214"/>
              <a:gd name="T2" fmla="*/ 166 w 174"/>
              <a:gd name="T3" fmla="*/ 104 h 214"/>
              <a:gd name="T4" fmla="*/ 174 w 174"/>
              <a:gd name="T5" fmla="*/ 114 h 214"/>
              <a:gd name="T6" fmla="*/ 171 w 174"/>
              <a:gd name="T7" fmla="*/ 129 h 214"/>
              <a:gd name="T8" fmla="*/ 154 w 174"/>
              <a:gd name="T9" fmla="*/ 139 h 214"/>
              <a:gd name="T10" fmla="*/ 124 w 174"/>
              <a:gd name="T11" fmla="*/ 140 h 214"/>
              <a:gd name="T12" fmla="*/ 109 w 174"/>
              <a:gd name="T13" fmla="*/ 163 h 214"/>
              <a:gd name="T14" fmla="*/ 94 w 174"/>
              <a:gd name="T15" fmla="*/ 155 h 214"/>
              <a:gd name="T16" fmla="*/ 87 w 174"/>
              <a:gd name="T17" fmla="*/ 140 h 214"/>
              <a:gd name="T18" fmla="*/ 59 w 174"/>
              <a:gd name="T19" fmla="*/ 145 h 214"/>
              <a:gd name="T20" fmla="*/ 42 w 174"/>
              <a:gd name="T21" fmla="*/ 154 h 214"/>
              <a:gd name="T22" fmla="*/ 22 w 174"/>
              <a:gd name="T23" fmla="*/ 155 h 214"/>
              <a:gd name="T24" fmla="*/ 46 w 174"/>
              <a:gd name="T25" fmla="*/ 170 h 214"/>
              <a:gd name="T26" fmla="*/ 48 w 174"/>
              <a:gd name="T27" fmla="*/ 205 h 214"/>
              <a:gd name="T28" fmla="*/ 40 w 174"/>
              <a:gd name="T29" fmla="*/ 214 h 214"/>
              <a:gd name="T30" fmla="*/ 28 w 174"/>
              <a:gd name="T31" fmla="*/ 206 h 214"/>
              <a:gd name="T32" fmla="*/ 26 w 174"/>
              <a:gd name="T33" fmla="*/ 187 h 214"/>
              <a:gd name="T34" fmla="*/ 12 w 174"/>
              <a:gd name="T35" fmla="*/ 181 h 214"/>
              <a:gd name="T36" fmla="*/ 0 w 174"/>
              <a:gd name="T37" fmla="*/ 167 h 214"/>
              <a:gd name="T38" fmla="*/ 14 w 174"/>
              <a:gd name="T39" fmla="*/ 160 h 214"/>
              <a:gd name="T40" fmla="*/ 17 w 174"/>
              <a:gd name="T41" fmla="*/ 148 h 214"/>
              <a:gd name="T42" fmla="*/ 30 w 174"/>
              <a:gd name="T43" fmla="*/ 137 h 214"/>
              <a:gd name="T44" fmla="*/ 37 w 174"/>
              <a:gd name="T45" fmla="*/ 123 h 214"/>
              <a:gd name="T46" fmla="*/ 68 w 174"/>
              <a:gd name="T47" fmla="*/ 117 h 214"/>
              <a:gd name="T48" fmla="*/ 89 w 174"/>
              <a:gd name="T49" fmla="*/ 121 h 214"/>
              <a:gd name="T50" fmla="*/ 89 w 174"/>
              <a:gd name="T51" fmla="*/ 84 h 214"/>
              <a:gd name="T52" fmla="*/ 106 w 174"/>
              <a:gd name="T53" fmla="*/ 94 h 214"/>
              <a:gd name="T54" fmla="*/ 120 w 174"/>
              <a:gd name="T55" fmla="*/ 73 h 214"/>
              <a:gd name="T56" fmla="*/ 126 w 174"/>
              <a:gd name="T57" fmla="*/ 65 h 214"/>
              <a:gd name="T58" fmla="*/ 123 w 174"/>
              <a:gd name="T59" fmla="*/ 40 h 214"/>
              <a:gd name="T60" fmla="*/ 108 w 174"/>
              <a:gd name="T61" fmla="*/ 17 h 214"/>
              <a:gd name="T62" fmla="*/ 107 w 174"/>
              <a:gd name="T63" fmla="*/ 4 h 214"/>
              <a:gd name="T64" fmla="*/ 123 w 174"/>
              <a:gd name="T65" fmla="*/ 0 h 214"/>
              <a:gd name="T66" fmla="*/ 149 w 174"/>
              <a:gd name="T67" fmla="*/ 29 h 214"/>
              <a:gd name="T68" fmla="*/ 157 w 174"/>
              <a:gd name="T69" fmla="*/ 45 h 214"/>
              <a:gd name="T70" fmla="*/ 153 w 174"/>
              <a:gd name="T71" fmla="*/ 66 h 214"/>
              <a:gd name="T72" fmla="*/ 164 w 174"/>
              <a:gd name="T73" fmla="*/ 87 h 2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74" h="214">
                <a:moveTo>
                  <a:pt x="164" y="87"/>
                </a:moveTo>
                <a:lnTo>
                  <a:pt x="166" y="104"/>
                </a:lnTo>
                <a:lnTo>
                  <a:pt x="174" y="114"/>
                </a:lnTo>
                <a:lnTo>
                  <a:pt x="171" y="129"/>
                </a:lnTo>
                <a:lnTo>
                  <a:pt x="154" y="139"/>
                </a:lnTo>
                <a:lnTo>
                  <a:pt x="124" y="140"/>
                </a:lnTo>
                <a:lnTo>
                  <a:pt x="109" y="163"/>
                </a:lnTo>
                <a:lnTo>
                  <a:pt x="94" y="155"/>
                </a:lnTo>
                <a:lnTo>
                  <a:pt x="87" y="140"/>
                </a:lnTo>
                <a:lnTo>
                  <a:pt x="59" y="145"/>
                </a:lnTo>
                <a:lnTo>
                  <a:pt x="42" y="154"/>
                </a:lnTo>
                <a:lnTo>
                  <a:pt x="22" y="155"/>
                </a:lnTo>
                <a:lnTo>
                  <a:pt x="46" y="170"/>
                </a:lnTo>
                <a:lnTo>
                  <a:pt x="48" y="205"/>
                </a:lnTo>
                <a:lnTo>
                  <a:pt x="40" y="214"/>
                </a:lnTo>
                <a:lnTo>
                  <a:pt x="28" y="206"/>
                </a:lnTo>
                <a:lnTo>
                  <a:pt x="26" y="187"/>
                </a:lnTo>
                <a:lnTo>
                  <a:pt x="12" y="181"/>
                </a:lnTo>
                <a:lnTo>
                  <a:pt x="0" y="167"/>
                </a:lnTo>
                <a:lnTo>
                  <a:pt x="14" y="160"/>
                </a:lnTo>
                <a:lnTo>
                  <a:pt x="17" y="148"/>
                </a:lnTo>
                <a:lnTo>
                  <a:pt x="30" y="137"/>
                </a:lnTo>
                <a:lnTo>
                  <a:pt x="37" y="123"/>
                </a:lnTo>
                <a:lnTo>
                  <a:pt x="68" y="117"/>
                </a:lnTo>
                <a:lnTo>
                  <a:pt x="89" y="121"/>
                </a:lnTo>
                <a:lnTo>
                  <a:pt x="89" y="84"/>
                </a:lnTo>
                <a:lnTo>
                  <a:pt x="106" y="94"/>
                </a:lnTo>
                <a:lnTo>
                  <a:pt x="120" y="73"/>
                </a:lnTo>
                <a:lnTo>
                  <a:pt x="126" y="65"/>
                </a:lnTo>
                <a:lnTo>
                  <a:pt x="123" y="40"/>
                </a:lnTo>
                <a:lnTo>
                  <a:pt x="108" y="17"/>
                </a:lnTo>
                <a:lnTo>
                  <a:pt x="107" y="4"/>
                </a:lnTo>
                <a:lnTo>
                  <a:pt x="123" y="0"/>
                </a:lnTo>
                <a:lnTo>
                  <a:pt x="149" y="29"/>
                </a:lnTo>
                <a:lnTo>
                  <a:pt x="157" y="45"/>
                </a:lnTo>
                <a:lnTo>
                  <a:pt x="153" y="66"/>
                </a:lnTo>
                <a:lnTo>
                  <a:pt x="164" y="87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17" name="Freeform 100"/>
          <p:cNvSpPr>
            <a:spLocks/>
          </p:cNvSpPr>
          <p:nvPr/>
        </p:nvSpPr>
        <p:spPr bwMode="auto">
          <a:xfrm>
            <a:off x="10118635" y="2718382"/>
            <a:ext cx="365152" cy="412229"/>
          </a:xfrm>
          <a:custGeom>
            <a:avLst/>
            <a:gdLst>
              <a:gd name="T0" fmla="*/ 51 w 90"/>
              <a:gd name="T1" fmla="*/ 29 h 82"/>
              <a:gd name="T2" fmla="*/ 65 w 90"/>
              <a:gd name="T3" fmla="*/ 33 h 82"/>
              <a:gd name="T4" fmla="*/ 71 w 90"/>
              <a:gd name="T5" fmla="*/ 24 h 82"/>
              <a:gd name="T6" fmla="*/ 90 w 90"/>
              <a:gd name="T7" fmla="*/ 47 h 82"/>
              <a:gd name="T8" fmla="*/ 69 w 90"/>
              <a:gd name="T9" fmla="*/ 53 h 82"/>
              <a:gd name="T10" fmla="*/ 67 w 90"/>
              <a:gd name="T11" fmla="*/ 73 h 82"/>
              <a:gd name="T12" fmla="*/ 32 w 90"/>
              <a:gd name="T13" fmla="*/ 59 h 82"/>
              <a:gd name="T14" fmla="*/ 36 w 90"/>
              <a:gd name="T15" fmla="*/ 82 h 82"/>
              <a:gd name="T16" fmla="*/ 18 w 90"/>
              <a:gd name="T17" fmla="*/ 82 h 82"/>
              <a:gd name="T18" fmla="*/ 3 w 90"/>
              <a:gd name="T19" fmla="*/ 62 h 82"/>
              <a:gd name="T20" fmla="*/ 2 w 90"/>
              <a:gd name="T21" fmla="*/ 46 h 82"/>
              <a:gd name="T22" fmla="*/ 19 w 90"/>
              <a:gd name="T23" fmla="*/ 45 h 82"/>
              <a:gd name="T24" fmla="*/ 6 w 90"/>
              <a:gd name="T25" fmla="*/ 16 h 82"/>
              <a:gd name="T26" fmla="*/ 0 w 90"/>
              <a:gd name="T27" fmla="*/ 0 h 82"/>
              <a:gd name="T28" fmla="*/ 33 w 90"/>
              <a:gd name="T29" fmla="*/ 22 h 82"/>
              <a:gd name="T30" fmla="*/ 51 w 90"/>
              <a:gd name="T31" fmla="*/ 29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90" h="82">
                <a:moveTo>
                  <a:pt x="51" y="29"/>
                </a:moveTo>
                <a:lnTo>
                  <a:pt x="65" y="33"/>
                </a:lnTo>
                <a:lnTo>
                  <a:pt x="71" y="24"/>
                </a:lnTo>
                <a:lnTo>
                  <a:pt x="90" y="47"/>
                </a:lnTo>
                <a:lnTo>
                  <a:pt x="69" y="53"/>
                </a:lnTo>
                <a:lnTo>
                  <a:pt x="67" y="73"/>
                </a:lnTo>
                <a:lnTo>
                  <a:pt x="32" y="59"/>
                </a:lnTo>
                <a:lnTo>
                  <a:pt x="36" y="82"/>
                </a:lnTo>
                <a:lnTo>
                  <a:pt x="18" y="82"/>
                </a:lnTo>
                <a:lnTo>
                  <a:pt x="3" y="62"/>
                </a:lnTo>
                <a:lnTo>
                  <a:pt x="2" y="46"/>
                </a:lnTo>
                <a:lnTo>
                  <a:pt x="19" y="45"/>
                </a:lnTo>
                <a:lnTo>
                  <a:pt x="6" y="16"/>
                </a:lnTo>
                <a:lnTo>
                  <a:pt x="0" y="0"/>
                </a:lnTo>
                <a:lnTo>
                  <a:pt x="33" y="22"/>
                </a:lnTo>
                <a:lnTo>
                  <a:pt x="51" y="29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18" name="Freeform 101"/>
          <p:cNvSpPr>
            <a:spLocks/>
          </p:cNvSpPr>
          <p:nvPr/>
        </p:nvSpPr>
        <p:spPr bwMode="auto">
          <a:xfrm>
            <a:off x="3696004" y="1723004"/>
            <a:ext cx="2645331" cy="1503125"/>
          </a:xfrm>
          <a:custGeom>
            <a:avLst/>
            <a:gdLst>
              <a:gd name="T0" fmla="*/ 429 w 652"/>
              <a:gd name="T1" fmla="*/ 270 h 299"/>
              <a:gd name="T2" fmla="*/ 408 w 652"/>
              <a:gd name="T3" fmla="*/ 299 h 299"/>
              <a:gd name="T4" fmla="*/ 395 w 652"/>
              <a:gd name="T5" fmla="*/ 289 h 299"/>
              <a:gd name="T6" fmla="*/ 365 w 652"/>
              <a:gd name="T7" fmla="*/ 272 h 299"/>
              <a:gd name="T8" fmla="*/ 352 w 652"/>
              <a:gd name="T9" fmla="*/ 251 h 299"/>
              <a:gd name="T10" fmla="*/ 300 w 652"/>
              <a:gd name="T11" fmla="*/ 237 h 299"/>
              <a:gd name="T12" fmla="*/ 260 w 652"/>
              <a:gd name="T13" fmla="*/ 222 h 299"/>
              <a:gd name="T14" fmla="*/ 215 w 652"/>
              <a:gd name="T15" fmla="*/ 200 h 299"/>
              <a:gd name="T16" fmla="*/ 172 w 652"/>
              <a:gd name="T17" fmla="*/ 210 h 299"/>
              <a:gd name="T18" fmla="*/ 183 w 652"/>
              <a:gd name="T19" fmla="*/ 286 h 299"/>
              <a:gd name="T20" fmla="*/ 155 w 652"/>
              <a:gd name="T21" fmla="*/ 265 h 299"/>
              <a:gd name="T22" fmla="*/ 131 w 652"/>
              <a:gd name="T23" fmla="*/ 276 h 299"/>
              <a:gd name="T24" fmla="*/ 131 w 652"/>
              <a:gd name="T25" fmla="*/ 262 h 299"/>
              <a:gd name="T26" fmla="*/ 106 w 652"/>
              <a:gd name="T27" fmla="*/ 248 h 299"/>
              <a:gd name="T28" fmla="*/ 84 w 652"/>
              <a:gd name="T29" fmla="*/ 224 h 299"/>
              <a:gd name="T30" fmla="*/ 98 w 652"/>
              <a:gd name="T31" fmla="*/ 220 h 299"/>
              <a:gd name="T32" fmla="*/ 108 w 652"/>
              <a:gd name="T33" fmla="*/ 201 h 299"/>
              <a:gd name="T34" fmla="*/ 121 w 652"/>
              <a:gd name="T35" fmla="*/ 184 h 299"/>
              <a:gd name="T36" fmla="*/ 99 w 652"/>
              <a:gd name="T37" fmla="*/ 173 h 299"/>
              <a:gd name="T38" fmla="*/ 67 w 652"/>
              <a:gd name="T39" fmla="*/ 177 h 299"/>
              <a:gd name="T40" fmla="*/ 44 w 652"/>
              <a:gd name="T41" fmla="*/ 178 h 299"/>
              <a:gd name="T42" fmla="*/ 29 w 652"/>
              <a:gd name="T43" fmla="*/ 154 h 299"/>
              <a:gd name="T44" fmla="*/ 0 w 652"/>
              <a:gd name="T45" fmla="*/ 140 h 299"/>
              <a:gd name="T46" fmla="*/ 0 w 652"/>
              <a:gd name="T47" fmla="*/ 121 h 299"/>
              <a:gd name="T48" fmla="*/ 26 w 652"/>
              <a:gd name="T49" fmla="*/ 110 h 299"/>
              <a:gd name="T50" fmla="*/ 51 w 652"/>
              <a:gd name="T51" fmla="*/ 74 h 299"/>
              <a:gd name="T52" fmla="*/ 115 w 652"/>
              <a:gd name="T53" fmla="*/ 87 h 299"/>
              <a:gd name="T54" fmla="*/ 150 w 652"/>
              <a:gd name="T55" fmla="*/ 87 h 299"/>
              <a:gd name="T56" fmla="*/ 199 w 652"/>
              <a:gd name="T57" fmla="*/ 97 h 299"/>
              <a:gd name="T58" fmla="*/ 224 w 652"/>
              <a:gd name="T59" fmla="*/ 92 h 299"/>
              <a:gd name="T60" fmla="*/ 194 w 652"/>
              <a:gd name="T61" fmla="*/ 69 h 299"/>
              <a:gd name="T62" fmla="*/ 201 w 652"/>
              <a:gd name="T63" fmla="*/ 53 h 299"/>
              <a:gd name="T64" fmla="*/ 198 w 652"/>
              <a:gd name="T65" fmla="*/ 34 h 299"/>
              <a:gd name="T66" fmla="*/ 257 w 652"/>
              <a:gd name="T67" fmla="*/ 21 h 299"/>
              <a:gd name="T68" fmla="*/ 298 w 652"/>
              <a:gd name="T69" fmla="*/ 9 h 299"/>
              <a:gd name="T70" fmla="*/ 338 w 652"/>
              <a:gd name="T71" fmla="*/ 5 h 299"/>
              <a:gd name="T72" fmla="*/ 366 w 652"/>
              <a:gd name="T73" fmla="*/ 20 h 299"/>
              <a:gd name="T74" fmla="*/ 393 w 652"/>
              <a:gd name="T75" fmla="*/ 38 h 299"/>
              <a:gd name="T76" fmla="*/ 437 w 652"/>
              <a:gd name="T77" fmla="*/ 18 h 299"/>
              <a:gd name="T78" fmla="*/ 462 w 652"/>
              <a:gd name="T79" fmla="*/ 39 h 299"/>
              <a:gd name="T80" fmla="*/ 524 w 652"/>
              <a:gd name="T81" fmla="*/ 80 h 299"/>
              <a:gd name="T82" fmla="*/ 571 w 652"/>
              <a:gd name="T83" fmla="*/ 86 h 299"/>
              <a:gd name="T84" fmla="*/ 595 w 652"/>
              <a:gd name="T85" fmla="*/ 102 h 299"/>
              <a:gd name="T86" fmla="*/ 619 w 652"/>
              <a:gd name="T87" fmla="*/ 114 h 299"/>
              <a:gd name="T88" fmla="*/ 652 w 652"/>
              <a:gd name="T89" fmla="*/ 124 h 299"/>
              <a:gd name="T90" fmla="*/ 634 w 652"/>
              <a:gd name="T91" fmla="*/ 139 h 299"/>
              <a:gd name="T92" fmla="*/ 637 w 652"/>
              <a:gd name="T93" fmla="*/ 169 h 299"/>
              <a:gd name="T94" fmla="*/ 605 w 652"/>
              <a:gd name="T95" fmla="*/ 199 h 299"/>
              <a:gd name="T96" fmla="*/ 569 w 652"/>
              <a:gd name="T97" fmla="*/ 211 h 299"/>
              <a:gd name="T98" fmla="*/ 588 w 652"/>
              <a:gd name="T99" fmla="*/ 252 h 299"/>
              <a:gd name="T100" fmla="*/ 581 w 652"/>
              <a:gd name="T101" fmla="*/ 261 h 299"/>
              <a:gd name="T102" fmla="*/ 545 w 652"/>
              <a:gd name="T103" fmla="*/ 252 h 299"/>
              <a:gd name="T104" fmla="*/ 512 w 652"/>
              <a:gd name="T105" fmla="*/ 253 h 299"/>
              <a:gd name="T106" fmla="*/ 477 w 652"/>
              <a:gd name="T107" fmla="*/ 249 h 299"/>
              <a:gd name="T108" fmla="*/ 449 w 652"/>
              <a:gd name="T109" fmla="*/ 254 h 299"/>
              <a:gd name="T110" fmla="*/ 438 w 652"/>
              <a:gd name="T111" fmla="*/ 266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52" h="299">
                <a:moveTo>
                  <a:pt x="438" y="266"/>
                </a:moveTo>
                <a:lnTo>
                  <a:pt x="429" y="270"/>
                </a:lnTo>
                <a:lnTo>
                  <a:pt x="412" y="284"/>
                </a:lnTo>
                <a:lnTo>
                  <a:pt x="408" y="299"/>
                </a:lnTo>
                <a:lnTo>
                  <a:pt x="402" y="299"/>
                </a:lnTo>
                <a:lnTo>
                  <a:pt x="395" y="289"/>
                </a:lnTo>
                <a:lnTo>
                  <a:pt x="373" y="288"/>
                </a:lnTo>
                <a:lnTo>
                  <a:pt x="365" y="272"/>
                </a:lnTo>
                <a:lnTo>
                  <a:pt x="357" y="271"/>
                </a:lnTo>
                <a:lnTo>
                  <a:pt x="352" y="251"/>
                </a:lnTo>
                <a:lnTo>
                  <a:pt x="328" y="236"/>
                </a:lnTo>
                <a:lnTo>
                  <a:pt x="300" y="237"/>
                </a:lnTo>
                <a:lnTo>
                  <a:pt x="281" y="240"/>
                </a:lnTo>
                <a:lnTo>
                  <a:pt x="260" y="222"/>
                </a:lnTo>
                <a:lnTo>
                  <a:pt x="245" y="214"/>
                </a:lnTo>
                <a:lnTo>
                  <a:pt x="215" y="200"/>
                </a:lnTo>
                <a:lnTo>
                  <a:pt x="211" y="198"/>
                </a:lnTo>
                <a:lnTo>
                  <a:pt x="172" y="210"/>
                </a:lnTo>
                <a:lnTo>
                  <a:pt x="192" y="285"/>
                </a:lnTo>
                <a:lnTo>
                  <a:pt x="183" y="286"/>
                </a:lnTo>
                <a:lnTo>
                  <a:pt x="168" y="270"/>
                </a:lnTo>
                <a:lnTo>
                  <a:pt x="155" y="265"/>
                </a:lnTo>
                <a:lnTo>
                  <a:pt x="137" y="269"/>
                </a:lnTo>
                <a:lnTo>
                  <a:pt x="131" y="276"/>
                </a:lnTo>
                <a:lnTo>
                  <a:pt x="129" y="271"/>
                </a:lnTo>
                <a:lnTo>
                  <a:pt x="131" y="262"/>
                </a:lnTo>
                <a:lnTo>
                  <a:pt x="127" y="255"/>
                </a:lnTo>
                <a:lnTo>
                  <a:pt x="106" y="248"/>
                </a:lnTo>
                <a:lnTo>
                  <a:pt x="94" y="230"/>
                </a:lnTo>
                <a:lnTo>
                  <a:pt x="84" y="224"/>
                </a:lnTo>
                <a:lnTo>
                  <a:pt x="81" y="218"/>
                </a:lnTo>
                <a:lnTo>
                  <a:pt x="98" y="220"/>
                </a:lnTo>
                <a:lnTo>
                  <a:pt x="95" y="205"/>
                </a:lnTo>
                <a:lnTo>
                  <a:pt x="108" y="201"/>
                </a:lnTo>
                <a:lnTo>
                  <a:pt x="123" y="204"/>
                </a:lnTo>
                <a:lnTo>
                  <a:pt x="121" y="184"/>
                </a:lnTo>
                <a:lnTo>
                  <a:pt x="115" y="172"/>
                </a:lnTo>
                <a:lnTo>
                  <a:pt x="99" y="173"/>
                </a:lnTo>
                <a:lnTo>
                  <a:pt x="84" y="168"/>
                </a:lnTo>
                <a:lnTo>
                  <a:pt x="67" y="177"/>
                </a:lnTo>
                <a:lnTo>
                  <a:pt x="53" y="181"/>
                </a:lnTo>
                <a:lnTo>
                  <a:pt x="44" y="178"/>
                </a:lnTo>
                <a:lnTo>
                  <a:pt x="43" y="167"/>
                </a:lnTo>
                <a:lnTo>
                  <a:pt x="29" y="154"/>
                </a:lnTo>
                <a:lnTo>
                  <a:pt x="17" y="154"/>
                </a:lnTo>
                <a:lnTo>
                  <a:pt x="0" y="140"/>
                </a:lnTo>
                <a:lnTo>
                  <a:pt x="6" y="125"/>
                </a:lnTo>
                <a:lnTo>
                  <a:pt x="0" y="121"/>
                </a:lnTo>
                <a:lnTo>
                  <a:pt x="7" y="99"/>
                </a:lnTo>
                <a:lnTo>
                  <a:pt x="26" y="110"/>
                </a:lnTo>
                <a:lnTo>
                  <a:pt x="25" y="96"/>
                </a:lnTo>
                <a:lnTo>
                  <a:pt x="51" y="74"/>
                </a:lnTo>
                <a:lnTo>
                  <a:pt x="76" y="73"/>
                </a:lnTo>
                <a:lnTo>
                  <a:pt x="115" y="87"/>
                </a:lnTo>
                <a:lnTo>
                  <a:pt x="136" y="95"/>
                </a:lnTo>
                <a:lnTo>
                  <a:pt x="150" y="87"/>
                </a:lnTo>
                <a:lnTo>
                  <a:pt x="175" y="87"/>
                </a:lnTo>
                <a:lnTo>
                  <a:pt x="199" y="97"/>
                </a:lnTo>
                <a:lnTo>
                  <a:pt x="202" y="91"/>
                </a:lnTo>
                <a:lnTo>
                  <a:pt x="224" y="92"/>
                </a:lnTo>
                <a:lnTo>
                  <a:pt x="225" y="82"/>
                </a:lnTo>
                <a:lnTo>
                  <a:pt x="194" y="69"/>
                </a:lnTo>
                <a:lnTo>
                  <a:pt x="206" y="59"/>
                </a:lnTo>
                <a:lnTo>
                  <a:pt x="201" y="53"/>
                </a:lnTo>
                <a:lnTo>
                  <a:pt x="214" y="48"/>
                </a:lnTo>
                <a:lnTo>
                  <a:pt x="198" y="34"/>
                </a:lnTo>
                <a:lnTo>
                  <a:pt x="202" y="28"/>
                </a:lnTo>
                <a:lnTo>
                  <a:pt x="257" y="21"/>
                </a:lnTo>
                <a:lnTo>
                  <a:pt x="263" y="16"/>
                </a:lnTo>
                <a:lnTo>
                  <a:pt x="298" y="9"/>
                </a:lnTo>
                <a:lnTo>
                  <a:pt x="309" y="0"/>
                </a:lnTo>
                <a:lnTo>
                  <a:pt x="338" y="5"/>
                </a:lnTo>
                <a:lnTo>
                  <a:pt x="352" y="25"/>
                </a:lnTo>
                <a:lnTo>
                  <a:pt x="366" y="20"/>
                </a:lnTo>
                <a:lnTo>
                  <a:pt x="389" y="27"/>
                </a:lnTo>
                <a:lnTo>
                  <a:pt x="393" y="38"/>
                </a:lnTo>
                <a:lnTo>
                  <a:pt x="407" y="37"/>
                </a:lnTo>
                <a:lnTo>
                  <a:pt x="437" y="18"/>
                </a:lnTo>
                <a:lnTo>
                  <a:pt x="434" y="24"/>
                </a:lnTo>
                <a:lnTo>
                  <a:pt x="462" y="39"/>
                </a:lnTo>
                <a:lnTo>
                  <a:pt x="520" y="90"/>
                </a:lnTo>
                <a:lnTo>
                  <a:pt x="524" y="80"/>
                </a:lnTo>
                <a:lnTo>
                  <a:pt x="551" y="92"/>
                </a:lnTo>
                <a:lnTo>
                  <a:pt x="571" y="86"/>
                </a:lnTo>
                <a:lnTo>
                  <a:pt x="582" y="90"/>
                </a:lnTo>
                <a:lnTo>
                  <a:pt x="595" y="102"/>
                </a:lnTo>
                <a:lnTo>
                  <a:pt x="608" y="106"/>
                </a:lnTo>
                <a:lnTo>
                  <a:pt x="619" y="114"/>
                </a:lnTo>
                <a:lnTo>
                  <a:pt x="638" y="111"/>
                </a:lnTo>
                <a:lnTo>
                  <a:pt x="652" y="124"/>
                </a:lnTo>
                <a:lnTo>
                  <a:pt x="647" y="137"/>
                </a:lnTo>
                <a:lnTo>
                  <a:pt x="634" y="139"/>
                </a:lnTo>
                <a:lnTo>
                  <a:pt x="642" y="160"/>
                </a:lnTo>
                <a:lnTo>
                  <a:pt x="637" y="169"/>
                </a:lnTo>
                <a:lnTo>
                  <a:pt x="602" y="162"/>
                </a:lnTo>
                <a:lnTo>
                  <a:pt x="605" y="199"/>
                </a:lnTo>
                <a:lnTo>
                  <a:pt x="599" y="203"/>
                </a:lnTo>
                <a:lnTo>
                  <a:pt x="569" y="211"/>
                </a:lnTo>
                <a:lnTo>
                  <a:pt x="597" y="247"/>
                </a:lnTo>
                <a:lnTo>
                  <a:pt x="588" y="252"/>
                </a:lnTo>
                <a:lnTo>
                  <a:pt x="593" y="264"/>
                </a:lnTo>
                <a:lnTo>
                  <a:pt x="581" y="261"/>
                </a:lnTo>
                <a:lnTo>
                  <a:pt x="571" y="254"/>
                </a:lnTo>
                <a:lnTo>
                  <a:pt x="545" y="252"/>
                </a:lnTo>
                <a:lnTo>
                  <a:pt x="517" y="251"/>
                </a:lnTo>
                <a:lnTo>
                  <a:pt x="512" y="253"/>
                </a:lnTo>
                <a:lnTo>
                  <a:pt x="485" y="245"/>
                </a:lnTo>
                <a:lnTo>
                  <a:pt x="477" y="249"/>
                </a:lnTo>
                <a:lnTo>
                  <a:pt x="479" y="261"/>
                </a:lnTo>
                <a:lnTo>
                  <a:pt x="449" y="254"/>
                </a:lnTo>
                <a:lnTo>
                  <a:pt x="439" y="257"/>
                </a:lnTo>
                <a:lnTo>
                  <a:pt x="438" y="266"/>
                </a:lnTo>
                <a:close/>
              </a:path>
            </a:pathLst>
          </a:custGeom>
          <a:solidFill>
            <a:srgbClr val="92D050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19" name="Freeform 103"/>
          <p:cNvSpPr>
            <a:spLocks/>
          </p:cNvSpPr>
          <p:nvPr/>
        </p:nvSpPr>
        <p:spPr bwMode="auto">
          <a:xfrm>
            <a:off x="5428447" y="2954657"/>
            <a:ext cx="673503" cy="412229"/>
          </a:xfrm>
          <a:custGeom>
            <a:avLst/>
            <a:gdLst>
              <a:gd name="T0" fmla="*/ 11 w 166"/>
              <a:gd name="T1" fmla="*/ 21 h 82"/>
              <a:gd name="T2" fmla="*/ 12 w 166"/>
              <a:gd name="T3" fmla="*/ 12 h 82"/>
              <a:gd name="T4" fmla="*/ 22 w 166"/>
              <a:gd name="T5" fmla="*/ 9 h 82"/>
              <a:gd name="T6" fmla="*/ 52 w 166"/>
              <a:gd name="T7" fmla="*/ 16 h 82"/>
              <a:gd name="T8" fmla="*/ 50 w 166"/>
              <a:gd name="T9" fmla="*/ 4 h 82"/>
              <a:gd name="T10" fmla="*/ 58 w 166"/>
              <a:gd name="T11" fmla="*/ 0 h 82"/>
              <a:gd name="T12" fmla="*/ 85 w 166"/>
              <a:gd name="T13" fmla="*/ 8 h 82"/>
              <a:gd name="T14" fmla="*/ 90 w 166"/>
              <a:gd name="T15" fmla="*/ 6 h 82"/>
              <a:gd name="T16" fmla="*/ 118 w 166"/>
              <a:gd name="T17" fmla="*/ 7 h 82"/>
              <a:gd name="T18" fmla="*/ 144 w 166"/>
              <a:gd name="T19" fmla="*/ 9 h 82"/>
              <a:gd name="T20" fmla="*/ 154 w 166"/>
              <a:gd name="T21" fmla="*/ 16 h 82"/>
              <a:gd name="T22" fmla="*/ 166 w 166"/>
              <a:gd name="T23" fmla="*/ 19 h 82"/>
              <a:gd name="T24" fmla="*/ 165 w 166"/>
              <a:gd name="T25" fmla="*/ 24 h 82"/>
              <a:gd name="T26" fmla="*/ 142 w 166"/>
              <a:gd name="T27" fmla="*/ 35 h 82"/>
              <a:gd name="T28" fmla="*/ 139 w 166"/>
              <a:gd name="T29" fmla="*/ 43 h 82"/>
              <a:gd name="T30" fmla="*/ 118 w 166"/>
              <a:gd name="T31" fmla="*/ 46 h 82"/>
              <a:gd name="T32" fmla="*/ 116 w 166"/>
              <a:gd name="T33" fmla="*/ 58 h 82"/>
              <a:gd name="T34" fmla="*/ 97 w 166"/>
              <a:gd name="T35" fmla="*/ 56 h 82"/>
              <a:gd name="T36" fmla="*/ 87 w 166"/>
              <a:gd name="T37" fmla="*/ 60 h 82"/>
              <a:gd name="T38" fmla="*/ 74 w 166"/>
              <a:gd name="T39" fmla="*/ 70 h 82"/>
              <a:gd name="T40" fmla="*/ 77 w 166"/>
              <a:gd name="T41" fmla="*/ 74 h 82"/>
              <a:gd name="T42" fmla="*/ 74 w 166"/>
              <a:gd name="T43" fmla="*/ 79 h 82"/>
              <a:gd name="T44" fmla="*/ 43 w 166"/>
              <a:gd name="T45" fmla="*/ 82 h 82"/>
              <a:gd name="T46" fmla="*/ 20 w 166"/>
              <a:gd name="T47" fmla="*/ 76 h 82"/>
              <a:gd name="T48" fmla="*/ 2 w 166"/>
              <a:gd name="T49" fmla="*/ 77 h 82"/>
              <a:gd name="T50" fmla="*/ 0 w 166"/>
              <a:gd name="T51" fmla="*/ 65 h 82"/>
              <a:gd name="T52" fmla="*/ 20 w 166"/>
              <a:gd name="T53" fmla="*/ 69 h 82"/>
              <a:gd name="T54" fmla="*/ 24 w 166"/>
              <a:gd name="T55" fmla="*/ 62 h 82"/>
              <a:gd name="T56" fmla="*/ 37 w 166"/>
              <a:gd name="T57" fmla="*/ 64 h 82"/>
              <a:gd name="T58" fmla="*/ 55 w 166"/>
              <a:gd name="T59" fmla="*/ 49 h 82"/>
              <a:gd name="T60" fmla="*/ 31 w 166"/>
              <a:gd name="T61" fmla="*/ 39 h 82"/>
              <a:gd name="T62" fmla="*/ 21 w 166"/>
              <a:gd name="T63" fmla="*/ 44 h 82"/>
              <a:gd name="T64" fmla="*/ 6 w 166"/>
              <a:gd name="T65" fmla="*/ 36 h 82"/>
              <a:gd name="T66" fmla="*/ 16 w 166"/>
              <a:gd name="T67" fmla="*/ 23 h 82"/>
              <a:gd name="T68" fmla="*/ 11 w 166"/>
              <a:gd name="T69" fmla="*/ 21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66" h="82">
                <a:moveTo>
                  <a:pt x="11" y="21"/>
                </a:moveTo>
                <a:lnTo>
                  <a:pt x="12" y="12"/>
                </a:lnTo>
                <a:lnTo>
                  <a:pt x="22" y="9"/>
                </a:lnTo>
                <a:lnTo>
                  <a:pt x="52" y="16"/>
                </a:lnTo>
                <a:lnTo>
                  <a:pt x="50" y="4"/>
                </a:lnTo>
                <a:lnTo>
                  <a:pt x="58" y="0"/>
                </a:lnTo>
                <a:lnTo>
                  <a:pt x="85" y="8"/>
                </a:lnTo>
                <a:lnTo>
                  <a:pt x="90" y="6"/>
                </a:lnTo>
                <a:lnTo>
                  <a:pt x="118" y="7"/>
                </a:lnTo>
                <a:lnTo>
                  <a:pt x="144" y="9"/>
                </a:lnTo>
                <a:lnTo>
                  <a:pt x="154" y="16"/>
                </a:lnTo>
                <a:lnTo>
                  <a:pt x="166" y="19"/>
                </a:lnTo>
                <a:lnTo>
                  <a:pt x="165" y="24"/>
                </a:lnTo>
                <a:lnTo>
                  <a:pt x="142" y="35"/>
                </a:lnTo>
                <a:lnTo>
                  <a:pt x="139" y="43"/>
                </a:lnTo>
                <a:lnTo>
                  <a:pt x="118" y="46"/>
                </a:lnTo>
                <a:lnTo>
                  <a:pt x="116" y="58"/>
                </a:lnTo>
                <a:lnTo>
                  <a:pt x="97" y="56"/>
                </a:lnTo>
                <a:lnTo>
                  <a:pt x="87" y="60"/>
                </a:lnTo>
                <a:lnTo>
                  <a:pt x="74" y="70"/>
                </a:lnTo>
                <a:lnTo>
                  <a:pt x="77" y="74"/>
                </a:lnTo>
                <a:lnTo>
                  <a:pt x="74" y="79"/>
                </a:lnTo>
                <a:lnTo>
                  <a:pt x="43" y="82"/>
                </a:lnTo>
                <a:lnTo>
                  <a:pt x="20" y="76"/>
                </a:lnTo>
                <a:lnTo>
                  <a:pt x="2" y="77"/>
                </a:lnTo>
                <a:lnTo>
                  <a:pt x="0" y="65"/>
                </a:lnTo>
                <a:lnTo>
                  <a:pt x="20" y="69"/>
                </a:lnTo>
                <a:lnTo>
                  <a:pt x="24" y="62"/>
                </a:lnTo>
                <a:lnTo>
                  <a:pt x="37" y="64"/>
                </a:lnTo>
                <a:lnTo>
                  <a:pt x="55" y="49"/>
                </a:lnTo>
                <a:lnTo>
                  <a:pt x="31" y="39"/>
                </a:lnTo>
                <a:lnTo>
                  <a:pt x="21" y="44"/>
                </a:lnTo>
                <a:lnTo>
                  <a:pt x="6" y="36"/>
                </a:lnTo>
                <a:lnTo>
                  <a:pt x="16" y="23"/>
                </a:lnTo>
                <a:lnTo>
                  <a:pt x="11" y="21"/>
                </a:lnTo>
                <a:close/>
              </a:path>
            </a:pathLst>
          </a:custGeom>
          <a:solidFill>
            <a:srgbClr val="00B0F0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20" name="Freeform 104"/>
          <p:cNvSpPr>
            <a:spLocks/>
          </p:cNvSpPr>
          <p:nvPr/>
        </p:nvSpPr>
        <p:spPr bwMode="auto">
          <a:xfrm>
            <a:off x="8223899" y="5945822"/>
            <a:ext cx="393555" cy="427313"/>
          </a:xfrm>
          <a:custGeom>
            <a:avLst/>
            <a:gdLst>
              <a:gd name="T0" fmla="*/ 27 w 97"/>
              <a:gd name="T1" fmla="*/ 81 h 85"/>
              <a:gd name="T2" fmla="*/ 18 w 97"/>
              <a:gd name="T3" fmla="*/ 71 h 85"/>
              <a:gd name="T4" fmla="*/ 7 w 97"/>
              <a:gd name="T5" fmla="*/ 49 h 85"/>
              <a:gd name="T6" fmla="*/ 0 w 97"/>
              <a:gd name="T7" fmla="*/ 24 h 85"/>
              <a:gd name="T8" fmla="*/ 10 w 97"/>
              <a:gd name="T9" fmla="*/ 7 h 85"/>
              <a:gd name="T10" fmla="*/ 33 w 97"/>
              <a:gd name="T11" fmla="*/ 3 h 85"/>
              <a:gd name="T12" fmla="*/ 51 w 97"/>
              <a:gd name="T13" fmla="*/ 6 h 85"/>
              <a:gd name="T14" fmla="*/ 67 w 97"/>
              <a:gd name="T15" fmla="*/ 14 h 85"/>
              <a:gd name="T16" fmla="*/ 73 w 97"/>
              <a:gd name="T17" fmla="*/ 0 h 85"/>
              <a:gd name="T18" fmla="*/ 90 w 97"/>
              <a:gd name="T19" fmla="*/ 7 h 85"/>
              <a:gd name="T20" fmla="*/ 96 w 97"/>
              <a:gd name="T21" fmla="*/ 21 h 85"/>
              <a:gd name="T22" fmla="*/ 97 w 97"/>
              <a:gd name="T23" fmla="*/ 46 h 85"/>
              <a:gd name="T24" fmla="*/ 68 w 97"/>
              <a:gd name="T25" fmla="*/ 62 h 85"/>
              <a:gd name="T26" fmla="*/ 77 w 97"/>
              <a:gd name="T27" fmla="*/ 75 h 85"/>
              <a:gd name="T28" fmla="*/ 58 w 97"/>
              <a:gd name="T29" fmla="*/ 76 h 85"/>
              <a:gd name="T30" fmla="*/ 42 w 97"/>
              <a:gd name="T31" fmla="*/ 85 h 85"/>
              <a:gd name="T32" fmla="*/ 27 w 97"/>
              <a:gd name="T33" fmla="*/ 81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97" h="85">
                <a:moveTo>
                  <a:pt x="27" y="81"/>
                </a:moveTo>
                <a:lnTo>
                  <a:pt x="18" y="71"/>
                </a:lnTo>
                <a:lnTo>
                  <a:pt x="7" y="49"/>
                </a:lnTo>
                <a:lnTo>
                  <a:pt x="0" y="24"/>
                </a:lnTo>
                <a:lnTo>
                  <a:pt x="10" y="7"/>
                </a:lnTo>
                <a:lnTo>
                  <a:pt x="33" y="3"/>
                </a:lnTo>
                <a:lnTo>
                  <a:pt x="51" y="6"/>
                </a:lnTo>
                <a:lnTo>
                  <a:pt x="67" y="14"/>
                </a:lnTo>
                <a:lnTo>
                  <a:pt x="73" y="0"/>
                </a:lnTo>
                <a:lnTo>
                  <a:pt x="90" y="7"/>
                </a:lnTo>
                <a:lnTo>
                  <a:pt x="96" y="21"/>
                </a:lnTo>
                <a:lnTo>
                  <a:pt x="97" y="46"/>
                </a:lnTo>
                <a:lnTo>
                  <a:pt x="68" y="62"/>
                </a:lnTo>
                <a:lnTo>
                  <a:pt x="77" y="75"/>
                </a:lnTo>
                <a:lnTo>
                  <a:pt x="58" y="76"/>
                </a:lnTo>
                <a:lnTo>
                  <a:pt x="42" y="85"/>
                </a:lnTo>
                <a:lnTo>
                  <a:pt x="27" y="81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21" name="Freeform 105"/>
          <p:cNvSpPr>
            <a:spLocks/>
          </p:cNvSpPr>
          <p:nvPr/>
        </p:nvSpPr>
        <p:spPr bwMode="auto">
          <a:xfrm>
            <a:off x="9408617" y="3437264"/>
            <a:ext cx="312410" cy="437363"/>
          </a:xfrm>
          <a:custGeom>
            <a:avLst/>
            <a:gdLst>
              <a:gd name="T0" fmla="*/ 29 w 77"/>
              <a:gd name="T1" fmla="*/ 0 h 87"/>
              <a:gd name="T2" fmla="*/ 55 w 77"/>
              <a:gd name="T3" fmla="*/ 24 h 87"/>
              <a:gd name="T4" fmla="*/ 66 w 77"/>
              <a:gd name="T5" fmla="*/ 38 h 87"/>
              <a:gd name="T6" fmla="*/ 77 w 77"/>
              <a:gd name="T7" fmla="*/ 62 h 87"/>
              <a:gd name="T8" fmla="*/ 75 w 77"/>
              <a:gd name="T9" fmla="*/ 73 h 87"/>
              <a:gd name="T10" fmla="*/ 61 w 77"/>
              <a:gd name="T11" fmla="*/ 77 h 87"/>
              <a:gd name="T12" fmla="*/ 51 w 77"/>
              <a:gd name="T13" fmla="*/ 85 h 87"/>
              <a:gd name="T14" fmla="*/ 36 w 77"/>
              <a:gd name="T15" fmla="*/ 87 h 87"/>
              <a:gd name="T16" fmla="*/ 29 w 77"/>
              <a:gd name="T17" fmla="*/ 76 h 87"/>
              <a:gd name="T18" fmla="*/ 26 w 77"/>
              <a:gd name="T19" fmla="*/ 61 h 87"/>
              <a:gd name="T20" fmla="*/ 9 w 77"/>
              <a:gd name="T21" fmla="*/ 39 h 87"/>
              <a:gd name="T22" fmla="*/ 20 w 77"/>
              <a:gd name="T23" fmla="*/ 35 h 87"/>
              <a:gd name="T24" fmla="*/ 0 w 77"/>
              <a:gd name="T25" fmla="*/ 18 h 87"/>
              <a:gd name="T26" fmla="*/ 1 w 77"/>
              <a:gd name="T27" fmla="*/ 16 h 87"/>
              <a:gd name="T28" fmla="*/ 8 w 77"/>
              <a:gd name="T29" fmla="*/ 17 h 87"/>
              <a:gd name="T30" fmla="*/ 11 w 77"/>
              <a:gd name="T31" fmla="*/ 7 h 87"/>
              <a:gd name="T32" fmla="*/ 22 w 77"/>
              <a:gd name="T33" fmla="*/ 6 h 87"/>
              <a:gd name="T34" fmla="*/ 29 w 77"/>
              <a:gd name="T35" fmla="*/ 5 h 87"/>
              <a:gd name="T36" fmla="*/ 29 w 77"/>
              <a:gd name="T37" fmla="*/ 0 h 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77" h="87">
                <a:moveTo>
                  <a:pt x="29" y="0"/>
                </a:moveTo>
                <a:lnTo>
                  <a:pt x="55" y="24"/>
                </a:lnTo>
                <a:lnTo>
                  <a:pt x="66" y="38"/>
                </a:lnTo>
                <a:lnTo>
                  <a:pt x="77" y="62"/>
                </a:lnTo>
                <a:lnTo>
                  <a:pt x="75" y="73"/>
                </a:lnTo>
                <a:lnTo>
                  <a:pt x="61" y="77"/>
                </a:lnTo>
                <a:lnTo>
                  <a:pt x="51" y="85"/>
                </a:lnTo>
                <a:lnTo>
                  <a:pt x="36" y="87"/>
                </a:lnTo>
                <a:lnTo>
                  <a:pt x="29" y="76"/>
                </a:lnTo>
                <a:lnTo>
                  <a:pt x="26" y="61"/>
                </a:lnTo>
                <a:lnTo>
                  <a:pt x="9" y="39"/>
                </a:lnTo>
                <a:lnTo>
                  <a:pt x="20" y="35"/>
                </a:lnTo>
                <a:lnTo>
                  <a:pt x="0" y="18"/>
                </a:lnTo>
                <a:lnTo>
                  <a:pt x="1" y="16"/>
                </a:lnTo>
                <a:lnTo>
                  <a:pt x="8" y="17"/>
                </a:lnTo>
                <a:lnTo>
                  <a:pt x="11" y="7"/>
                </a:lnTo>
                <a:lnTo>
                  <a:pt x="22" y="6"/>
                </a:lnTo>
                <a:lnTo>
                  <a:pt x="29" y="5"/>
                </a:lnTo>
                <a:lnTo>
                  <a:pt x="29" y="0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22" name="Freeform 106"/>
          <p:cNvSpPr>
            <a:spLocks/>
          </p:cNvSpPr>
          <p:nvPr/>
        </p:nvSpPr>
        <p:spPr bwMode="auto">
          <a:xfrm>
            <a:off x="2016298" y="2954657"/>
            <a:ext cx="113604" cy="145790"/>
          </a:xfrm>
          <a:custGeom>
            <a:avLst/>
            <a:gdLst>
              <a:gd name="T0" fmla="*/ 12 w 28"/>
              <a:gd name="T1" fmla="*/ 25 h 29"/>
              <a:gd name="T2" fmla="*/ 12 w 28"/>
              <a:gd name="T3" fmla="*/ 29 h 29"/>
              <a:gd name="T4" fmla="*/ 10 w 28"/>
              <a:gd name="T5" fmla="*/ 29 h 29"/>
              <a:gd name="T6" fmla="*/ 8 w 28"/>
              <a:gd name="T7" fmla="*/ 22 h 29"/>
              <a:gd name="T8" fmla="*/ 4 w 28"/>
              <a:gd name="T9" fmla="*/ 20 h 29"/>
              <a:gd name="T10" fmla="*/ 0 w 28"/>
              <a:gd name="T11" fmla="*/ 14 h 29"/>
              <a:gd name="T12" fmla="*/ 2 w 28"/>
              <a:gd name="T13" fmla="*/ 9 h 29"/>
              <a:gd name="T14" fmla="*/ 6 w 28"/>
              <a:gd name="T15" fmla="*/ 8 h 29"/>
              <a:gd name="T16" fmla="*/ 8 w 28"/>
              <a:gd name="T17" fmla="*/ 1 h 29"/>
              <a:gd name="T18" fmla="*/ 11 w 28"/>
              <a:gd name="T19" fmla="*/ 0 h 29"/>
              <a:gd name="T20" fmla="*/ 13 w 28"/>
              <a:gd name="T21" fmla="*/ 3 h 29"/>
              <a:gd name="T22" fmla="*/ 17 w 28"/>
              <a:gd name="T23" fmla="*/ 4 h 29"/>
              <a:gd name="T24" fmla="*/ 19 w 28"/>
              <a:gd name="T25" fmla="*/ 7 h 29"/>
              <a:gd name="T26" fmla="*/ 22 w 28"/>
              <a:gd name="T27" fmla="*/ 8 h 29"/>
              <a:gd name="T28" fmla="*/ 26 w 28"/>
              <a:gd name="T29" fmla="*/ 12 h 29"/>
              <a:gd name="T30" fmla="*/ 28 w 28"/>
              <a:gd name="T31" fmla="*/ 12 h 29"/>
              <a:gd name="T32" fmla="*/ 27 w 28"/>
              <a:gd name="T33" fmla="*/ 17 h 29"/>
              <a:gd name="T34" fmla="*/ 25 w 28"/>
              <a:gd name="T35" fmla="*/ 20 h 29"/>
              <a:gd name="T36" fmla="*/ 25 w 28"/>
              <a:gd name="T37" fmla="*/ 21 h 29"/>
              <a:gd name="T38" fmla="*/ 22 w 28"/>
              <a:gd name="T39" fmla="*/ 22 h 29"/>
              <a:gd name="T40" fmla="*/ 12 w 28"/>
              <a:gd name="T41" fmla="*/ 25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8" h="29">
                <a:moveTo>
                  <a:pt x="12" y="25"/>
                </a:moveTo>
                <a:lnTo>
                  <a:pt x="12" y="29"/>
                </a:lnTo>
                <a:lnTo>
                  <a:pt x="10" y="29"/>
                </a:lnTo>
                <a:lnTo>
                  <a:pt x="8" y="22"/>
                </a:lnTo>
                <a:lnTo>
                  <a:pt x="4" y="20"/>
                </a:lnTo>
                <a:lnTo>
                  <a:pt x="0" y="14"/>
                </a:lnTo>
                <a:lnTo>
                  <a:pt x="2" y="9"/>
                </a:lnTo>
                <a:lnTo>
                  <a:pt x="6" y="8"/>
                </a:lnTo>
                <a:lnTo>
                  <a:pt x="8" y="1"/>
                </a:lnTo>
                <a:lnTo>
                  <a:pt x="11" y="0"/>
                </a:lnTo>
                <a:lnTo>
                  <a:pt x="13" y="3"/>
                </a:lnTo>
                <a:lnTo>
                  <a:pt x="17" y="4"/>
                </a:lnTo>
                <a:lnTo>
                  <a:pt x="19" y="7"/>
                </a:lnTo>
                <a:lnTo>
                  <a:pt x="22" y="8"/>
                </a:lnTo>
                <a:lnTo>
                  <a:pt x="26" y="12"/>
                </a:lnTo>
                <a:lnTo>
                  <a:pt x="28" y="12"/>
                </a:lnTo>
                <a:lnTo>
                  <a:pt x="27" y="17"/>
                </a:lnTo>
                <a:lnTo>
                  <a:pt x="25" y="20"/>
                </a:lnTo>
                <a:lnTo>
                  <a:pt x="25" y="21"/>
                </a:lnTo>
                <a:lnTo>
                  <a:pt x="22" y="22"/>
                </a:lnTo>
                <a:lnTo>
                  <a:pt x="12" y="25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23" name="Freeform 107"/>
          <p:cNvSpPr>
            <a:spLocks/>
          </p:cNvSpPr>
          <p:nvPr/>
        </p:nvSpPr>
        <p:spPr bwMode="auto">
          <a:xfrm>
            <a:off x="3992181" y="4327075"/>
            <a:ext cx="137948" cy="160870"/>
          </a:xfrm>
          <a:custGeom>
            <a:avLst/>
            <a:gdLst>
              <a:gd name="T0" fmla="*/ 22 w 34"/>
              <a:gd name="T1" fmla="*/ 2 h 32"/>
              <a:gd name="T2" fmla="*/ 27 w 34"/>
              <a:gd name="T3" fmla="*/ 11 h 32"/>
              <a:gd name="T4" fmla="*/ 26 w 34"/>
              <a:gd name="T5" fmla="*/ 16 h 32"/>
              <a:gd name="T6" fmla="*/ 34 w 34"/>
              <a:gd name="T7" fmla="*/ 31 h 32"/>
              <a:gd name="T8" fmla="*/ 21 w 34"/>
              <a:gd name="T9" fmla="*/ 32 h 32"/>
              <a:gd name="T10" fmla="*/ 16 w 34"/>
              <a:gd name="T11" fmla="*/ 22 h 32"/>
              <a:gd name="T12" fmla="*/ 0 w 34"/>
              <a:gd name="T13" fmla="*/ 20 h 32"/>
              <a:gd name="T14" fmla="*/ 10 w 34"/>
              <a:gd name="T15" fmla="*/ 0 h 32"/>
              <a:gd name="T16" fmla="*/ 22 w 34"/>
              <a:gd name="T17" fmla="*/ 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4" h="32">
                <a:moveTo>
                  <a:pt x="22" y="2"/>
                </a:moveTo>
                <a:lnTo>
                  <a:pt x="27" y="11"/>
                </a:lnTo>
                <a:lnTo>
                  <a:pt x="26" y="16"/>
                </a:lnTo>
                <a:lnTo>
                  <a:pt x="34" y="31"/>
                </a:lnTo>
                <a:lnTo>
                  <a:pt x="21" y="32"/>
                </a:lnTo>
                <a:lnTo>
                  <a:pt x="16" y="22"/>
                </a:lnTo>
                <a:lnTo>
                  <a:pt x="0" y="20"/>
                </a:lnTo>
                <a:lnTo>
                  <a:pt x="10" y="0"/>
                </a:lnTo>
                <a:lnTo>
                  <a:pt x="22" y="2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24" name="Freeform 108"/>
          <p:cNvSpPr>
            <a:spLocks/>
          </p:cNvSpPr>
          <p:nvPr/>
        </p:nvSpPr>
        <p:spPr bwMode="auto">
          <a:xfrm>
            <a:off x="7980463" y="5121369"/>
            <a:ext cx="612647" cy="894836"/>
          </a:xfrm>
          <a:custGeom>
            <a:avLst/>
            <a:gdLst>
              <a:gd name="T0" fmla="*/ 111 w 151"/>
              <a:gd name="T1" fmla="*/ 170 h 178"/>
              <a:gd name="T2" fmla="*/ 116 w 151"/>
              <a:gd name="T3" fmla="*/ 161 h 178"/>
              <a:gd name="T4" fmla="*/ 114 w 151"/>
              <a:gd name="T5" fmla="*/ 143 h 178"/>
              <a:gd name="T6" fmla="*/ 97 w 151"/>
              <a:gd name="T7" fmla="*/ 125 h 178"/>
              <a:gd name="T8" fmla="*/ 93 w 151"/>
              <a:gd name="T9" fmla="*/ 104 h 178"/>
              <a:gd name="T10" fmla="*/ 77 w 151"/>
              <a:gd name="T11" fmla="*/ 87 h 178"/>
              <a:gd name="T12" fmla="*/ 63 w 151"/>
              <a:gd name="T13" fmla="*/ 86 h 178"/>
              <a:gd name="T14" fmla="*/ 60 w 151"/>
              <a:gd name="T15" fmla="*/ 93 h 178"/>
              <a:gd name="T16" fmla="*/ 50 w 151"/>
              <a:gd name="T17" fmla="*/ 94 h 178"/>
              <a:gd name="T18" fmla="*/ 44 w 151"/>
              <a:gd name="T19" fmla="*/ 90 h 178"/>
              <a:gd name="T20" fmla="*/ 26 w 151"/>
              <a:gd name="T21" fmla="*/ 103 h 178"/>
              <a:gd name="T22" fmla="*/ 23 w 151"/>
              <a:gd name="T23" fmla="*/ 84 h 178"/>
              <a:gd name="T24" fmla="*/ 24 w 151"/>
              <a:gd name="T25" fmla="*/ 62 h 178"/>
              <a:gd name="T26" fmla="*/ 12 w 151"/>
              <a:gd name="T27" fmla="*/ 61 h 178"/>
              <a:gd name="T28" fmla="*/ 9 w 151"/>
              <a:gd name="T29" fmla="*/ 49 h 178"/>
              <a:gd name="T30" fmla="*/ 0 w 151"/>
              <a:gd name="T31" fmla="*/ 42 h 178"/>
              <a:gd name="T32" fmla="*/ 3 w 151"/>
              <a:gd name="T33" fmla="*/ 34 h 178"/>
              <a:gd name="T34" fmla="*/ 16 w 151"/>
              <a:gd name="T35" fmla="*/ 21 h 178"/>
              <a:gd name="T36" fmla="*/ 18 w 151"/>
              <a:gd name="T37" fmla="*/ 26 h 178"/>
              <a:gd name="T38" fmla="*/ 28 w 151"/>
              <a:gd name="T39" fmla="*/ 26 h 178"/>
              <a:gd name="T40" fmla="*/ 21 w 151"/>
              <a:gd name="T41" fmla="*/ 3 h 178"/>
              <a:gd name="T42" fmla="*/ 30 w 151"/>
              <a:gd name="T43" fmla="*/ 0 h 178"/>
              <a:gd name="T44" fmla="*/ 43 w 151"/>
              <a:gd name="T45" fmla="*/ 16 h 178"/>
              <a:gd name="T46" fmla="*/ 55 w 151"/>
              <a:gd name="T47" fmla="*/ 35 h 178"/>
              <a:gd name="T48" fmla="*/ 77 w 151"/>
              <a:gd name="T49" fmla="*/ 35 h 178"/>
              <a:gd name="T50" fmla="*/ 87 w 151"/>
              <a:gd name="T51" fmla="*/ 53 h 178"/>
              <a:gd name="T52" fmla="*/ 76 w 151"/>
              <a:gd name="T53" fmla="*/ 59 h 178"/>
              <a:gd name="T54" fmla="*/ 72 w 151"/>
              <a:gd name="T55" fmla="*/ 66 h 178"/>
              <a:gd name="T56" fmla="*/ 96 w 151"/>
              <a:gd name="T57" fmla="*/ 79 h 178"/>
              <a:gd name="T58" fmla="*/ 115 w 151"/>
              <a:gd name="T59" fmla="*/ 103 h 178"/>
              <a:gd name="T60" fmla="*/ 129 w 151"/>
              <a:gd name="T61" fmla="*/ 122 h 178"/>
              <a:gd name="T62" fmla="*/ 145 w 151"/>
              <a:gd name="T63" fmla="*/ 136 h 178"/>
              <a:gd name="T64" fmla="*/ 151 w 151"/>
              <a:gd name="T65" fmla="*/ 151 h 178"/>
              <a:gd name="T66" fmla="*/ 150 w 151"/>
              <a:gd name="T67" fmla="*/ 171 h 178"/>
              <a:gd name="T68" fmla="*/ 133 w 151"/>
              <a:gd name="T69" fmla="*/ 164 h 178"/>
              <a:gd name="T70" fmla="*/ 127 w 151"/>
              <a:gd name="T71" fmla="*/ 178 h 178"/>
              <a:gd name="T72" fmla="*/ 111 w 151"/>
              <a:gd name="T73" fmla="*/ 170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51" h="178">
                <a:moveTo>
                  <a:pt x="111" y="170"/>
                </a:moveTo>
                <a:lnTo>
                  <a:pt x="116" y="161"/>
                </a:lnTo>
                <a:lnTo>
                  <a:pt x="114" y="143"/>
                </a:lnTo>
                <a:lnTo>
                  <a:pt x="97" y="125"/>
                </a:lnTo>
                <a:lnTo>
                  <a:pt x="93" y="104"/>
                </a:lnTo>
                <a:lnTo>
                  <a:pt x="77" y="87"/>
                </a:lnTo>
                <a:lnTo>
                  <a:pt x="63" y="86"/>
                </a:lnTo>
                <a:lnTo>
                  <a:pt x="60" y="93"/>
                </a:lnTo>
                <a:lnTo>
                  <a:pt x="50" y="94"/>
                </a:lnTo>
                <a:lnTo>
                  <a:pt x="44" y="90"/>
                </a:lnTo>
                <a:lnTo>
                  <a:pt x="26" y="103"/>
                </a:lnTo>
                <a:lnTo>
                  <a:pt x="23" y="84"/>
                </a:lnTo>
                <a:lnTo>
                  <a:pt x="24" y="62"/>
                </a:lnTo>
                <a:lnTo>
                  <a:pt x="12" y="61"/>
                </a:lnTo>
                <a:lnTo>
                  <a:pt x="9" y="49"/>
                </a:lnTo>
                <a:lnTo>
                  <a:pt x="0" y="42"/>
                </a:lnTo>
                <a:lnTo>
                  <a:pt x="3" y="34"/>
                </a:lnTo>
                <a:lnTo>
                  <a:pt x="16" y="21"/>
                </a:lnTo>
                <a:lnTo>
                  <a:pt x="18" y="26"/>
                </a:lnTo>
                <a:lnTo>
                  <a:pt x="28" y="26"/>
                </a:lnTo>
                <a:lnTo>
                  <a:pt x="21" y="3"/>
                </a:lnTo>
                <a:lnTo>
                  <a:pt x="30" y="0"/>
                </a:lnTo>
                <a:lnTo>
                  <a:pt x="43" y="16"/>
                </a:lnTo>
                <a:lnTo>
                  <a:pt x="55" y="35"/>
                </a:lnTo>
                <a:lnTo>
                  <a:pt x="77" y="35"/>
                </a:lnTo>
                <a:lnTo>
                  <a:pt x="87" y="53"/>
                </a:lnTo>
                <a:lnTo>
                  <a:pt x="76" y="59"/>
                </a:lnTo>
                <a:lnTo>
                  <a:pt x="72" y="66"/>
                </a:lnTo>
                <a:lnTo>
                  <a:pt x="96" y="79"/>
                </a:lnTo>
                <a:lnTo>
                  <a:pt x="115" y="103"/>
                </a:lnTo>
                <a:lnTo>
                  <a:pt x="129" y="122"/>
                </a:lnTo>
                <a:lnTo>
                  <a:pt x="145" y="136"/>
                </a:lnTo>
                <a:lnTo>
                  <a:pt x="151" y="151"/>
                </a:lnTo>
                <a:lnTo>
                  <a:pt x="150" y="171"/>
                </a:lnTo>
                <a:lnTo>
                  <a:pt x="133" y="164"/>
                </a:lnTo>
                <a:lnTo>
                  <a:pt x="127" y="178"/>
                </a:lnTo>
                <a:lnTo>
                  <a:pt x="111" y="170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25" name="Freeform 109"/>
          <p:cNvSpPr>
            <a:spLocks/>
          </p:cNvSpPr>
          <p:nvPr/>
        </p:nvSpPr>
        <p:spPr bwMode="auto">
          <a:xfrm>
            <a:off x="3136101" y="3849493"/>
            <a:ext cx="97374" cy="160870"/>
          </a:xfrm>
          <a:custGeom>
            <a:avLst/>
            <a:gdLst>
              <a:gd name="T0" fmla="*/ 12 w 24"/>
              <a:gd name="T1" fmla="*/ 28 h 32"/>
              <a:gd name="T2" fmla="*/ 7 w 24"/>
              <a:gd name="T3" fmla="*/ 29 h 32"/>
              <a:gd name="T4" fmla="*/ 6 w 24"/>
              <a:gd name="T5" fmla="*/ 32 h 32"/>
              <a:gd name="T6" fmla="*/ 0 w 24"/>
              <a:gd name="T7" fmla="*/ 32 h 32"/>
              <a:gd name="T8" fmla="*/ 5 w 24"/>
              <a:gd name="T9" fmla="*/ 15 h 32"/>
              <a:gd name="T10" fmla="*/ 12 w 24"/>
              <a:gd name="T11" fmla="*/ 1 h 32"/>
              <a:gd name="T12" fmla="*/ 12 w 24"/>
              <a:gd name="T13" fmla="*/ 0 h 32"/>
              <a:gd name="T14" fmla="*/ 20 w 24"/>
              <a:gd name="T15" fmla="*/ 1 h 32"/>
              <a:gd name="T16" fmla="*/ 24 w 24"/>
              <a:gd name="T17" fmla="*/ 9 h 32"/>
              <a:gd name="T18" fmla="*/ 15 w 24"/>
              <a:gd name="T19" fmla="*/ 17 h 32"/>
              <a:gd name="T20" fmla="*/ 12 w 24"/>
              <a:gd name="T21" fmla="*/ 28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4" h="32">
                <a:moveTo>
                  <a:pt x="12" y="28"/>
                </a:moveTo>
                <a:lnTo>
                  <a:pt x="7" y="29"/>
                </a:lnTo>
                <a:lnTo>
                  <a:pt x="6" y="32"/>
                </a:lnTo>
                <a:lnTo>
                  <a:pt x="0" y="32"/>
                </a:lnTo>
                <a:lnTo>
                  <a:pt x="5" y="15"/>
                </a:lnTo>
                <a:lnTo>
                  <a:pt x="12" y="1"/>
                </a:lnTo>
                <a:lnTo>
                  <a:pt x="12" y="0"/>
                </a:lnTo>
                <a:lnTo>
                  <a:pt x="20" y="1"/>
                </a:lnTo>
                <a:lnTo>
                  <a:pt x="24" y="9"/>
                </a:lnTo>
                <a:lnTo>
                  <a:pt x="15" y="17"/>
                </a:lnTo>
                <a:lnTo>
                  <a:pt x="12" y="28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26" name="Freeform 111"/>
          <p:cNvSpPr>
            <a:spLocks/>
          </p:cNvSpPr>
          <p:nvPr/>
        </p:nvSpPr>
        <p:spPr bwMode="auto">
          <a:xfrm>
            <a:off x="1326565" y="4005338"/>
            <a:ext cx="1160376" cy="1417662"/>
          </a:xfrm>
          <a:custGeom>
            <a:avLst/>
            <a:gdLst>
              <a:gd name="T0" fmla="*/ 101 w 286"/>
              <a:gd name="T1" fmla="*/ 213 h 282"/>
              <a:gd name="T2" fmla="*/ 88 w 286"/>
              <a:gd name="T3" fmla="*/ 221 h 282"/>
              <a:gd name="T4" fmla="*/ 78 w 286"/>
              <a:gd name="T5" fmla="*/ 210 h 282"/>
              <a:gd name="T6" fmla="*/ 49 w 286"/>
              <a:gd name="T7" fmla="*/ 201 h 282"/>
              <a:gd name="T8" fmla="*/ 41 w 286"/>
              <a:gd name="T9" fmla="*/ 188 h 282"/>
              <a:gd name="T10" fmla="*/ 27 w 286"/>
              <a:gd name="T11" fmla="*/ 178 h 282"/>
              <a:gd name="T12" fmla="*/ 19 w 286"/>
              <a:gd name="T13" fmla="*/ 182 h 282"/>
              <a:gd name="T14" fmla="*/ 12 w 286"/>
              <a:gd name="T15" fmla="*/ 170 h 282"/>
              <a:gd name="T16" fmla="*/ 11 w 286"/>
              <a:gd name="T17" fmla="*/ 162 h 282"/>
              <a:gd name="T18" fmla="*/ 0 w 286"/>
              <a:gd name="T19" fmla="*/ 146 h 282"/>
              <a:gd name="T20" fmla="*/ 7 w 286"/>
              <a:gd name="T21" fmla="*/ 138 h 282"/>
              <a:gd name="T22" fmla="*/ 5 w 286"/>
              <a:gd name="T23" fmla="*/ 125 h 282"/>
              <a:gd name="T24" fmla="*/ 7 w 286"/>
              <a:gd name="T25" fmla="*/ 113 h 282"/>
              <a:gd name="T26" fmla="*/ 6 w 286"/>
              <a:gd name="T27" fmla="*/ 104 h 282"/>
              <a:gd name="T28" fmla="*/ 9 w 286"/>
              <a:gd name="T29" fmla="*/ 87 h 282"/>
              <a:gd name="T30" fmla="*/ 7 w 286"/>
              <a:gd name="T31" fmla="*/ 77 h 282"/>
              <a:gd name="T32" fmla="*/ 1 w 286"/>
              <a:gd name="T33" fmla="*/ 59 h 282"/>
              <a:gd name="T34" fmla="*/ 10 w 286"/>
              <a:gd name="T35" fmla="*/ 54 h 282"/>
              <a:gd name="T36" fmla="*/ 11 w 286"/>
              <a:gd name="T37" fmla="*/ 45 h 282"/>
              <a:gd name="T38" fmla="*/ 9 w 286"/>
              <a:gd name="T39" fmla="*/ 37 h 282"/>
              <a:gd name="T40" fmla="*/ 21 w 286"/>
              <a:gd name="T41" fmla="*/ 29 h 282"/>
              <a:gd name="T42" fmla="*/ 26 w 286"/>
              <a:gd name="T43" fmla="*/ 22 h 282"/>
              <a:gd name="T44" fmla="*/ 34 w 286"/>
              <a:gd name="T45" fmla="*/ 16 h 282"/>
              <a:gd name="T46" fmla="*/ 35 w 286"/>
              <a:gd name="T47" fmla="*/ 0 h 282"/>
              <a:gd name="T48" fmla="*/ 55 w 286"/>
              <a:gd name="T49" fmla="*/ 7 h 282"/>
              <a:gd name="T50" fmla="*/ 63 w 286"/>
              <a:gd name="T51" fmla="*/ 6 h 282"/>
              <a:gd name="T52" fmla="*/ 77 w 286"/>
              <a:gd name="T53" fmla="*/ 9 h 282"/>
              <a:gd name="T54" fmla="*/ 101 w 286"/>
              <a:gd name="T55" fmla="*/ 18 h 282"/>
              <a:gd name="T56" fmla="*/ 110 w 286"/>
              <a:gd name="T57" fmla="*/ 37 h 282"/>
              <a:gd name="T58" fmla="*/ 126 w 286"/>
              <a:gd name="T59" fmla="*/ 41 h 282"/>
              <a:gd name="T60" fmla="*/ 151 w 286"/>
              <a:gd name="T61" fmla="*/ 50 h 282"/>
              <a:gd name="T62" fmla="*/ 170 w 286"/>
              <a:gd name="T63" fmla="*/ 60 h 282"/>
              <a:gd name="T64" fmla="*/ 178 w 286"/>
              <a:gd name="T65" fmla="*/ 54 h 282"/>
              <a:gd name="T66" fmla="*/ 186 w 286"/>
              <a:gd name="T67" fmla="*/ 45 h 282"/>
              <a:gd name="T68" fmla="*/ 181 w 286"/>
              <a:gd name="T69" fmla="*/ 29 h 282"/>
              <a:gd name="T70" fmla="*/ 186 w 286"/>
              <a:gd name="T71" fmla="*/ 19 h 282"/>
              <a:gd name="T72" fmla="*/ 198 w 286"/>
              <a:gd name="T73" fmla="*/ 9 h 282"/>
              <a:gd name="T74" fmla="*/ 210 w 286"/>
              <a:gd name="T75" fmla="*/ 6 h 282"/>
              <a:gd name="T76" fmla="*/ 234 w 286"/>
              <a:gd name="T77" fmla="*/ 11 h 282"/>
              <a:gd name="T78" fmla="*/ 241 w 286"/>
              <a:gd name="T79" fmla="*/ 20 h 282"/>
              <a:gd name="T80" fmla="*/ 247 w 286"/>
              <a:gd name="T81" fmla="*/ 20 h 282"/>
              <a:gd name="T82" fmla="*/ 253 w 286"/>
              <a:gd name="T83" fmla="*/ 23 h 282"/>
              <a:gd name="T84" fmla="*/ 270 w 286"/>
              <a:gd name="T85" fmla="*/ 26 h 282"/>
              <a:gd name="T86" fmla="*/ 275 w 286"/>
              <a:gd name="T87" fmla="*/ 33 h 282"/>
              <a:gd name="T88" fmla="*/ 270 w 286"/>
              <a:gd name="T89" fmla="*/ 43 h 282"/>
              <a:gd name="T90" fmla="*/ 273 w 286"/>
              <a:gd name="T91" fmla="*/ 51 h 282"/>
              <a:gd name="T92" fmla="*/ 269 w 286"/>
              <a:gd name="T93" fmla="*/ 64 h 282"/>
              <a:gd name="T94" fmla="*/ 275 w 286"/>
              <a:gd name="T95" fmla="*/ 81 h 282"/>
              <a:gd name="T96" fmla="*/ 280 w 286"/>
              <a:gd name="T97" fmla="*/ 155 h 282"/>
              <a:gd name="T98" fmla="*/ 284 w 286"/>
              <a:gd name="T99" fmla="*/ 231 h 282"/>
              <a:gd name="T100" fmla="*/ 286 w 286"/>
              <a:gd name="T101" fmla="*/ 273 h 282"/>
              <a:gd name="T102" fmla="*/ 265 w 286"/>
              <a:gd name="T103" fmla="*/ 273 h 282"/>
              <a:gd name="T104" fmla="*/ 265 w 286"/>
              <a:gd name="T105" fmla="*/ 282 h 282"/>
              <a:gd name="T106" fmla="*/ 192 w 286"/>
              <a:gd name="T107" fmla="*/ 242 h 282"/>
              <a:gd name="T108" fmla="*/ 119 w 286"/>
              <a:gd name="T109" fmla="*/ 202 h 282"/>
              <a:gd name="T110" fmla="*/ 101 w 286"/>
              <a:gd name="T111" fmla="*/ 213 h 2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86" h="282">
                <a:moveTo>
                  <a:pt x="101" y="213"/>
                </a:moveTo>
                <a:lnTo>
                  <a:pt x="88" y="221"/>
                </a:lnTo>
                <a:lnTo>
                  <a:pt x="78" y="210"/>
                </a:lnTo>
                <a:lnTo>
                  <a:pt x="49" y="201"/>
                </a:lnTo>
                <a:lnTo>
                  <a:pt x="41" y="188"/>
                </a:lnTo>
                <a:lnTo>
                  <a:pt x="27" y="178"/>
                </a:lnTo>
                <a:lnTo>
                  <a:pt x="19" y="182"/>
                </a:lnTo>
                <a:lnTo>
                  <a:pt x="12" y="170"/>
                </a:lnTo>
                <a:lnTo>
                  <a:pt x="11" y="162"/>
                </a:lnTo>
                <a:lnTo>
                  <a:pt x="0" y="146"/>
                </a:lnTo>
                <a:lnTo>
                  <a:pt x="7" y="138"/>
                </a:lnTo>
                <a:lnTo>
                  <a:pt x="5" y="125"/>
                </a:lnTo>
                <a:lnTo>
                  <a:pt x="7" y="113"/>
                </a:lnTo>
                <a:lnTo>
                  <a:pt x="6" y="104"/>
                </a:lnTo>
                <a:lnTo>
                  <a:pt x="9" y="87"/>
                </a:lnTo>
                <a:lnTo>
                  <a:pt x="7" y="77"/>
                </a:lnTo>
                <a:lnTo>
                  <a:pt x="1" y="59"/>
                </a:lnTo>
                <a:lnTo>
                  <a:pt x="10" y="54"/>
                </a:lnTo>
                <a:lnTo>
                  <a:pt x="11" y="45"/>
                </a:lnTo>
                <a:lnTo>
                  <a:pt x="9" y="37"/>
                </a:lnTo>
                <a:lnTo>
                  <a:pt x="21" y="29"/>
                </a:lnTo>
                <a:lnTo>
                  <a:pt x="26" y="22"/>
                </a:lnTo>
                <a:lnTo>
                  <a:pt x="34" y="16"/>
                </a:lnTo>
                <a:lnTo>
                  <a:pt x="35" y="0"/>
                </a:lnTo>
                <a:lnTo>
                  <a:pt x="55" y="7"/>
                </a:lnTo>
                <a:lnTo>
                  <a:pt x="63" y="6"/>
                </a:lnTo>
                <a:lnTo>
                  <a:pt x="77" y="9"/>
                </a:lnTo>
                <a:lnTo>
                  <a:pt x="101" y="18"/>
                </a:lnTo>
                <a:lnTo>
                  <a:pt x="110" y="37"/>
                </a:lnTo>
                <a:lnTo>
                  <a:pt x="126" y="41"/>
                </a:lnTo>
                <a:lnTo>
                  <a:pt x="151" y="50"/>
                </a:lnTo>
                <a:lnTo>
                  <a:pt x="170" y="60"/>
                </a:lnTo>
                <a:lnTo>
                  <a:pt x="178" y="54"/>
                </a:lnTo>
                <a:lnTo>
                  <a:pt x="186" y="45"/>
                </a:lnTo>
                <a:lnTo>
                  <a:pt x="181" y="29"/>
                </a:lnTo>
                <a:lnTo>
                  <a:pt x="186" y="19"/>
                </a:lnTo>
                <a:lnTo>
                  <a:pt x="198" y="9"/>
                </a:lnTo>
                <a:lnTo>
                  <a:pt x="210" y="6"/>
                </a:lnTo>
                <a:lnTo>
                  <a:pt x="234" y="11"/>
                </a:lnTo>
                <a:lnTo>
                  <a:pt x="241" y="20"/>
                </a:lnTo>
                <a:lnTo>
                  <a:pt x="247" y="20"/>
                </a:lnTo>
                <a:lnTo>
                  <a:pt x="253" y="23"/>
                </a:lnTo>
                <a:lnTo>
                  <a:pt x="270" y="26"/>
                </a:lnTo>
                <a:lnTo>
                  <a:pt x="275" y="33"/>
                </a:lnTo>
                <a:lnTo>
                  <a:pt x="270" y="43"/>
                </a:lnTo>
                <a:lnTo>
                  <a:pt x="273" y="51"/>
                </a:lnTo>
                <a:lnTo>
                  <a:pt x="269" y="64"/>
                </a:lnTo>
                <a:lnTo>
                  <a:pt x="275" y="81"/>
                </a:lnTo>
                <a:lnTo>
                  <a:pt x="280" y="155"/>
                </a:lnTo>
                <a:lnTo>
                  <a:pt x="284" y="231"/>
                </a:lnTo>
                <a:lnTo>
                  <a:pt x="286" y="273"/>
                </a:lnTo>
                <a:lnTo>
                  <a:pt x="265" y="273"/>
                </a:lnTo>
                <a:lnTo>
                  <a:pt x="265" y="282"/>
                </a:lnTo>
                <a:lnTo>
                  <a:pt x="192" y="242"/>
                </a:lnTo>
                <a:lnTo>
                  <a:pt x="119" y="202"/>
                </a:lnTo>
                <a:lnTo>
                  <a:pt x="101" y="213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27" name="Freeform 112"/>
          <p:cNvSpPr>
            <a:spLocks/>
          </p:cNvSpPr>
          <p:nvPr/>
        </p:nvSpPr>
        <p:spPr bwMode="auto">
          <a:xfrm>
            <a:off x="6580709" y="6438484"/>
            <a:ext cx="158233" cy="402174"/>
          </a:xfrm>
          <a:custGeom>
            <a:avLst/>
            <a:gdLst>
              <a:gd name="T0" fmla="*/ 39 w 39"/>
              <a:gd name="T1" fmla="*/ 48 h 80"/>
              <a:gd name="T2" fmla="*/ 37 w 39"/>
              <a:gd name="T3" fmla="*/ 70 h 80"/>
              <a:gd name="T4" fmla="*/ 29 w 39"/>
              <a:gd name="T5" fmla="*/ 76 h 80"/>
              <a:gd name="T6" fmla="*/ 14 w 39"/>
              <a:gd name="T7" fmla="*/ 80 h 80"/>
              <a:gd name="T8" fmla="*/ 4 w 39"/>
              <a:gd name="T9" fmla="*/ 64 h 80"/>
              <a:gd name="T10" fmla="*/ 0 w 39"/>
              <a:gd name="T11" fmla="*/ 34 h 80"/>
              <a:gd name="T12" fmla="*/ 6 w 39"/>
              <a:gd name="T13" fmla="*/ 0 h 80"/>
              <a:gd name="T14" fmla="*/ 19 w 39"/>
              <a:gd name="T15" fmla="*/ 12 h 80"/>
              <a:gd name="T16" fmla="*/ 29 w 39"/>
              <a:gd name="T17" fmla="*/ 26 h 80"/>
              <a:gd name="T18" fmla="*/ 39 w 39"/>
              <a:gd name="T19" fmla="*/ 48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9" h="80">
                <a:moveTo>
                  <a:pt x="39" y="48"/>
                </a:moveTo>
                <a:lnTo>
                  <a:pt x="37" y="70"/>
                </a:lnTo>
                <a:lnTo>
                  <a:pt x="29" y="76"/>
                </a:lnTo>
                <a:lnTo>
                  <a:pt x="14" y="80"/>
                </a:lnTo>
                <a:lnTo>
                  <a:pt x="4" y="64"/>
                </a:lnTo>
                <a:lnTo>
                  <a:pt x="0" y="34"/>
                </a:lnTo>
                <a:lnTo>
                  <a:pt x="6" y="0"/>
                </a:lnTo>
                <a:lnTo>
                  <a:pt x="19" y="12"/>
                </a:lnTo>
                <a:lnTo>
                  <a:pt x="29" y="26"/>
                </a:lnTo>
                <a:lnTo>
                  <a:pt x="39" y="48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28" name="Freeform 114"/>
          <p:cNvSpPr>
            <a:spLocks/>
          </p:cNvSpPr>
          <p:nvPr/>
        </p:nvSpPr>
        <p:spPr bwMode="auto">
          <a:xfrm>
            <a:off x="1955439" y="1627486"/>
            <a:ext cx="357037" cy="241304"/>
          </a:xfrm>
          <a:custGeom>
            <a:avLst/>
            <a:gdLst>
              <a:gd name="T0" fmla="*/ 31 w 88"/>
              <a:gd name="T1" fmla="*/ 40 h 48"/>
              <a:gd name="T2" fmla="*/ 29 w 88"/>
              <a:gd name="T3" fmla="*/ 35 h 48"/>
              <a:gd name="T4" fmla="*/ 30 w 88"/>
              <a:gd name="T5" fmla="*/ 30 h 48"/>
              <a:gd name="T6" fmla="*/ 22 w 88"/>
              <a:gd name="T7" fmla="*/ 27 h 48"/>
              <a:gd name="T8" fmla="*/ 6 w 88"/>
              <a:gd name="T9" fmla="*/ 23 h 48"/>
              <a:gd name="T10" fmla="*/ 0 w 88"/>
              <a:gd name="T11" fmla="*/ 7 h 48"/>
              <a:gd name="T12" fmla="*/ 17 w 88"/>
              <a:gd name="T13" fmla="*/ 0 h 48"/>
              <a:gd name="T14" fmla="*/ 42 w 88"/>
              <a:gd name="T15" fmla="*/ 2 h 48"/>
              <a:gd name="T16" fmla="*/ 57 w 88"/>
              <a:gd name="T17" fmla="*/ 0 h 48"/>
              <a:gd name="T18" fmla="*/ 60 w 88"/>
              <a:gd name="T19" fmla="*/ 4 h 48"/>
              <a:gd name="T20" fmla="*/ 68 w 88"/>
              <a:gd name="T21" fmla="*/ 5 h 48"/>
              <a:gd name="T22" fmla="*/ 85 w 88"/>
              <a:gd name="T23" fmla="*/ 15 h 48"/>
              <a:gd name="T24" fmla="*/ 88 w 88"/>
              <a:gd name="T25" fmla="*/ 24 h 48"/>
              <a:gd name="T26" fmla="*/ 76 w 88"/>
              <a:gd name="T27" fmla="*/ 30 h 48"/>
              <a:gd name="T28" fmla="*/ 74 w 88"/>
              <a:gd name="T29" fmla="*/ 41 h 48"/>
              <a:gd name="T30" fmla="*/ 58 w 88"/>
              <a:gd name="T31" fmla="*/ 48 h 48"/>
              <a:gd name="T32" fmla="*/ 44 w 88"/>
              <a:gd name="T33" fmla="*/ 48 h 48"/>
              <a:gd name="T34" fmla="*/ 39 w 88"/>
              <a:gd name="T35" fmla="*/ 42 h 48"/>
              <a:gd name="T36" fmla="*/ 31 w 88"/>
              <a:gd name="T37" fmla="*/ 4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88" h="48">
                <a:moveTo>
                  <a:pt x="31" y="40"/>
                </a:moveTo>
                <a:lnTo>
                  <a:pt x="29" y="35"/>
                </a:lnTo>
                <a:lnTo>
                  <a:pt x="30" y="30"/>
                </a:lnTo>
                <a:lnTo>
                  <a:pt x="22" y="27"/>
                </a:lnTo>
                <a:lnTo>
                  <a:pt x="6" y="23"/>
                </a:lnTo>
                <a:lnTo>
                  <a:pt x="0" y="7"/>
                </a:lnTo>
                <a:lnTo>
                  <a:pt x="17" y="0"/>
                </a:lnTo>
                <a:lnTo>
                  <a:pt x="42" y="2"/>
                </a:lnTo>
                <a:lnTo>
                  <a:pt x="57" y="0"/>
                </a:lnTo>
                <a:lnTo>
                  <a:pt x="60" y="4"/>
                </a:lnTo>
                <a:lnTo>
                  <a:pt x="68" y="5"/>
                </a:lnTo>
                <a:lnTo>
                  <a:pt x="85" y="15"/>
                </a:lnTo>
                <a:lnTo>
                  <a:pt x="88" y="24"/>
                </a:lnTo>
                <a:lnTo>
                  <a:pt x="76" y="30"/>
                </a:lnTo>
                <a:lnTo>
                  <a:pt x="74" y="41"/>
                </a:lnTo>
                <a:lnTo>
                  <a:pt x="58" y="48"/>
                </a:lnTo>
                <a:lnTo>
                  <a:pt x="44" y="48"/>
                </a:lnTo>
                <a:lnTo>
                  <a:pt x="39" y="42"/>
                </a:lnTo>
                <a:lnTo>
                  <a:pt x="31" y="40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29" name="Freeform 115"/>
          <p:cNvSpPr>
            <a:spLocks/>
          </p:cNvSpPr>
          <p:nvPr/>
        </p:nvSpPr>
        <p:spPr bwMode="auto">
          <a:xfrm>
            <a:off x="1022270" y="2250855"/>
            <a:ext cx="36518" cy="70379"/>
          </a:xfrm>
          <a:custGeom>
            <a:avLst/>
            <a:gdLst>
              <a:gd name="T0" fmla="*/ 6 w 9"/>
              <a:gd name="T1" fmla="*/ 0 h 14"/>
              <a:gd name="T2" fmla="*/ 9 w 9"/>
              <a:gd name="T3" fmla="*/ 5 h 14"/>
              <a:gd name="T4" fmla="*/ 8 w 9"/>
              <a:gd name="T5" fmla="*/ 14 h 14"/>
              <a:gd name="T6" fmla="*/ 4 w 9"/>
              <a:gd name="T7" fmla="*/ 14 h 14"/>
              <a:gd name="T8" fmla="*/ 0 w 9"/>
              <a:gd name="T9" fmla="*/ 13 h 14"/>
              <a:gd name="T10" fmla="*/ 2 w 9"/>
              <a:gd name="T11" fmla="*/ 1 h 14"/>
              <a:gd name="T12" fmla="*/ 6 w 9"/>
              <a:gd name="T13" fmla="*/ 0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" h="14">
                <a:moveTo>
                  <a:pt x="6" y="0"/>
                </a:moveTo>
                <a:lnTo>
                  <a:pt x="9" y="5"/>
                </a:lnTo>
                <a:lnTo>
                  <a:pt x="8" y="14"/>
                </a:lnTo>
                <a:lnTo>
                  <a:pt x="4" y="14"/>
                </a:lnTo>
                <a:lnTo>
                  <a:pt x="0" y="13"/>
                </a:lnTo>
                <a:lnTo>
                  <a:pt x="2" y="1"/>
                </a:lnTo>
                <a:lnTo>
                  <a:pt x="6" y="0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30" name="Freeform 116"/>
          <p:cNvSpPr>
            <a:spLocks/>
          </p:cNvSpPr>
          <p:nvPr/>
        </p:nvSpPr>
        <p:spPr bwMode="auto">
          <a:xfrm>
            <a:off x="1951383" y="1466616"/>
            <a:ext cx="442244" cy="236278"/>
          </a:xfrm>
          <a:custGeom>
            <a:avLst/>
            <a:gdLst>
              <a:gd name="T0" fmla="*/ 1 w 109"/>
              <a:gd name="T1" fmla="*/ 39 h 47"/>
              <a:gd name="T2" fmla="*/ 0 w 109"/>
              <a:gd name="T3" fmla="*/ 24 h 47"/>
              <a:gd name="T4" fmla="*/ 5 w 109"/>
              <a:gd name="T5" fmla="*/ 11 h 47"/>
              <a:gd name="T6" fmla="*/ 18 w 109"/>
              <a:gd name="T7" fmla="*/ 5 h 47"/>
              <a:gd name="T8" fmla="*/ 33 w 109"/>
              <a:gd name="T9" fmla="*/ 19 h 47"/>
              <a:gd name="T10" fmla="*/ 45 w 109"/>
              <a:gd name="T11" fmla="*/ 19 h 47"/>
              <a:gd name="T12" fmla="*/ 45 w 109"/>
              <a:gd name="T13" fmla="*/ 4 h 47"/>
              <a:gd name="T14" fmla="*/ 57 w 109"/>
              <a:gd name="T15" fmla="*/ 0 h 47"/>
              <a:gd name="T16" fmla="*/ 64 w 109"/>
              <a:gd name="T17" fmla="*/ 3 h 47"/>
              <a:gd name="T18" fmla="*/ 79 w 109"/>
              <a:gd name="T19" fmla="*/ 10 h 47"/>
              <a:gd name="T20" fmla="*/ 91 w 109"/>
              <a:gd name="T21" fmla="*/ 10 h 47"/>
              <a:gd name="T22" fmla="*/ 99 w 109"/>
              <a:gd name="T23" fmla="*/ 15 h 47"/>
              <a:gd name="T24" fmla="*/ 102 w 109"/>
              <a:gd name="T25" fmla="*/ 24 h 47"/>
              <a:gd name="T26" fmla="*/ 109 w 109"/>
              <a:gd name="T27" fmla="*/ 36 h 47"/>
              <a:gd name="T28" fmla="*/ 94 w 109"/>
              <a:gd name="T29" fmla="*/ 43 h 47"/>
              <a:gd name="T30" fmla="*/ 86 w 109"/>
              <a:gd name="T31" fmla="*/ 47 h 47"/>
              <a:gd name="T32" fmla="*/ 69 w 109"/>
              <a:gd name="T33" fmla="*/ 37 h 47"/>
              <a:gd name="T34" fmla="*/ 61 w 109"/>
              <a:gd name="T35" fmla="*/ 36 h 47"/>
              <a:gd name="T36" fmla="*/ 58 w 109"/>
              <a:gd name="T37" fmla="*/ 32 h 47"/>
              <a:gd name="T38" fmla="*/ 43 w 109"/>
              <a:gd name="T39" fmla="*/ 34 h 47"/>
              <a:gd name="T40" fmla="*/ 18 w 109"/>
              <a:gd name="T41" fmla="*/ 32 h 47"/>
              <a:gd name="T42" fmla="*/ 1 w 109"/>
              <a:gd name="T43" fmla="*/ 39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09" h="47">
                <a:moveTo>
                  <a:pt x="1" y="39"/>
                </a:moveTo>
                <a:lnTo>
                  <a:pt x="0" y="24"/>
                </a:lnTo>
                <a:lnTo>
                  <a:pt x="5" y="11"/>
                </a:lnTo>
                <a:lnTo>
                  <a:pt x="18" y="5"/>
                </a:lnTo>
                <a:lnTo>
                  <a:pt x="33" y="19"/>
                </a:lnTo>
                <a:lnTo>
                  <a:pt x="45" y="19"/>
                </a:lnTo>
                <a:lnTo>
                  <a:pt x="45" y="4"/>
                </a:lnTo>
                <a:lnTo>
                  <a:pt x="57" y="0"/>
                </a:lnTo>
                <a:lnTo>
                  <a:pt x="64" y="3"/>
                </a:lnTo>
                <a:lnTo>
                  <a:pt x="79" y="10"/>
                </a:lnTo>
                <a:lnTo>
                  <a:pt x="91" y="10"/>
                </a:lnTo>
                <a:lnTo>
                  <a:pt x="99" y="15"/>
                </a:lnTo>
                <a:lnTo>
                  <a:pt x="102" y="24"/>
                </a:lnTo>
                <a:lnTo>
                  <a:pt x="109" y="36"/>
                </a:lnTo>
                <a:lnTo>
                  <a:pt x="94" y="43"/>
                </a:lnTo>
                <a:lnTo>
                  <a:pt x="86" y="47"/>
                </a:lnTo>
                <a:lnTo>
                  <a:pt x="69" y="37"/>
                </a:lnTo>
                <a:lnTo>
                  <a:pt x="61" y="36"/>
                </a:lnTo>
                <a:lnTo>
                  <a:pt x="58" y="32"/>
                </a:lnTo>
                <a:lnTo>
                  <a:pt x="43" y="34"/>
                </a:lnTo>
                <a:lnTo>
                  <a:pt x="18" y="32"/>
                </a:lnTo>
                <a:lnTo>
                  <a:pt x="1" y="39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31" name="Freeform 117"/>
          <p:cNvSpPr>
            <a:spLocks/>
          </p:cNvSpPr>
          <p:nvPr/>
        </p:nvSpPr>
        <p:spPr bwMode="auto">
          <a:xfrm>
            <a:off x="-292116" y="3733855"/>
            <a:ext cx="868096" cy="844578"/>
          </a:xfrm>
          <a:custGeom>
            <a:avLst/>
            <a:gdLst>
              <a:gd name="T0" fmla="*/ 227 w 287"/>
              <a:gd name="T1" fmla="*/ 9 h 297"/>
              <a:gd name="T2" fmla="*/ 261 w 287"/>
              <a:gd name="T3" fmla="*/ 12 h 297"/>
              <a:gd name="T4" fmla="*/ 275 w 287"/>
              <a:gd name="T5" fmla="*/ 25 h 297"/>
              <a:gd name="T6" fmla="*/ 282 w 287"/>
              <a:gd name="T7" fmla="*/ 60 h 297"/>
              <a:gd name="T8" fmla="*/ 284 w 287"/>
              <a:gd name="T9" fmla="*/ 72 h 297"/>
              <a:gd name="T10" fmla="*/ 253 w 287"/>
              <a:gd name="T11" fmla="*/ 84 h 297"/>
              <a:gd name="T12" fmla="*/ 242 w 287"/>
              <a:gd name="T13" fmla="*/ 101 h 297"/>
              <a:gd name="T14" fmla="*/ 214 w 287"/>
              <a:gd name="T15" fmla="*/ 119 h 297"/>
              <a:gd name="T16" fmla="*/ 182 w 287"/>
              <a:gd name="T17" fmla="*/ 128 h 297"/>
              <a:gd name="T18" fmla="*/ 153 w 287"/>
              <a:gd name="T19" fmla="*/ 168 h 297"/>
              <a:gd name="T20" fmla="*/ 150 w 287"/>
              <a:gd name="T21" fmla="*/ 168 h 297"/>
              <a:gd name="T22" fmla="*/ 139 w 287"/>
              <a:gd name="T23" fmla="*/ 180 h 297"/>
              <a:gd name="T24" fmla="*/ 125 w 287"/>
              <a:gd name="T25" fmla="*/ 184 h 297"/>
              <a:gd name="T26" fmla="*/ 104 w 287"/>
              <a:gd name="T27" fmla="*/ 184 h 297"/>
              <a:gd name="T28" fmla="*/ 92 w 287"/>
              <a:gd name="T29" fmla="*/ 202 h 297"/>
              <a:gd name="T30" fmla="*/ 58 w 287"/>
              <a:gd name="T31" fmla="*/ 250 h 297"/>
              <a:gd name="T32" fmla="*/ 43 w 287"/>
              <a:gd name="T33" fmla="*/ 288 h 297"/>
              <a:gd name="T34" fmla="*/ 0 w 287"/>
              <a:gd name="T35" fmla="*/ 297 h 297"/>
              <a:gd name="T36" fmla="*/ 1 w 287"/>
              <a:gd name="T37" fmla="*/ 288 h 297"/>
              <a:gd name="T38" fmla="*/ 14 w 287"/>
              <a:gd name="T39" fmla="*/ 271 h 297"/>
              <a:gd name="T40" fmla="*/ 20 w 287"/>
              <a:gd name="T41" fmla="*/ 249 h 297"/>
              <a:gd name="T42" fmla="*/ 37 w 287"/>
              <a:gd name="T43" fmla="*/ 233 h 297"/>
              <a:gd name="T44" fmla="*/ 42 w 287"/>
              <a:gd name="T45" fmla="*/ 210 h 297"/>
              <a:gd name="T46" fmla="*/ 61 w 287"/>
              <a:gd name="T47" fmla="*/ 189 h 297"/>
              <a:gd name="T48" fmla="*/ 74 w 287"/>
              <a:gd name="T49" fmla="*/ 168 h 297"/>
              <a:gd name="T50" fmla="*/ 99 w 287"/>
              <a:gd name="T51" fmla="*/ 158 h 297"/>
              <a:gd name="T52" fmla="*/ 123 w 287"/>
              <a:gd name="T53" fmla="*/ 138 h 297"/>
              <a:gd name="T54" fmla="*/ 134 w 287"/>
              <a:gd name="T55" fmla="*/ 95 h 297"/>
              <a:gd name="T56" fmla="*/ 144 w 287"/>
              <a:gd name="T57" fmla="*/ 66 h 297"/>
              <a:gd name="T58" fmla="*/ 173 w 287"/>
              <a:gd name="T59" fmla="*/ 43 h 297"/>
              <a:gd name="T60" fmla="*/ 198 w 287"/>
              <a:gd name="T61" fmla="*/ 13 h 297"/>
              <a:gd name="T62" fmla="*/ 217 w 287"/>
              <a:gd name="T63" fmla="*/ 0 h 297"/>
              <a:gd name="connsiteX0" fmla="*/ 7561 w 10000"/>
              <a:gd name="connsiteY0" fmla="*/ 0 h 10000"/>
              <a:gd name="connsiteX1" fmla="*/ 7909 w 10000"/>
              <a:gd name="connsiteY1" fmla="*/ 303 h 10000"/>
              <a:gd name="connsiteX2" fmla="*/ 8502 w 10000"/>
              <a:gd name="connsiteY2" fmla="*/ 236 h 10000"/>
              <a:gd name="connsiteX3" fmla="*/ 9094 w 10000"/>
              <a:gd name="connsiteY3" fmla="*/ 404 h 10000"/>
              <a:gd name="connsiteX4" fmla="*/ 9373 w 10000"/>
              <a:gd name="connsiteY4" fmla="*/ 404 h 10000"/>
              <a:gd name="connsiteX5" fmla="*/ 9582 w 10000"/>
              <a:gd name="connsiteY5" fmla="*/ 842 h 10000"/>
              <a:gd name="connsiteX6" fmla="*/ 9617 w 10000"/>
              <a:gd name="connsiteY6" fmla="*/ 1279 h 10000"/>
              <a:gd name="connsiteX7" fmla="*/ 9826 w 10000"/>
              <a:gd name="connsiteY7" fmla="*/ 2020 h 10000"/>
              <a:gd name="connsiteX8" fmla="*/ 10000 w 10000"/>
              <a:gd name="connsiteY8" fmla="*/ 2155 h 10000"/>
              <a:gd name="connsiteX9" fmla="*/ 9895 w 10000"/>
              <a:gd name="connsiteY9" fmla="*/ 2424 h 10000"/>
              <a:gd name="connsiteX10" fmla="*/ 9094 w 10000"/>
              <a:gd name="connsiteY10" fmla="*/ 2559 h 10000"/>
              <a:gd name="connsiteX11" fmla="*/ 8815 w 10000"/>
              <a:gd name="connsiteY11" fmla="*/ 2828 h 10000"/>
              <a:gd name="connsiteX12" fmla="*/ 8432 w 10000"/>
              <a:gd name="connsiteY12" fmla="*/ 2862 h 10000"/>
              <a:gd name="connsiteX13" fmla="*/ 8432 w 10000"/>
              <a:gd name="connsiteY13" fmla="*/ 3401 h 10000"/>
              <a:gd name="connsiteX14" fmla="*/ 7700 w 10000"/>
              <a:gd name="connsiteY14" fmla="*/ 3670 h 10000"/>
              <a:gd name="connsiteX15" fmla="*/ 7456 w 10000"/>
              <a:gd name="connsiteY15" fmla="*/ 4007 h 10000"/>
              <a:gd name="connsiteX16" fmla="*/ 6969 w 10000"/>
              <a:gd name="connsiteY16" fmla="*/ 4209 h 10000"/>
              <a:gd name="connsiteX17" fmla="*/ 6341 w 10000"/>
              <a:gd name="connsiteY17" fmla="*/ 4310 h 10000"/>
              <a:gd name="connsiteX18" fmla="*/ 5331 w 10000"/>
              <a:gd name="connsiteY18" fmla="*/ 4815 h 10000"/>
              <a:gd name="connsiteX19" fmla="*/ 5331 w 10000"/>
              <a:gd name="connsiteY19" fmla="*/ 5657 h 10000"/>
              <a:gd name="connsiteX20" fmla="*/ 5226 w 10000"/>
              <a:gd name="connsiteY20" fmla="*/ 5657 h 10000"/>
              <a:gd name="connsiteX21" fmla="*/ 5226 w 10000"/>
              <a:gd name="connsiteY21" fmla="*/ 5657 h 10000"/>
              <a:gd name="connsiteX22" fmla="*/ 5226 w 10000"/>
              <a:gd name="connsiteY22" fmla="*/ 6027 h 10000"/>
              <a:gd name="connsiteX23" fmla="*/ 4843 w 10000"/>
              <a:gd name="connsiteY23" fmla="*/ 6061 h 10000"/>
              <a:gd name="connsiteX24" fmla="*/ 4634 w 10000"/>
              <a:gd name="connsiteY24" fmla="*/ 6195 h 10000"/>
              <a:gd name="connsiteX25" fmla="*/ 4355 w 10000"/>
              <a:gd name="connsiteY25" fmla="*/ 6195 h 10000"/>
              <a:gd name="connsiteX26" fmla="*/ 4146 w 10000"/>
              <a:gd name="connsiteY26" fmla="*/ 6128 h 10000"/>
              <a:gd name="connsiteX27" fmla="*/ 3624 w 10000"/>
              <a:gd name="connsiteY27" fmla="*/ 6195 h 10000"/>
              <a:gd name="connsiteX28" fmla="*/ 3415 w 10000"/>
              <a:gd name="connsiteY28" fmla="*/ 6734 h 10000"/>
              <a:gd name="connsiteX29" fmla="*/ 3206 w 10000"/>
              <a:gd name="connsiteY29" fmla="*/ 6801 h 10000"/>
              <a:gd name="connsiteX30" fmla="*/ 2892 w 10000"/>
              <a:gd name="connsiteY30" fmla="*/ 7677 h 10000"/>
              <a:gd name="connsiteX31" fmla="*/ 2021 w 10000"/>
              <a:gd name="connsiteY31" fmla="*/ 8418 h 10000"/>
              <a:gd name="connsiteX32" fmla="*/ 1777 w 10000"/>
              <a:gd name="connsiteY32" fmla="*/ 9394 h 10000"/>
              <a:gd name="connsiteX33" fmla="*/ 1498 w 10000"/>
              <a:gd name="connsiteY33" fmla="*/ 9697 h 10000"/>
              <a:gd name="connsiteX34" fmla="*/ 1429 w 10000"/>
              <a:gd name="connsiteY34" fmla="*/ 9966 h 10000"/>
              <a:gd name="connsiteX35" fmla="*/ 0 w 10000"/>
              <a:gd name="connsiteY35" fmla="*/ 10000 h 10000"/>
              <a:gd name="connsiteX36" fmla="*/ 35 w 10000"/>
              <a:gd name="connsiteY36" fmla="*/ 9697 h 10000"/>
              <a:gd name="connsiteX37" fmla="*/ 279 w 10000"/>
              <a:gd name="connsiteY37" fmla="*/ 9495 h 10000"/>
              <a:gd name="connsiteX38" fmla="*/ 488 w 10000"/>
              <a:gd name="connsiteY38" fmla="*/ 9125 h 10000"/>
              <a:gd name="connsiteX39" fmla="*/ 453 w 10000"/>
              <a:gd name="connsiteY39" fmla="*/ 8889 h 10000"/>
              <a:gd name="connsiteX40" fmla="*/ 697 w 10000"/>
              <a:gd name="connsiteY40" fmla="*/ 8384 h 10000"/>
              <a:gd name="connsiteX41" fmla="*/ 1045 w 10000"/>
              <a:gd name="connsiteY41" fmla="*/ 7946 h 10000"/>
              <a:gd name="connsiteX42" fmla="*/ 1289 w 10000"/>
              <a:gd name="connsiteY42" fmla="*/ 7845 h 10000"/>
              <a:gd name="connsiteX43" fmla="*/ 1463 w 10000"/>
              <a:gd name="connsiteY43" fmla="*/ 7441 h 10000"/>
              <a:gd name="connsiteX44" fmla="*/ 1463 w 10000"/>
              <a:gd name="connsiteY44" fmla="*/ 7071 h 10000"/>
              <a:gd name="connsiteX45" fmla="*/ 1707 w 10000"/>
              <a:gd name="connsiteY45" fmla="*/ 6633 h 10000"/>
              <a:gd name="connsiteX46" fmla="*/ 2125 w 10000"/>
              <a:gd name="connsiteY46" fmla="*/ 6364 h 10000"/>
              <a:gd name="connsiteX47" fmla="*/ 2544 w 10000"/>
              <a:gd name="connsiteY47" fmla="*/ 5657 h 10000"/>
              <a:gd name="connsiteX48" fmla="*/ 2578 w 10000"/>
              <a:gd name="connsiteY48" fmla="*/ 5657 h 10000"/>
              <a:gd name="connsiteX49" fmla="*/ 2892 w 10000"/>
              <a:gd name="connsiteY49" fmla="*/ 5387 h 10000"/>
              <a:gd name="connsiteX50" fmla="*/ 3449 w 10000"/>
              <a:gd name="connsiteY50" fmla="*/ 5320 h 10000"/>
              <a:gd name="connsiteX51" fmla="*/ 3972 w 10000"/>
              <a:gd name="connsiteY51" fmla="*/ 4848 h 10000"/>
              <a:gd name="connsiteX52" fmla="*/ 4286 w 10000"/>
              <a:gd name="connsiteY52" fmla="*/ 4646 h 10000"/>
              <a:gd name="connsiteX53" fmla="*/ 4808 w 10000"/>
              <a:gd name="connsiteY53" fmla="*/ 4074 h 10000"/>
              <a:gd name="connsiteX54" fmla="*/ 4669 w 10000"/>
              <a:gd name="connsiteY54" fmla="*/ 3199 h 10000"/>
              <a:gd name="connsiteX55" fmla="*/ 4913 w 10000"/>
              <a:gd name="connsiteY55" fmla="*/ 2593 h 10000"/>
              <a:gd name="connsiteX56" fmla="*/ 5017 w 10000"/>
              <a:gd name="connsiteY56" fmla="*/ 2222 h 10000"/>
              <a:gd name="connsiteX57" fmla="*/ 5436 w 10000"/>
              <a:gd name="connsiteY57" fmla="*/ 1751 h 10000"/>
              <a:gd name="connsiteX58" fmla="*/ 6028 w 10000"/>
              <a:gd name="connsiteY58" fmla="*/ 1448 h 10000"/>
              <a:gd name="connsiteX59" fmla="*/ 6481 w 10000"/>
              <a:gd name="connsiteY59" fmla="*/ 1145 h 10000"/>
              <a:gd name="connsiteX60" fmla="*/ 6899 w 10000"/>
              <a:gd name="connsiteY60" fmla="*/ 438 h 10000"/>
              <a:gd name="connsiteX61" fmla="*/ 7108 w 10000"/>
              <a:gd name="connsiteY61" fmla="*/ 0 h 10000"/>
              <a:gd name="connsiteX62" fmla="*/ 7561 w 10000"/>
              <a:gd name="connsiteY62" fmla="*/ 0 h 10000"/>
              <a:gd name="connsiteX0" fmla="*/ 7561 w 10000"/>
              <a:gd name="connsiteY0" fmla="*/ 0 h 10000"/>
              <a:gd name="connsiteX1" fmla="*/ 7909 w 10000"/>
              <a:gd name="connsiteY1" fmla="*/ 303 h 10000"/>
              <a:gd name="connsiteX2" fmla="*/ 8502 w 10000"/>
              <a:gd name="connsiteY2" fmla="*/ 236 h 10000"/>
              <a:gd name="connsiteX3" fmla="*/ 9094 w 10000"/>
              <a:gd name="connsiteY3" fmla="*/ 404 h 10000"/>
              <a:gd name="connsiteX4" fmla="*/ 9373 w 10000"/>
              <a:gd name="connsiteY4" fmla="*/ 404 h 10000"/>
              <a:gd name="connsiteX5" fmla="*/ 9582 w 10000"/>
              <a:gd name="connsiteY5" fmla="*/ 842 h 10000"/>
              <a:gd name="connsiteX6" fmla="*/ 9617 w 10000"/>
              <a:gd name="connsiteY6" fmla="*/ 1279 h 10000"/>
              <a:gd name="connsiteX7" fmla="*/ 9826 w 10000"/>
              <a:gd name="connsiteY7" fmla="*/ 2020 h 10000"/>
              <a:gd name="connsiteX8" fmla="*/ 10000 w 10000"/>
              <a:gd name="connsiteY8" fmla="*/ 2155 h 10000"/>
              <a:gd name="connsiteX9" fmla="*/ 9895 w 10000"/>
              <a:gd name="connsiteY9" fmla="*/ 2424 h 10000"/>
              <a:gd name="connsiteX10" fmla="*/ 9094 w 10000"/>
              <a:gd name="connsiteY10" fmla="*/ 2559 h 10000"/>
              <a:gd name="connsiteX11" fmla="*/ 8815 w 10000"/>
              <a:gd name="connsiteY11" fmla="*/ 2828 h 10000"/>
              <a:gd name="connsiteX12" fmla="*/ 8432 w 10000"/>
              <a:gd name="connsiteY12" fmla="*/ 2862 h 10000"/>
              <a:gd name="connsiteX13" fmla="*/ 8432 w 10000"/>
              <a:gd name="connsiteY13" fmla="*/ 3401 h 10000"/>
              <a:gd name="connsiteX14" fmla="*/ 7700 w 10000"/>
              <a:gd name="connsiteY14" fmla="*/ 3670 h 10000"/>
              <a:gd name="connsiteX15" fmla="*/ 7456 w 10000"/>
              <a:gd name="connsiteY15" fmla="*/ 4007 h 10000"/>
              <a:gd name="connsiteX16" fmla="*/ 6969 w 10000"/>
              <a:gd name="connsiteY16" fmla="*/ 4209 h 10000"/>
              <a:gd name="connsiteX17" fmla="*/ 6341 w 10000"/>
              <a:gd name="connsiteY17" fmla="*/ 4310 h 10000"/>
              <a:gd name="connsiteX18" fmla="*/ 5331 w 10000"/>
              <a:gd name="connsiteY18" fmla="*/ 4815 h 10000"/>
              <a:gd name="connsiteX19" fmla="*/ 5331 w 10000"/>
              <a:gd name="connsiteY19" fmla="*/ 5657 h 10000"/>
              <a:gd name="connsiteX20" fmla="*/ 5226 w 10000"/>
              <a:gd name="connsiteY20" fmla="*/ 5657 h 10000"/>
              <a:gd name="connsiteX21" fmla="*/ 5226 w 10000"/>
              <a:gd name="connsiteY21" fmla="*/ 5657 h 10000"/>
              <a:gd name="connsiteX22" fmla="*/ 5226 w 10000"/>
              <a:gd name="connsiteY22" fmla="*/ 6027 h 10000"/>
              <a:gd name="connsiteX23" fmla="*/ 4843 w 10000"/>
              <a:gd name="connsiteY23" fmla="*/ 6061 h 10000"/>
              <a:gd name="connsiteX24" fmla="*/ 4634 w 10000"/>
              <a:gd name="connsiteY24" fmla="*/ 6195 h 10000"/>
              <a:gd name="connsiteX25" fmla="*/ 4355 w 10000"/>
              <a:gd name="connsiteY25" fmla="*/ 6195 h 10000"/>
              <a:gd name="connsiteX26" fmla="*/ 4146 w 10000"/>
              <a:gd name="connsiteY26" fmla="*/ 6128 h 10000"/>
              <a:gd name="connsiteX27" fmla="*/ 3624 w 10000"/>
              <a:gd name="connsiteY27" fmla="*/ 6195 h 10000"/>
              <a:gd name="connsiteX28" fmla="*/ 3415 w 10000"/>
              <a:gd name="connsiteY28" fmla="*/ 6734 h 10000"/>
              <a:gd name="connsiteX29" fmla="*/ 3206 w 10000"/>
              <a:gd name="connsiteY29" fmla="*/ 6801 h 10000"/>
              <a:gd name="connsiteX30" fmla="*/ 2892 w 10000"/>
              <a:gd name="connsiteY30" fmla="*/ 7677 h 10000"/>
              <a:gd name="connsiteX31" fmla="*/ 2021 w 10000"/>
              <a:gd name="connsiteY31" fmla="*/ 8418 h 10000"/>
              <a:gd name="connsiteX32" fmla="*/ 1777 w 10000"/>
              <a:gd name="connsiteY32" fmla="*/ 9394 h 10000"/>
              <a:gd name="connsiteX33" fmla="*/ 1498 w 10000"/>
              <a:gd name="connsiteY33" fmla="*/ 9697 h 10000"/>
              <a:gd name="connsiteX34" fmla="*/ 0 w 10000"/>
              <a:gd name="connsiteY34" fmla="*/ 10000 h 10000"/>
              <a:gd name="connsiteX35" fmla="*/ 35 w 10000"/>
              <a:gd name="connsiteY35" fmla="*/ 9697 h 10000"/>
              <a:gd name="connsiteX36" fmla="*/ 279 w 10000"/>
              <a:gd name="connsiteY36" fmla="*/ 9495 h 10000"/>
              <a:gd name="connsiteX37" fmla="*/ 488 w 10000"/>
              <a:gd name="connsiteY37" fmla="*/ 9125 h 10000"/>
              <a:gd name="connsiteX38" fmla="*/ 453 w 10000"/>
              <a:gd name="connsiteY38" fmla="*/ 8889 h 10000"/>
              <a:gd name="connsiteX39" fmla="*/ 697 w 10000"/>
              <a:gd name="connsiteY39" fmla="*/ 8384 h 10000"/>
              <a:gd name="connsiteX40" fmla="*/ 1045 w 10000"/>
              <a:gd name="connsiteY40" fmla="*/ 7946 h 10000"/>
              <a:gd name="connsiteX41" fmla="*/ 1289 w 10000"/>
              <a:gd name="connsiteY41" fmla="*/ 7845 h 10000"/>
              <a:gd name="connsiteX42" fmla="*/ 1463 w 10000"/>
              <a:gd name="connsiteY42" fmla="*/ 7441 h 10000"/>
              <a:gd name="connsiteX43" fmla="*/ 1463 w 10000"/>
              <a:gd name="connsiteY43" fmla="*/ 7071 h 10000"/>
              <a:gd name="connsiteX44" fmla="*/ 1707 w 10000"/>
              <a:gd name="connsiteY44" fmla="*/ 6633 h 10000"/>
              <a:gd name="connsiteX45" fmla="*/ 2125 w 10000"/>
              <a:gd name="connsiteY45" fmla="*/ 6364 h 10000"/>
              <a:gd name="connsiteX46" fmla="*/ 2544 w 10000"/>
              <a:gd name="connsiteY46" fmla="*/ 5657 h 10000"/>
              <a:gd name="connsiteX47" fmla="*/ 2578 w 10000"/>
              <a:gd name="connsiteY47" fmla="*/ 5657 h 10000"/>
              <a:gd name="connsiteX48" fmla="*/ 2892 w 10000"/>
              <a:gd name="connsiteY48" fmla="*/ 5387 h 10000"/>
              <a:gd name="connsiteX49" fmla="*/ 3449 w 10000"/>
              <a:gd name="connsiteY49" fmla="*/ 5320 h 10000"/>
              <a:gd name="connsiteX50" fmla="*/ 3972 w 10000"/>
              <a:gd name="connsiteY50" fmla="*/ 4848 h 10000"/>
              <a:gd name="connsiteX51" fmla="*/ 4286 w 10000"/>
              <a:gd name="connsiteY51" fmla="*/ 4646 h 10000"/>
              <a:gd name="connsiteX52" fmla="*/ 4808 w 10000"/>
              <a:gd name="connsiteY52" fmla="*/ 4074 h 10000"/>
              <a:gd name="connsiteX53" fmla="*/ 4669 w 10000"/>
              <a:gd name="connsiteY53" fmla="*/ 3199 h 10000"/>
              <a:gd name="connsiteX54" fmla="*/ 4913 w 10000"/>
              <a:gd name="connsiteY54" fmla="*/ 2593 h 10000"/>
              <a:gd name="connsiteX55" fmla="*/ 5017 w 10000"/>
              <a:gd name="connsiteY55" fmla="*/ 2222 h 10000"/>
              <a:gd name="connsiteX56" fmla="*/ 5436 w 10000"/>
              <a:gd name="connsiteY56" fmla="*/ 1751 h 10000"/>
              <a:gd name="connsiteX57" fmla="*/ 6028 w 10000"/>
              <a:gd name="connsiteY57" fmla="*/ 1448 h 10000"/>
              <a:gd name="connsiteX58" fmla="*/ 6481 w 10000"/>
              <a:gd name="connsiteY58" fmla="*/ 1145 h 10000"/>
              <a:gd name="connsiteX59" fmla="*/ 6899 w 10000"/>
              <a:gd name="connsiteY59" fmla="*/ 438 h 10000"/>
              <a:gd name="connsiteX60" fmla="*/ 7108 w 10000"/>
              <a:gd name="connsiteY60" fmla="*/ 0 h 10000"/>
              <a:gd name="connsiteX61" fmla="*/ 7561 w 10000"/>
              <a:gd name="connsiteY61" fmla="*/ 0 h 10000"/>
              <a:gd name="connsiteX0" fmla="*/ 7561 w 10000"/>
              <a:gd name="connsiteY0" fmla="*/ 0 h 10000"/>
              <a:gd name="connsiteX1" fmla="*/ 7909 w 10000"/>
              <a:gd name="connsiteY1" fmla="*/ 303 h 10000"/>
              <a:gd name="connsiteX2" fmla="*/ 8502 w 10000"/>
              <a:gd name="connsiteY2" fmla="*/ 236 h 10000"/>
              <a:gd name="connsiteX3" fmla="*/ 9094 w 10000"/>
              <a:gd name="connsiteY3" fmla="*/ 404 h 10000"/>
              <a:gd name="connsiteX4" fmla="*/ 9373 w 10000"/>
              <a:gd name="connsiteY4" fmla="*/ 404 h 10000"/>
              <a:gd name="connsiteX5" fmla="*/ 9582 w 10000"/>
              <a:gd name="connsiteY5" fmla="*/ 842 h 10000"/>
              <a:gd name="connsiteX6" fmla="*/ 9617 w 10000"/>
              <a:gd name="connsiteY6" fmla="*/ 1279 h 10000"/>
              <a:gd name="connsiteX7" fmla="*/ 9826 w 10000"/>
              <a:gd name="connsiteY7" fmla="*/ 2020 h 10000"/>
              <a:gd name="connsiteX8" fmla="*/ 10000 w 10000"/>
              <a:gd name="connsiteY8" fmla="*/ 2155 h 10000"/>
              <a:gd name="connsiteX9" fmla="*/ 9895 w 10000"/>
              <a:gd name="connsiteY9" fmla="*/ 2424 h 10000"/>
              <a:gd name="connsiteX10" fmla="*/ 9094 w 10000"/>
              <a:gd name="connsiteY10" fmla="*/ 2559 h 10000"/>
              <a:gd name="connsiteX11" fmla="*/ 8815 w 10000"/>
              <a:gd name="connsiteY11" fmla="*/ 2828 h 10000"/>
              <a:gd name="connsiteX12" fmla="*/ 8432 w 10000"/>
              <a:gd name="connsiteY12" fmla="*/ 2862 h 10000"/>
              <a:gd name="connsiteX13" fmla="*/ 8432 w 10000"/>
              <a:gd name="connsiteY13" fmla="*/ 3401 h 10000"/>
              <a:gd name="connsiteX14" fmla="*/ 7700 w 10000"/>
              <a:gd name="connsiteY14" fmla="*/ 3670 h 10000"/>
              <a:gd name="connsiteX15" fmla="*/ 7456 w 10000"/>
              <a:gd name="connsiteY15" fmla="*/ 4007 h 10000"/>
              <a:gd name="connsiteX16" fmla="*/ 6969 w 10000"/>
              <a:gd name="connsiteY16" fmla="*/ 4209 h 10000"/>
              <a:gd name="connsiteX17" fmla="*/ 6341 w 10000"/>
              <a:gd name="connsiteY17" fmla="*/ 4310 h 10000"/>
              <a:gd name="connsiteX18" fmla="*/ 5331 w 10000"/>
              <a:gd name="connsiteY18" fmla="*/ 4815 h 10000"/>
              <a:gd name="connsiteX19" fmla="*/ 5331 w 10000"/>
              <a:gd name="connsiteY19" fmla="*/ 5657 h 10000"/>
              <a:gd name="connsiteX20" fmla="*/ 5226 w 10000"/>
              <a:gd name="connsiteY20" fmla="*/ 5657 h 10000"/>
              <a:gd name="connsiteX21" fmla="*/ 5226 w 10000"/>
              <a:gd name="connsiteY21" fmla="*/ 5657 h 10000"/>
              <a:gd name="connsiteX22" fmla="*/ 5226 w 10000"/>
              <a:gd name="connsiteY22" fmla="*/ 6027 h 10000"/>
              <a:gd name="connsiteX23" fmla="*/ 4843 w 10000"/>
              <a:gd name="connsiteY23" fmla="*/ 6061 h 10000"/>
              <a:gd name="connsiteX24" fmla="*/ 4634 w 10000"/>
              <a:gd name="connsiteY24" fmla="*/ 6195 h 10000"/>
              <a:gd name="connsiteX25" fmla="*/ 4355 w 10000"/>
              <a:gd name="connsiteY25" fmla="*/ 6195 h 10000"/>
              <a:gd name="connsiteX26" fmla="*/ 4146 w 10000"/>
              <a:gd name="connsiteY26" fmla="*/ 6128 h 10000"/>
              <a:gd name="connsiteX27" fmla="*/ 3624 w 10000"/>
              <a:gd name="connsiteY27" fmla="*/ 6195 h 10000"/>
              <a:gd name="connsiteX28" fmla="*/ 3415 w 10000"/>
              <a:gd name="connsiteY28" fmla="*/ 6734 h 10000"/>
              <a:gd name="connsiteX29" fmla="*/ 3206 w 10000"/>
              <a:gd name="connsiteY29" fmla="*/ 6801 h 10000"/>
              <a:gd name="connsiteX30" fmla="*/ 2892 w 10000"/>
              <a:gd name="connsiteY30" fmla="*/ 7677 h 10000"/>
              <a:gd name="connsiteX31" fmla="*/ 2021 w 10000"/>
              <a:gd name="connsiteY31" fmla="*/ 8418 h 10000"/>
              <a:gd name="connsiteX32" fmla="*/ 1777 w 10000"/>
              <a:gd name="connsiteY32" fmla="*/ 9394 h 10000"/>
              <a:gd name="connsiteX33" fmla="*/ 0 w 10000"/>
              <a:gd name="connsiteY33" fmla="*/ 10000 h 10000"/>
              <a:gd name="connsiteX34" fmla="*/ 35 w 10000"/>
              <a:gd name="connsiteY34" fmla="*/ 9697 h 10000"/>
              <a:gd name="connsiteX35" fmla="*/ 279 w 10000"/>
              <a:gd name="connsiteY35" fmla="*/ 9495 h 10000"/>
              <a:gd name="connsiteX36" fmla="*/ 488 w 10000"/>
              <a:gd name="connsiteY36" fmla="*/ 9125 h 10000"/>
              <a:gd name="connsiteX37" fmla="*/ 453 w 10000"/>
              <a:gd name="connsiteY37" fmla="*/ 8889 h 10000"/>
              <a:gd name="connsiteX38" fmla="*/ 697 w 10000"/>
              <a:gd name="connsiteY38" fmla="*/ 8384 h 10000"/>
              <a:gd name="connsiteX39" fmla="*/ 1045 w 10000"/>
              <a:gd name="connsiteY39" fmla="*/ 7946 h 10000"/>
              <a:gd name="connsiteX40" fmla="*/ 1289 w 10000"/>
              <a:gd name="connsiteY40" fmla="*/ 7845 h 10000"/>
              <a:gd name="connsiteX41" fmla="*/ 1463 w 10000"/>
              <a:gd name="connsiteY41" fmla="*/ 7441 h 10000"/>
              <a:gd name="connsiteX42" fmla="*/ 1463 w 10000"/>
              <a:gd name="connsiteY42" fmla="*/ 7071 h 10000"/>
              <a:gd name="connsiteX43" fmla="*/ 1707 w 10000"/>
              <a:gd name="connsiteY43" fmla="*/ 6633 h 10000"/>
              <a:gd name="connsiteX44" fmla="*/ 2125 w 10000"/>
              <a:gd name="connsiteY44" fmla="*/ 6364 h 10000"/>
              <a:gd name="connsiteX45" fmla="*/ 2544 w 10000"/>
              <a:gd name="connsiteY45" fmla="*/ 5657 h 10000"/>
              <a:gd name="connsiteX46" fmla="*/ 2578 w 10000"/>
              <a:gd name="connsiteY46" fmla="*/ 5657 h 10000"/>
              <a:gd name="connsiteX47" fmla="*/ 2892 w 10000"/>
              <a:gd name="connsiteY47" fmla="*/ 5387 h 10000"/>
              <a:gd name="connsiteX48" fmla="*/ 3449 w 10000"/>
              <a:gd name="connsiteY48" fmla="*/ 5320 h 10000"/>
              <a:gd name="connsiteX49" fmla="*/ 3972 w 10000"/>
              <a:gd name="connsiteY49" fmla="*/ 4848 h 10000"/>
              <a:gd name="connsiteX50" fmla="*/ 4286 w 10000"/>
              <a:gd name="connsiteY50" fmla="*/ 4646 h 10000"/>
              <a:gd name="connsiteX51" fmla="*/ 4808 w 10000"/>
              <a:gd name="connsiteY51" fmla="*/ 4074 h 10000"/>
              <a:gd name="connsiteX52" fmla="*/ 4669 w 10000"/>
              <a:gd name="connsiteY52" fmla="*/ 3199 h 10000"/>
              <a:gd name="connsiteX53" fmla="*/ 4913 w 10000"/>
              <a:gd name="connsiteY53" fmla="*/ 2593 h 10000"/>
              <a:gd name="connsiteX54" fmla="*/ 5017 w 10000"/>
              <a:gd name="connsiteY54" fmla="*/ 2222 h 10000"/>
              <a:gd name="connsiteX55" fmla="*/ 5436 w 10000"/>
              <a:gd name="connsiteY55" fmla="*/ 1751 h 10000"/>
              <a:gd name="connsiteX56" fmla="*/ 6028 w 10000"/>
              <a:gd name="connsiteY56" fmla="*/ 1448 h 10000"/>
              <a:gd name="connsiteX57" fmla="*/ 6481 w 10000"/>
              <a:gd name="connsiteY57" fmla="*/ 1145 h 10000"/>
              <a:gd name="connsiteX58" fmla="*/ 6899 w 10000"/>
              <a:gd name="connsiteY58" fmla="*/ 438 h 10000"/>
              <a:gd name="connsiteX59" fmla="*/ 7108 w 10000"/>
              <a:gd name="connsiteY59" fmla="*/ 0 h 10000"/>
              <a:gd name="connsiteX60" fmla="*/ 7561 w 10000"/>
              <a:gd name="connsiteY60" fmla="*/ 0 h 10000"/>
              <a:gd name="connsiteX0" fmla="*/ 7526 w 9965"/>
              <a:gd name="connsiteY0" fmla="*/ 0 h 9697"/>
              <a:gd name="connsiteX1" fmla="*/ 7874 w 9965"/>
              <a:gd name="connsiteY1" fmla="*/ 303 h 9697"/>
              <a:gd name="connsiteX2" fmla="*/ 8467 w 9965"/>
              <a:gd name="connsiteY2" fmla="*/ 236 h 9697"/>
              <a:gd name="connsiteX3" fmla="*/ 9059 w 9965"/>
              <a:gd name="connsiteY3" fmla="*/ 404 h 9697"/>
              <a:gd name="connsiteX4" fmla="*/ 9338 w 9965"/>
              <a:gd name="connsiteY4" fmla="*/ 404 h 9697"/>
              <a:gd name="connsiteX5" fmla="*/ 9547 w 9965"/>
              <a:gd name="connsiteY5" fmla="*/ 842 h 9697"/>
              <a:gd name="connsiteX6" fmla="*/ 9582 w 9965"/>
              <a:gd name="connsiteY6" fmla="*/ 1279 h 9697"/>
              <a:gd name="connsiteX7" fmla="*/ 9791 w 9965"/>
              <a:gd name="connsiteY7" fmla="*/ 2020 h 9697"/>
              <a:gd name="connsiteX8" fmla="*/ 9965 w 9965"/>
              <a:gd name="connsiteY8" fmla="*/ 2155 h 9697"/>
              <a:gd name="connsiteX9" fmla="*/ 9860 w 9965"/>
              <a:gd name="connsiteY9" fmla="*/ 2424 h 9697"/>
              <a:gd name="connsiteX10" fmla="*/ 9059 w 9965"/>
              <a:gd name="connsiteY10" fmla="*/ 2559 h 9697"/>
              <a:gd name="connsiteX11" fmla="*/ 8780 w 9965"/>
              <a:gd name="connsiteY11" fmla="*/ 2828 h 9697"/>
              <a:gd name="connsiteX12" fmla="*/ 8397 w 9965"/>
              <a:gd name="connsiteY12" fmla="*/ 2862 h 9697"/>
              <a:gd name="connsiteX13" fmla="*/ 8397 w 9965"/>
              <a:gd name="connsiteY13" fmla="*/ 3401 h 9697"/>
              <a:gd name="connsiteX14" fmla="*/ 7665 w 9965"/>
              <a:gd name="connsiteY14" fmla="*/ 3670 h 9697"/>
              <a:gd name="connsiteX15" fmla="*/ 7421 w 9965"/>
              <a:gd name="connsiteY15" fmla="*/ 4007 h 9697"/>
              <a:gd name="connsiteX16" fmla="*/ 6934 w 9965"/>
              <a:gd name="connsiteY16" fmla="*/ 4209 h 9697"/>
              <a:gd name="connsiteX17" fmla="*/ 6306 w 9965"/>
              <a:gd name="connsiteY17" fmla="*/ 4310 h 9697"/>
              <a:gd name="connsiteX18" fmla="*/ 5296 w 9965"/>
              <a:gd name="connsiteY18" fmla="*/ 4815 h 9697"/>
              <a:gd name="connsiteX19" fmla="*/ 5296 w 9965"/>
              <a:gd name="connsiteY19" fmla="*/ 5657 h 9697"/>
              <a:gd name="connsiteX20" fmla="*/ 5191 w 9965"/>
              <a:gd name="connsiteY20" fmla="*/ 5657 h 9697"/>
              <a:gd name="connsiteX21" fmla="*/ 5191 w 9965"/>
              <a:gd name="connsiteY21" fmla="*/ 5657 h 9697"/>
              <a:gd name="connsiteX22" fmla="*/ 5191 w 9965"/>
              <a:gd name="connsiteY22" fmla="*/ 6027 h 9697"/>
              <a:gd name="connsiteX23" fmla="*/ 4808 w 9965"/>
              <a:gd name="connsiteY23" fmla="*/ 6061 h 9697"/>
              <a:gd name="connsiteX24" fmla="*/ 4599 w 9965"/>
              <a:gd name="connsiteY24" fmla="*/ 6195 h 9697"/>
              <a:gd name="connsiteX25" fmla="*/ 4320 w 9965"/>
              <a:gd name="connsiteY25" fmla="*/ 6195 h 9697"/>
              <a:gd name="connsiteX26" fmla="*/ 4111 w 9965"/>
              <a:gd name="connsiteY26" fmla="*/ 6128 h 9697"/>
              <a:gd name="connsiteX27" fmla="*/ 3589 w 9965"/>
              <a:gd name="connsiteY27" fmla="*/ 6195 h 9697"/>
              <a:gd name="connsiteX28" fmla="*/ 3380 w 9965"/>
              <a:gd name="connsiteY28" fmla="*/ 6734 h 9697"/>
              <a:gd name="connsiteX29" fmla="*/ 3171 w 9965"/>
              <a:gd name="connsiteY29" fmla="*/ 6801 h 9697"/>
              <a:gd name="connsiteX30" fmla="*/ 2857 w 9965"/>
              <a:gd name="connsiteY30" fmla="*/ 7677 h 9697"/>
              <a:gd name="connsiteX31" fmla="*/ 1986 w 9965"/>
              <a:gd name="connsiteY31" fmla="*/ 8418 h 9697"/>
              <a:gd name="connsiteX32" fmla="*/ 1742 w 9965"/>
              <a:gd name="connsiteY32" fmla="*/ 9394 h 9697"/>
              <a:gd name="connsiteX33" fmla="*/ 0 w 9965"/>
              <a:gd name="connsiteY33" fmla="*/ 9697 h 9697"/>
              <a:gd name="connsiteX34" fmla="*/ 244 w 9965"/>
              <a:gd name="connsiteY34" fmla="*/ 9495 h 9697"/>
              <a:gd name="connsiteX35" fmla="*/ 453 w 9965"/>
              <a:gd name="connsiteY35" fmla="*/ 9125 h 9697"/>
              <a:gd name="connsiteX36" fmla="*/ 418 w 9965"/>
              <a:gd name="connsiteY36" fmla="*/ 8889 h 9697"/>
              <a:gd name="connsiteX37" fmla="*/ 662 w 9965"/>
              <a:gd name="connsiteY37" fmla="*/ 8384 h 9697"/>
              <a:gd name="connsiteX38" fmla="*/ 1010 w 9965"/>
              <a:gd name="connsiteY38" fmla="*/ 7946 h 9697"/>
              <a:gd name="connsiteX39" fmla="*/ 1254 w 9965"/>
              <a:gd name="connsiteY39" fmla="*/ 7845 h 9697"/>
              <a:gd name="connsiteX40" fmla="*/ 1428 w 9965"/>
              <a:gd name="connsiteY40" fmla="*/ 7441 h 9697"/>
              <a:gd name="connsiteX41" fmla="*/ 1428 w 9965"/>
              <a:gd name="connsiteY41" fmla="*/ 7071 h 9697"/>
              <a:gd name="connsiteX42" fmla="*/ 1672 w 9965"/>
              <a:gd name="connsiteY42" fmla="*/ 6633 h 9697"/>
              <a:gd name="connsiteX43" fmla="*/ 2090 w 9965"/>
              <a:gd name="connsiteY43" fmla="*/ 6364 h 9697"/>
              <a:gd name="connsiteX44" fmla="*/ 2509 w 9965"/>
              <a:gd name="connsiteY44" fmla="*/ 5657 h 9697"/>
              <a:gd name="connsiteX45" fmla="*/ 2543 w 9965"/>
              <a:gd name="connsiteY45" fmla="*/ 5657 h 9697"/>
              <a:gd name="connsiteX46" fmla="*/ 2857 w 9965"/>
              <a:gd name="connsiteY46" fmla="*/ 5387 h 9697"/>
              <a:gd name="connsiteX47" fmla="*/ 3414 w 9965"/>
              <a:gd name="connsiteY47" fmla="*/ 5320 h 9697"/>
              <a:gd name="connsiteX48" fmla="*/ 3937 w 9965"/>
              <a:gd name="connsiteY48" fmla="*/ 4848 h 9697"/>
              <a:gd name="connsiteX49" fmla="*/ 4251 w 9965"/>
              <a:gd name="connsiteY49" fmla="*/ 4646 h 9697"/>
              <a:gd name="connsiteX50" fmla="*/ 4773 w 9965"/>
              <a:gd name="connsiteY50" fmla="*/ 4074 h 9697"/>
              <a:gd name="connsiteX51" fmla="*/ 4634 w 9965"/>
              <a:gd name="connsiteY51" fmla="*/ 3199 h 9697"/>
              <a:gd name="connsiteX52" fmla="*/ 4878 w 9965"/>
              <a:gd name="connsiteY52" fmla="*/ 2593 h 9697"/>
              <a:gd name="connsiteX53" fmla="*/ 4982 w 9965"/>
              <a:gd name="connsiteY53" fmla="*/ 2222 h 9697"/>
              <a:gd name="connsiteX54" fmla="*/ 5401 w 9965"/>
              <a:gd name="connsiteY54" fmla="*/ 1751 h 9697"/>
              <a:gd name="connsiteX55" fmla="*/ 5993 w 9965"/>
              <a:gd name="connsiteY55" fmla="*/ 1448 h 9697"/>
              <a:gd name="connsiteX56" fmla="*/ 6446 w 9965"/>
              <a:gd name="connsiteY56" fmla="*/ 1145 h 9697"/>
              <a:gd name="connsiteX57" fmla="*/ 6864 w 9965"/>
              <a:gd name="connsiteY57" fmla="*/ 438 h 9697"/>
              <a:gd name="connsiteX58" fmla="*/ 7073 w 9965"/>
              <a:gd name="connsiteY58" fmla="*/ 0 h 9697"/>
              <a:gd name="connsiteX59" fmla="*/ 7526 w 9965"/>
              <a:gd name="connsiteY59" fmla="*/ 0 h 9697"/>
              <a:gd name="connsiteX0" fmla="*/ 7552 w 10000"/>
              <a:gd name="connsiteY0" fmla="*/ 0 h 10000"/>
              <a:gd name="connsiteX1" fmla="*/ 7902 w 10000"/>
              <a:gd name="connsiteY1" fmla="*/ 312 h 10000"/>
              <a:gd name="connsiteX2" fmla="*/ 8497 w 10000"/>
              <a:gd name="connsiteY2" fmla="*/ 243 h 10000"/>
              <a:gd name="connsiteX3" fmla="*/ 9091 w 10000"/>
              <a:gd name="connsiteY3" fmla="*/ 417 h 10000"/>
              <a:gd name="connsiteX4" fmla="*/ 9371 w 10000"/>
              <a:gd name="connsiteY4" fmla="*/ 417 h 10000"/>
              <a:gd name="connsiteX5" fmla="*/ 9581 w 10000"/>
              <a:gd name="connsiteY5" fmla="*/ 868 h 10000"/>
              <a:gd name="connsiteX6" fmla="*/ 9616 w 10000"/>
              <a:gd name="connsiteY6" fmla="*/ 1319 h 10000"/>
              <a:gd name="connsiteX7" fmla="*/ 9825 w 10000"/>
              <a:gd name="connsiteY7" fmla="*/ 2083 h 10000"/>
              <a:gd name="connsiteX8" fmla="*/ 10000 w 10000"/>
              <a:gd name="connsiteY8" fmla="*/ 2222 h 10000"/>
              <a:gd name="connsiteX9" fmla="*/ 9895 w 10000"/>
              <a:gd name="connsiteY9" fmla="*/ 2500 h 10000"/>
              <a:gd name="connsiteX10" fmla="*/ 9091 w 10000"/>
              <a:gd name="connsiteY10" fmla="*/ 2639 h 10000"/>
              <a:gd name="connsiteX11" fmla="*/ 8811 w 10000"/>
              <a:gd name="connsiteY11" fmla="*/ 2916 h 10000"/>
              <a:gd name="connsiteX12" fmla="*/ 8426 w 10000"/>
              <a:gd name="connsiteY12" fmla="*/ 2951 h 10000"/>
              <a:gd name="connsiteX13" fmla="*/ 8426 w 10000"/>
              <a:gd name="connsiteY13" fmla="*/ 3507 h 10000"/>
              <a:gd name="connsiteX14" fmla="*/ 7692 w 10000"/>
              <a:gd name="connsiteY14" fmla="*/ 3785 h 10000"/>
              <a:gd name="connsiteX15" fmla="*/ 7447 w 10000"/>
              <a:gd name="connsiteY15" fmla="*/ 4132 h 10000"/>
              <a:gd name="connsiteX16" fmla="*/ 6958 w 10000"/>
              <a:gd name="connsiteY16" fmla="*/ 4341 h 10000"/>
              <a:gd name="connsiteX17" fmla="*/ 6328 w 10000"/>
              <a:gd name="connsiteY17" fmla="*/ 4445 h 10000"/>
              <a:gd name="connsiteX18" fmla="*/ 5315 w 10000"/>
              <a:gd name="connsiteY18" fmla="*/ 4965 h 10000"/>
              <a:gd name="connsiteX19" fmla="*/ 5315 w 10000"/>
              <a:gd name="connsiteY19" fmla="*/ 5834 h 10000"/>
              <a:gd name="connsiteX20" fmla="*/ 5209 w 10000"/>
              <a:gd name="connsiteY20" fmla="*/ 5834 h 10000"/>
              <a:gd name="connsiteX21" fmla="*/ 5209 w 10000"/>
              <a:gd name="connsiteY21" fmla="*/ 5834 h 10000"/>
              <a:gd name="connsiteX22" fmla="*/ 5209 w 10000"/>
              <a:gd name="connsiteY22" fmla="*/ 6215 h 10000"/>
              <a:gd name="connsiteX23" fmla="*/ 4825 w 10000"/>
              <a:gd name="connsiteY23" fmla="*/ 6250 h 10000"/>
              <a:gd name="connsiteX24" fmla="*/ 4615 w 10000"/>
              <a:gd name="connsiteY24" fmla="*/ 6389 h 10000"/>
              <a:gd name="connsiteX25" fmla="*/ 4335 w 10000"/>
              <a:gd name="connsiteY25" fmla="*/ 6389 h 10000"/>
              <a:gd name="connsiteX26" fmla="*/ 4125 w 10000"/>
              <a:gd name="connsiteY26" fmla="*/ 6319 h 10000"/>
              <a:gd name="connsiteX27" fmla="*/ 3602 w 10000"/>
              <a:gd name="connsiteY27" fmla="*/ 6389 h 10000"/>
              <a:gd name="connsiteX28" fmla="*/ 3392 w 10000"/>
              <a:gd name="connsiteY28" fmla="*/ 6944 h 10000"/>
              <a:gd name="connsiteX29" fmla="*/ 3182 w 10000"/>
              <a:gd name="connsiteY29" fmla="*/ 7014 h 10000"/>
              <a:gd name="connsiteX30" fmla="*/ 2867 w 10000"/>
              <a:gd name="connsiteY30" fmla="*/ 7917 h 10000"/>
              <a:gd name="connsiteX31" fmla="*/ 1993 w 10000"/>
              <a:gd name="connsiteY31" fmla="*/ 8681 h 10000"/>
              <a:gd name="connsiteX32" fmla="*/ 1748 w 10000"/>
              <a:gd name="connsiteY32" fmla="*/ 9688 h 10000"/>
              <a:gd name="connsiteX33" fmla="*/ 0 w 10000"/>
              <a:gd name="connsiteY33" fmla="*/ 10000 h 10000"/>
              <a:gd name="connsiteX34" fmla="*/ 455 w 10000"/>
              <a:gd name="connsiteY34" fmla="*/ 9410 h 10000"/>
              <a:gd name="connsiteX35" fmla="*/ 419 w 10000"/>
              <a:gd name="connsiteY35" fmla="*/ 9167 h 10000"/>
              <a:gd name="connsiteX36" fmla="*/ 664 w 10000"/>
              <a:gd name="connsiteY36" fmla="*/ 8646 h 10000"/>
              <a:gd name="connsiteX37" fmla="*/ 1014 w 10000"/>
              <a:gd name="connsiteY37" fmla="*/ 8194 h 10000"/>
              <a:gd name="connsiteX38" fmla="*/ 1258 w 10000"/>
              <a:gd name="connsiteY38" fmla="*/ 8090 h 10000"/>
              <a:gd name="connsiteX39" fmla="*/ 1433 w 10000"/>
              <a:gd name="connsiteY39" fmla="*/ 7674 h 10000"/>
              <a:gd name="connsiteX40" fmla="*/ 1433 w 10000"/>
              <a:gd name="connsiteY40" fmla="*/ 7292 h 10000"/>
              <a:gd name="connsiteX41" fmla="*/ 1678 w 10000"/>
              <a:gd name="connsiteY41" fmla="*/ 6840 h 10000"/>
              <a:gd name="connsiteX42" fmla="*/ 2097 w 10000"/>
              <a:gd name="connsiteY42" fmla="*/ 6563 h 10000"/>
              <a:gd name="connsiteX43" fmla="*/ 2518 w 10000"/>
              <a:gd name="connsiteY43" fmla="*/ 5834 h 10000"/>
              <a:gd name="connsiteX44" fmla="*/ 2552 w 10000"/>
              <a:gd name="connsiteY44" fmla="*/ 5834 h 10000"/>
              <a:gd name="connsiteX45" fmla="*/ 2867 w 10000"/>
              <a:gd name="connsiteY45" fmla="*/ 5555 h 10000"/>
              <a:gd name="connsiteX46" fmla="*/ 3426 w 10000"/>
              <a:gd name="connsiteY46" fmla="*/ 5486 h 10000"/>
              <a:gd name="connsiteX47" fmla="*/ 3951 w 10000"/>
              <a:gd name="connsiteY47" fmla="*/ 4999 h 10000"/>
              <a:gd name="connsiteX48" fmla="*/ 4266 w 10000"/>
              <a:gd name="connsiteY48" fmla="*/ 4791 h 10000"/>
              <a:gd name="connsiteX49" fmla="*/ 4790 w 10000"/>
              <a:gd name="connsiteY49" fmla="*/ 4201 h 10000"/>
              <a:gd name="connsiteX50" fmla="*/ 4650 w 10000"/>
              <a:gd name="connsiteY50" fmla="*/ 3299 h 10000"/>
              <a:gd name="connsiteX51" fmla="*/ 4895 w 10000"/>
              <a:gd name="connsiteY51" fmla="*/ 2674 h 10000"/>
              <a:gd name="connsiteX52" fmla="*/ 4999 w 10000"/>
              <a:gd name="connsiteY52" fmla="*/ 2291 h 10000"/>
              <a:gd name="connsiteX53" fmla="*/ 5420 w 10000"/>
              <a:gd name="connsiteY53" fmla="*/ 1806 h 10000"/>
              <a:gd name="connsiteX54" fmla="*/ 6014 w 10000"/>
              <a:gd name="connsiteY54" fmla="*/ 1493 h 10000"/>
              <a:gd name="connsiteX55" fmla="*/ 6469 w 10000"/>
              <a:gd name="connsiteY55" fmla="*/ 1181 h 10000"/>
              <a:gd name="connsiteX56" fmla="*/ 6888 w 10000"/>
              <a:gd name="connsiteY56" fmla="*/ 452 h 10000"/>
              <a:gd name="connsiteX57" fmla="*/ 7098 w 10000"/>
              <a:gd name="connsiteY57" fmla="*/ 0 h 10000"/>
              <a:gd name="connsiteX58" fmla="*/ 7552 w 10000"/>
              <a:gd name="connsiteY58" fmla="*/ 0 h 10000"/>
              <a:gd name="connsiteX0" fmla="*/ 7133 w 9581"/>
              <a:gd name="connsiteY0" fmla="*/ 0 h 9688"/>
              <a:gd name="connsiteX1" fmla="*/ 7483 w 9581"/>
              <a:gd name="connsiteY1" fmla="*/ 312 h 9688"/>
              <a:gd name="connsiteX2" fmla="*/ 8078 w 9581"/>
              <a:gd name="connsiteY2" fmla="*/ 243 h 9688"/>
              <a:gd name="connsiteX3" fmla="*/ 8672 w 9581"/>
              <a:gd name="connsiteY3" fmla="*/ 417 h 9688"/>
              <a:gd name="connsiteX4" fmla="*/ 8952 w 9581"/>
              <a:gd name="connsiteY4" fmla="*/ 417 h 9688"/>
              <a:gd name="connsiteX5" fmla="*/ 9162 w 9581"/>
              <a:gd name="connsiteY5" fmla="*/ 868 h 9688"/>
              <a:gd name="connsiteX6" fmla="*/ 9197 w 9581"/>
              <a:gd name="connsiteY6" fmla="*/ 1319 h 9688"/>
              <a:gd name="connsiteX7" fmla="*/ 9406 w 9581"/>
              <a:gd name="connsiteY7" fmla="*/ 2083 h 9688"/>
              <a:gd name="connsiteX8" fmla="*/ 9581 w 9581"/>
              <a:gd name="connsiteY8" fmla="*/ 2222 h 9688"/>
              <a:gd name="connsiteX9" fmla="*/ 9476 w 9581"/>
              <a:gd name="connsiteY9" fmla="*/ 2500 h 9688"/>
              <a:gd name="connsiteX10" fmla="*/ 8672 w 9581"/>
              <a:gd name="connsiteY10" fmla="*/ 2639 h 9688"/>
              <a:gd name="connsiteX11" fmla="*/ 8392 w 9581"/>
              <a:gd name="connsiteY11" fmla="*/ 2916 h 9688"/>
              <a:gd name="connsiteX12" fmla="*/ 8007 w 9581"/>
              <a:gd name="connsiteY12" fmla="*/ 2951 h 9688"/>
              <a:gd name="connsiteX13" fmla="*/ 8007 w 9581"/>
              <a:gd name="connsiteY13" fmla="*/ 3507 h 9688"/>
              <a:gd name="connsiteX14" fmla="*/ 7273 w 9581"/>
              <a:gd name="connsiteY14" fmla="*/ 3785 h 9688"/>
              <a:gd name="connsiteX15" fmla="*/ 7028 w 9581"/>
              <a:gd name="connsiteY15" fmla="*/ 4132 h 9688"/>
              <a:gd name="connsiteX16" fmla="*/ 6539 w 9581"/>
              <a:gd name="connsiteY16" fmla="*/ 4341 h 9688"/>
              <a:gd name="connsiteX17" fmla="*/ 5909 w 9581"/>
              <a:gd name="connsiteY17" fmla="*/ 4445 h 9688"/>
              <a:gd name="connsiteX18" fmla="*/ 4896 w 9581"/>
              <a:gd name="connsiteY18" fmla="*/ 4965 h 9688"/>
              <a:gd name="connsiteX19" fmla="*/ 4896 w 9581"/>
              <a:gd name="connsiteY19" fmla="*/ 5834 h 9688"/>
              <a:gd name="connsiteX20" fmla="*/ 4790 w 9581"/>
              <a:gd name="connsiteY20" fmla="*/ 5834 h 9688"/>
              <a:gd name="connsiteX21" fmla="*/ 4790 w 9581"/>
              <a:gd name="connsiteY21" fmla="*/ 5834 h 9688"/>
              <a:gd name="connsiteX22" fmla="*/ 4790 w 9581"/>
              <a:gd name="connsiteY22" fmla="*/ 6215 h 9688"/>
              <a:gd name="connsiteX23" fmla="*/ 4406 w 9581"/>
              <a:gd name="connsiteY23" fmla="*/ 6250 h 9688"/>
              <a:gd name="connsiteX24" fmla="*/ 4196 w 9581"/>
              <a:gd name="connsiteY24" fmla="*/ 6389 h 9688"/>
              <a:gd name="connsiteX25" fmla="*/ 3916 w 9581"/>
              <a:gd name="connsiteY25" fmla="*/ 6389 h 9688"/>
              <a:gd name="connsiteX26" fmla="*/ 3706 w 9581"/>
              <a:gd name="connsiteY26" fmla="*/ 6319 h 9688"/>
              <a:gd name="connsiteX27" fmla="*/ 3183 w 9581"/>
              <a:gd name="connsiteY27" fmla="*/ 6389 h 9688"/>
              <a:gd name="connsiteX28" fmla="*/ 2973 w 9581"/>
              <a:gd name="connsiteY28" fmla="*/ 6944 h 9688"/>
              <a:gd name="connsiteX29" fmla="*/ 2763 w 9581"/>
              <a:gd name="connsiteY29" fmla="*/ 7014 h 9688"/>
              <a:gd name="connsiteX30" fmla="*/ 2448 w 9581"/>
              <a:gd name="connsiteY30" fmla="*/ 7917 h 9688"/>
              <a:gd name="connsiteX31" fmla="*/ 1574 w 9581"/>
              <a:gd name="connsiteY31" fmla="*/ 8681 h 9688"/>
              <a:gd name="connsiteX32" fmla="*/ 1329 w 9581"/>
              <a:gd name="connsiteY32" fmla="*/ 9688 h 9688"/>
              <a:gd name="connsiteX33" fmla="*/ 36 w 9581"/>
              <a:gd name="connsiteY33" fmla="*/ 9410 h 9688"/>
              <a:gd name="connsiteX34" fmla="*/ 0 w 9581"/>
              <a:gd name="connsiteY34" fmla="*/ 9167 h 9688"/>
              <a:gd name="connsiteX35" fmla="*/ 245 w 9581"/>
              <a:gd name="connsiteY35" fmla="*/ 8646 h 9688"/>
              <a:gd name="connsiteX36" fmla="*/ 595 w 9581"/>
              <a:gd name="connsiteY36" fmla="*/ 8194 h 9688"/>
              <a:gd name="connsiteX37" fmla="*/ 839 w 9581"/>
              <a:gd name="connsiteY37" fmla="*/ 8090 h 9688"/>
              <a:gd name="connsiteX38" fmla="*/ 1014 w 9581"/>
              <a:gd name="connsiteY38" fmla="*/ 7674 h 9688"/>
              <a:gd name="connsiteX39" fmla="*/ 1014 w 9581"/>
              <a:gd name="connsiteY39" fmla="*/ 7292 h 9688"/>
              <a:gd name="connsiteX40" fmla="*/ 1259 w 9581"/>
              <a:gd name="connsiteY40" fmla="*/ 6840 h 9688"/>
              <a:gd name="connsiteX41" fmla="*/ 1678 w 9581"/>
              <a:gd name="connsiteY41" fmla="*/ 6563 h 9688"/>
              <a:gd name="connsiteX42" fmla="*/ 2099 w 9581"/>
              <a:gd name="connsiteY42" fmla="*/ 5834 h 9688"/>
              <a:gd name="connsiteX43" fmla="*/ 2133 w 9581"/>
              <a:gd name="connsiteY43" fmla="*/ 5834 h 9688"/>
              <a:gd name="connsiteX44" fmla="*/ 2448 w 9581"/>
              <a:gd name="connsiteY44" fmla="*/ 5555 h 9688"/>
              <a:gd name="connsiteX45" fmla="*/ 3007 w 9581"/>
              <a:gd name="connsiteY45" fmla="*/ 5486 h 9688"/>
              <a:gd name="connsiteX46" fmla="*/ 3532 w 9581"/>
              <a:gd name="connsiteY46" fmla="*/ 4999 h 9688"/>
              <a:gd name="connsiteX47" fmla="*/ 3847 w 9581"/>
              <a:gd name="connsiteY47" fmla="*/ 4791 h 9688"/>
              <a:gd name="connsiteX48" fmla="*/ 4371 w 9581"/>
              <a:gd name="connsiteY48" fmla="*/ 4201 h 9688"/>
              <a:gd name="connsiteX49" fmla="*/ 4231 w 9581"/>
              <a:gd name="connsiteY49" fmla="*/ 3299 h 9688"/>
              <a:gd name="connsiteX50" fmla="*/ 4476 w 9581"/>
              <a:gd name="connsiteY50" fmla="*/ 2674 h 9688"/>
              <a:gd name="connsiteX51" fmla="*/ 4580 w 9581"/>
              <a:gd name="connsiteY51" fmla="*/ 2291 h 9688"/>
              <a:gd name="connsiteX52" fmla="*/ 5001 w 9581"/>
              <a:gd name="connsiteY52" fmla="*/ 1806 h 9688"/>
              <a:gd name="connsiteX53" fmla="*/ 5595 w 9581"/>
              <a:gd name="connsiteY53" fmla="*/ 1493 h 9688"/>
              <a:gd name="connsiteX54" fmla="*/ 6050 w 9581"/>
              <a:gd name="connsiteY54" fmla="*/ 1181 h 9688"/>
              <a:gd name="connsiteX55" fmla="*/ 6469 w 9581"/>
              <a:gd name="connsiteY55" fmla="*/ 452 h 9688"/>
              <a:gd name="connsiteX56" fmla="*/ 6679 w 9581"/>
              <a:gd name="connsiteY56" fmla="*/ 0 h 9688"/>
              <a:gd name="connsiteX57" fmla="*/ 7133 w 9581"/>
              <a:gd name="connsiteY57" fmla="*/ 0 h 9688"/>
              <a:gd name="connsiteX0" fmla="*/ 7445 w 10000"/>
              <a:gd name="connsiteY0" fmla="*/ 0 h 10000"/>
              <a:gd name="connsiteX1" fmla="*/ 7810 w 10000"/>
              <a:gd name="connsiteY1" fmla="*/ 322 h 10000"/>
              <a:gd name="connsiteX2" fmla="*/ 8431 w 10000"/>
              <a:gd name="connsiteY2" fmla="*/ 251 h 10000"/>
              <a:gd name="connsiteX3" fmla="*/ 9051 w 10000"/>
              <a:gd name="connsiteY3" fmla="*/ 430 h 10000"/>
              <a:gd name="connsiteX4" fmla="*/ 9343 w 10000"/>
              <a:gd name="connsiteY4" fmla="*/ 430 h 10000"/>
              <a:gd name="connsiteX5" fmla="*/ 9563 w 10000"/>
              <a:gd name="connsiteY5" fmla="*/ 896 h 10000"/>
              <a:gd name="connsiteX6" fmla="*/ 9599 w 10000"/>
              <a:gd name="connsiteY6" fmla="*/ 1361 h 10000"/>
              <a:gd name="connsiteX7" fmla="*/ 9817 w 10000"/>
              <a:gd name="connsiteY7" fmla="*/ 2150 h 10000"/>
              <a:gd name="connsiteX8" fmla="*/ 10000 w 10000"/>
              <a:gd name="connsiteY8" fmla="*/ 2294 h 10000"/>
              <a:gd name="connsiteX9" fmla="*/ 9890 w 10000"/>
              <a:gd name="connsiteY9" fmla="*/ 2581 h 10000"/>
              <a:gd name="connsiteX10" fmla="*/ 9051 w 10000"/>
              <a:gd name="connsiteY10" fmla="*/ 2724 h 10000"/>
              <a:gd name="connsiteX11" fmla="*/ 8759 w 10000"/>
              <a:gd name="connsiteY11" fmla="*/ 3010 h 10000"/>
              <a:gd name="connsiteX12" fmla="*/ 8357 w 10000"/>
              <a:gd name="connsiteY12" fmla="*/ 3046 h 10000"/>
              <a:gd name="connsiteX13" fmla="*/ 8357 w 10000"/>
              <a:gd name="connsiteY13" fmla="*/ 3620 h 10000"/>
              <a:gd name="connsiteX14" fmla="*/ 7591 w 10000"/>
              <a:gd name="connsiteY14" fmla="*/ 3907 h 10000"/>
              <a:gd name="connsiteX15" fmla="*/ 7335 w 10000"/>
              <a:gd name="connsiteY15" fmla="*/ 4265 h 10000"/>
              <a:gd name="connsiteX16" fmla="*/ 6825 w 10000"/>
              <a:gd name="connsiteY16" fmla="*/ 4481 h 10000"/>
              <a:gd name="connsiteX17" fmla="*/ 6167 w 10000"/>
              <a:gd name="connsiteY17" fmla="*/ 4588 h 10000"/>
              <a:gd name="connsiteX18" fmla="*/ 5110 w 10000"/>
              <a:gd name="connsiteY18" fmla="*/ 5125 h 10000"/>
              <a:gd name="connsiteX19" fmla="*/ 5110 w 10000"/>
              <a:gd name="connsiteY19" fmla="*/ 6022 h 10000"/>
              <a:gd name="connsiteX20" fmla="*/ 4999 w 10000"/>
              <a:gd name="connsiteY20" fmla="*/ 6022 h 10000"/>
              <a:gd name="connsiteX21" fmla="*/ 4999 w 10000"/>
              <a:gd name="connsiteY21" fmla="*/ 6022 h 10000"/>
              <a:gd name="connsiteX22" fmla="*/ 4999 w 10000"/>
              <a:gd name="connsiteY22" fmla="*/ 6415 h 10000"/>
              <a:gd name="connsiteX23" fmla="*/ 4599 w 10000"/>
              <a:gd name="connsiteY23" fmla="*/ 6451 h 10000"/>
              <a:gd name="connsiteX24" fmla="*/ 4380 w 10000"/>
              <a:gd name="connsiteY24" fmla="*/ 6595 h 10000"/>
              <a:gd name="connsiteX25" fmla="*/ 4087 w 10000"/>
              <a:gd name="connsiteY25" fmla="*/ 6595 h 10000"/>
              <a:gd name="connsiteX26" fmla="*/ 3868 w 10000"/>
              <a:gd name="connsiteY26" fmla="*/ 6523 h 10000"/>
              <a:gd name="connsiteX27" fmla="*/ 3322 w 10000"/>
              <a:gd name="connsiteY27" fmla="*/ 6595 h 10000"/>
              <a:gd name="connsiteX28" fmla="*/ 3103 w 10000"/>
              <a:gd name="connsiteY28" fmla="*/ 7168 h 10000"/>
              <a:gd name="connsiteX29" fmla="*/ 2884 w 10000"/>
              <a:gd name="connsiteY29" fmla="*/ 7240 h 10000"/>
              <a:gd name="connsiteX30" fmla="*/ 2555 w 10000"/>
              <a:gd name="connsiteY30" fmla="*/ 8172 h 10000"/>
              <a:gd name="connsiteX31" fmla="*/ 1643 w 10000"/>
              <a:gd name="connsiteY31" fmla="*/ 8961 h 10000"/>
              <a:gd name="connsiteX32" fmla="*/ 1387 w 10000"/>
              <a:gd name="connsiteY32" fmla="*/ 10000 h 10000"/>
              <a:gd name="connsiteX33" fmla="*/ 0 w 10000"/>
              <a:gd name="connsiteY33" fmla="*/ 9462 h 10000"/>
              <a:gd name="connsiteX34" fmla="*/ 256 w 10000"/>
              <a:gd name="connsiteY34" fmla="*/ 8924 h 10000"/>
              <a:gd name="connsiteX35" fmla="*/ 621 w 10000"/>
              <a:gd name="connsiteY35" fmla="*/ 8458 h 10000"/>
              <a:gd name="connsiteX36" fmla="*/ 876 w 10000"/>
              <a:gd name="connsiteY36" fmla="*/ 8351 h 10000"/>
              <a:gd name="connsiteX37" fmla="*/ 1058 w 10000"/>
              <a:gd name="connsiteY37" fmla="*/ 7921 h 10000"/>
              <a:gd name="connsiteX38" fmla="*/ 1058 w 10000"/>
              <a:gd name="connsiteY38" fmla="*/ 7527 h 10000"/>
              <a:gd name="connsiteX39" fmla="*/ 1314 w 10000"/>
              <a:gd name="connsiteY39" fmla="*/ 7060 h 10000"/>
              <a:gd name="connsiteX40" fmla="*/ 1751 w 10000"/>
              <a:gd name="connsiteY40" fmla="*/ 6774 h 10000"/>
              <a:gd name="connsiteX41" fmla="*/ 2191 w 10000"/>
              <a:gd name="connsiteY41" fmla="*/ 6022 h 10000"/>
              <a:gd name="connsiteX42" fmla="*/ 2226 w 10000"/>
              <a:gd name="connsiteY42" fmla="*/ 6022 h 10000"/>
              <a:gd name="connsiteX43" fmla="*/ 2555 w 10000"/>
              <a:gd name="connsiteY43" fmla="*/ 5734 h 10000"/>
              <a:gd name="connsiteX44" fmla="*/ 3139 w 10000"/>
              <a:gd name="connsiteY44" fmla="*/ 5663 h 10000"/>
              <a:gd name="connsiteX45" fmla="*/ 3686 w 10000"/>
              <a:gd name="connsiteY45" fmla="*/ 5160 h 10000"/>
              <a:gd name="connsiteX46" fmla="*/ 4015 w 10000"/>
              <a:gd name="connsiteY46" fmla="*/ 4945 h 10000"/>
              <a:gd name="connsiteX47" fmla="*/ 4562 w 10000"/>
              <a:gd name="connsiteY47" fmla="*/ 4336 h 10000"/>
              <a:gd name="connsiteX48" fmla="*/ 4416 w 10000"/>
              <a:gd name="connsiteY48" fmla="*/ 3405 h 10000"/>
              <a:gd name="connsiteX49" fmla="*/ 4672 w 10000"/>
              <a:gd name="connsiteY49" fmla="*/ 2760 h 10000"/>
              <a:gd name="connsiteX50" fmla="*/ 4780 w 10000"/>
              <a:gd name="connsiteY50" fmla="*/ 2365 h 10000"/>
              <a:gd name="connsiteX51" fmla="*/ 5220 w 10000"/>
              <a:gd name="connsiteY51" fmla="*/ 1864 h 10000"/>
              <a:gd name="connsiteX52" fmla="*/ 5840 w 10000"/>
              <a:gd name="connsiteY52" fmla="*/ 1541 h 10000"/>
              <a:gd name="connsiteX53" fmla="*/ 6315 w 10000"/>
              <a:gd name="connsiteY53" fmla="*/ 1219 h 10000"/>
              <a:gd name="connsiteX54" fmla="*/ 6752 w 10000"/>
              <a:gd name="connsiteY54" fmla="*/ 467 h 10000"/>
              <a:gd name="connsiteX55" fmla="*/ 6971 w 10000"/>
              <a:gd name="connsiteY55" fmla="*/ 0 h 10000"/>
              <a:gd name="connsiteX56" fmla="*/ 7445 w 10000"/>
              <a:gd name="connsiteY56" fmla="*/ 0 h 10000"/>
              <a:gd name="connsiteX0" fmla="*/ 7445 w 10000"/>
              <a:gd name="connsiteY0" fmla="*/ 0 h 9462"/>
              <a:gd name="connsiteX1" fmla="*/ 7810 w 10000"/>
              <a:gd name="connsiteY1" fmla="*/ 322 h 9462"/>
              <a:gd name="connsiteX2" fmla="*/ 8431 w 10000"/>
              <a:gd name="connsiteY2" fmla="*/ 251 h 9462"/>
              <a:gd name="connsiteX3" fmla="*/ 9051 w 10000"/>
              <a:gd name="connsiteY3" fmla="*/ 430 h 9462"/>
              <a:gd name="connsiteX4" fmla="*/ 9343 w 10000"/>
              <a:gd name="connsiteY4" fmla="*/ 430 h 9462"/>
              <a:gd name="connsiteX5" fmla="*/ 9563 w 10000"/>
              <a:gd name="connsiteY5" fmla="*/ 896 h 9462"/>
              <a:gd name="connsiteX6" fmla="*/ 9599 w 10000"/>
              <a:gd name="connsiteY6" fmla="*/ 1361 h 9462"/>
              <a:gd name="connsiteX7" fmla="*/ 9817 w 10000"/>
              <a:gd name="connsiteY7" fmla="*/ 2150 h 9462"/>
              <a:gd name="connsiteX8" fmla="*/ 10000 w 10000"/>
              <a:gd name="connsiteY8" fmla="*/ 2294 h 9462"/>
              <a:gd name="connsiteX9" fmla="*/ 9890 w 10000"/>
              <a:gd name="connsiteY9" fmla="*/ 2581 h 9462"/>
              <a:gd name="connsiteX10" fmla="*/ 9051 w 10000"/>
              <a:gd name="connsiteY10" fmla="*/ 2724 h 9462"/>
              <a:gd name="connsiteX11" fmla="*/ 8759 w 10000"/>
              <a:gd name="connsiteY11" fmla="*/ 3010 h 9462"/>
              <a:gd name="connsiteX12" fmla="*/ 8357 w 10000"/>
              <a:gd name="connsiteY12" fmla="*/ 3046 h 9462"/>
              <a:gd name="connsiteX13" fmla="*/ 8357 w 10000"/>
              <a:gd name="connsiteY13" fmla="*/ 3620 h 9462"/>
              <a:gd name="connsiteX14" fmla="*/ 7591 w 10000"/>
              <a:gd name="connsiteY14" fmla="*/ 3907 h 9462"/>
              <a:gd name="connsiteX15" fmla="*/ 7335 w 10000"/>
              <a:gd name="connsiteY15" fmla="*/ 4265 h 9462"/>
              <a:gd name="connsiteX16" fmla="*/ 6825 w 10000"/>
              <a:gd name="connsiteY16" fmla="*/ 4481 h 9462"/>
              <a:gd name="connsiteX17" fmla="*/ 6167 w 10000"/>
              <a:gd name="connsiteY17" fmla="*/ 4588 h 9462"/>
              <a:gd name="connsiteX18" fmla="*/ 5110 w 10000"/>
              <a:gd name="connsiteY18" fmla="*/ 5125 h 9462"/>
              <a:gd name="connsiteX19" fmla="*/ 5110 w 10000"/>
              <a:gd name="connsiteY19" fmla="*/ 6022 h 9462"/>
              <a:gd name="connsiteX20" fmla="*/ 4999 w 10000"/>
              <a:gd name="connsiteY20" fmla="*/ 6022 h 9462"/>
              <a:gd name="connsiteX21" fmla="*/ 4999 w 10000"/>
              <a:gd name="connsiteY21" fmla="*/ 6022 h 9462"/>
              <a:gd name="connsiteX22" fmla="*/ 4999 w 10000"/>
              <a:gd name="connsiteY22" fmla="*/ 6415 h 9462"/>
              <a:gd name="connsiteX23" fmla="*/ 4599 w 10000"/>
              <a:gd name="connsiteY23" fmla="*/ 6451 h 9462"/>
              <a:gd name="connsiteX24" fmla="*/ 4380 w 10000"/>
              <a:gd name="connsiteY24" fmla="*/ 6595 h 9462"/>
              <a:gd name="connsiteX25" fmla="*/ 4087 w 10000"/>
              <a:gd name="connsiteY25" fmla="*/ 6595 h 9462"/>
              <a:gd name="connsiteX26" fmla="*/ 3868 w 10000"/>
              <a:gd name="connsiteY26" fmla="*/ 6523 h 9462"/>
              <a:gd name="connsiteX27" fmla="*/ 3322 w 10000"/>
              <a:gd name="connsiteY27" fmla="*/ 6595 h 9462"/>
              <a:gd name="connsiteX28" fmla="*/ 3103 w 10000"/>
              <a:gd name="connsiteY28" fmla="*/ 7168 h 9462"/>
              <a:gd name="connsiteX29" fmla="*/ 2884 w 10000"/>
              <a:gd name="connsiteY29" fmla="*/ 7240 h 9462"/>
              <a:gd name="connsiteX30" fmla="*/ 2555 w 10000"/>
              <a:gd name="connsiteY30" fmla="*/ 8172 h 9462"/>
              <a:gd name="connsiteX31" fmla="*/ 1643 w 10000"/>
              <a:gd name="connsiteY31" fmla="*/ 8961 h 9462"/>
              <a:gd name="connsiteX32" fmla="*/ 0 w 10000"/>
              <a:gd name="connsiteY32" fmla="*/ 9462 h 9462"/>
              <a:gd name="connsiteX33" fmla="*/ 256 w 10000"/>
              <a:gd name="connsiteY33" fmla="*/ 8924 h 9462"/>
              <a:gd name="connsiteX34" fmla="*/ 621 w 10000"/>
              <a:gd name="connsiteY34" fmla="*/ 8458 h 9462"/>
              <a:gd name="connsiteX35" fmla="*/ 876 w 10000"/>
              <a:gd name="connsiteY35" fmla="*/ 8351 h 9462"/>
              <a:gd name="connsiteX36" fmla="*/ 1058 w 10000"/>
              <a:gd name="connsiteY36" fmla="*/ 7921 h 9462"/>
              <a:gd name="connsiteX37" fmla="*/ 1058 w 10000"/>
              <a:gd name="connsiteY37" fmla="*/ 7527 h 9462"/>
              <a:gd name="connsiteX38" fmla="*/ 1314 w 10000"/>
              <a:gd name="connsiteY38" fmla="*/ 7060 h 9462"/>
              <a:gd name="connsiteX39" fmla="*/ 1751 w 10000"/>
              <a:gd name="connsiteY39" fmla="*/ 6774 h 9462"/>
              <a:gd name="connsiteX40" fmla="*/ 2191 w 10000"/>
              <a:gd name="connsiteY40" fmla="*/ 6022 h 9462"/>
              <a:gd name="connsiteX41" fmla="*/ 2226 w 10000"/>
              <a:gd name="connsiteY41" fmla="*/ 6022 h 9462"/>
              <a:gd name="connsiteX42" fmla="*/ 2555 w 10000"/>
              <a:gd name="connsiteY42" fmla="*/ 5734 h 9462"/>
              <a:gd name="connsiteX43" fmla="*/ 3139 w 10000"/>
              <a:gd name="connsiteY43" fmla="*/ 5663 h 9462"/>
              <a:gd name="connsiteX44" fmla="*/ 3686 w 10000"/>
              <a:gd name="connsiteY44" fmla="*/ 5160 h 9462"/>
              <a:gd name="connsiteX45" fmla="*/ 4015 w 10000"/>
              <a:gd name="connsiteY45" fmla="*/ 4945 h 9462"/>
              <a:gd name="connsiteX46" fmla="*/ 4562 w 10000"/>
              <a:gd name="connsiteY46" fmla="*/ 4336 h 9462"/>
              <a:gd name="connsiteX47" fmla="*/ 4416 w 10000"/>
              <a:gd name="connsiteY47" fmla="*/ 3405 h 9462"/>
              <a:gd name="connsiteX48" fmla="*/ 4672 w 10000"/>
              <a:gd name="connsiteY48" fmla="*/ 2760 h 9462"/>
              <a:gd name="connsiteX49" fmla="*/ 4780 w 10000"/>
              <a:gd name="connsiteY49" fmla="*/ 2365 h 9462"/>
              <a:gd name="connsiteX50" fmla="*/ 5220 w 10000"/>
              <a:gd name="connsiteY50" fmla="*/ 1864 h 9462"/>
              <a:gd name="connsiteX51" fmla="*/ 5840 w 10000"/>
              <a:gd name="connsiteY51" fmla="*/ 1541 h 9462"/>
              <a:gd name="connsiteX52" fmla="*/ 6315 w 10000"/>
              <a:gd name="connsiteY52" fmla="*/ 1219 h 9462"/>
              <a:gd name="connsiteX53" fmla="*/ 6752 w 10000"/>
              <a:gd name="connsiteY53" fmla="*/ 467 h 9462"/>
              <a:gd name="connsiteX54" fmla="*/ 6971 w 10000"/>
              <a:gd name="connsiteY54" fmla="*/ 0 h 9462"/>
              <a:gd name="connsiteX55" fmla="*/ 7445 w 10000"/>
              <a:gd name="connsiteY55" fmla="*/ 0 h 9462"/>
              <a:gd name="connsiteX0" fmla="*/ 7189 w 9744"/>
              <a:gd name="connsiteY0" fmla="*/ 0 h 9539"/>
              <a:gd name="connsiteX1" fmla="*/ 7554 w 9744"/>
              <a:gd name="connsiteY1" fmla="*/ 340 h 9539"/>
              <a:gd name="connsiteX2" fmla="*/ 8175 w 9744"/>
              <a:gd name="connsiteY2" fmla="*/ 265 h 9539"/>
              <a:gd name="connsiteX3" fmla="*/ 8795 w 9744"/>
              <a:gd name="connsiteY3" fmla="*/ 454 h 9539"/>
              <a:gd name="connsiteX4" fmla="*/ 9087 w 9744"/>
              <a:gd name="connsiteY4" fmla="*/ 454 h 9539"/>
              <a:gd name="connsiteX5" fmla="*/ 9307 w 9744"/>
              <a:gd name="connsiteY5" fmla="*/ 947 h 9539"/>
              <a:gd name="connsiteX6" fmla="*/ 9343 w 9744"/>
              <a:gd name="connsiteY6" fmla="*/ 1438 h 9539"/>
              <a:gd name="connsiteX7" fmla="*/ 9561 w 9744"/>
              <a:gd name="connsiteY7" fmla="*/ 2272 h 9539"/>
              <a:gd name="connsiteX8" fmla="*/ 9744 w 9744"/>
              <a:gd name="connsiteY8" fmla="*/ 2424 h 9539"/>
              <a:gd name="connsiteX9" fmla="*/ 9634 w 9744"/>
              <a:gd name="connsiteY9" fmla="*/ 2728 h 9539"/>
              <a:gd name="connsiteX10" fmla="*/ 8795 w 9744"/>
              <a:gd name="connsiteY10" fmla="*/ 2879 h 9539"/>
              <a:gd name="connsiteX11" fmla="*/ 8503 w 9744"/>
              <a:gd name="connsiteY11" fmla="*/ 3181 h 9539"/>
              <a:gd name="connsiteX12" fmla="*/ 8101 w 9744"/>
              <a:gd name="connsiteY12" fmla="*/ 3219 h 9539"/>
              <a:gd name="connsiteX13" fmla="*/ 8101 w 9744"/>
              <a:gd name="connsiteY13" fmla="*/ 3826 h 9539"/>
              <a:gd name="connsiteX14" fmla="*/ 7335 w 9744"/>
              <a:gd name="connsiteY14" fmla="*/ 4129 h 9539"/>
              <a:gd name="connsiteX15" fmla="*/ 7079 w 9744"/>
              <a:gd name="connsiteY15" fmla="*/ 4508 h 9539"/>
              <a:gd name="connsiteX16" fmla="*/ 6569 w 9744"/>
              <a:gd name="connsiteY16" fmla="*/ 4736 h 9539"/>
              <a:gd name="connsiteX17" fmla="*/ 5911 w 9744"/>
              <a:gd name="connsiteY17" fmla="*/ 4849 h 9539"/>
              <a:gd name="connsiteX18" fmla="*/ 4854 w 9744"/>
              <a:gd name="connsiteY18" fmla="*/ 5416 h 9539"/>
              <a:gd name="connsiteX19" fmla="*/ 4854 w 9744"/>
              <a:gd name="connsiteY19" fmla="*/ 6364 h 9539"/>
              <a:gd name="connsiteX20" fmla="*/ 4743 w 9744"/>
              <a:gd name="connsiteY20" fmla="*/ 6364 h 9539"/>
              <a:gd name="connsiteX21" fmla="*/ 4743 w 9744"/>
              <a:gd name="connsiteY21" fmla="*/ 6364 h 9539"/>
              <a:gd name="connsiteX22" fmla="*/ 4743 w 9744"/>
              <a:gd name="connsiteY22" fmla="*/ 6780 h 9539"/>
              <a:gd name="connsiteX23" fmla="*/ 4343 w 9744"/>
              <a:gd name="connsiteY23" fmla="*/ 6818 h 9539"/>
              <a:gd name="connsiteX24" fmla="*/ 4124 w 9744"/>
              <a:gd name="connsiteY24" fmla="*/ 6970 h 9539"/>
              <a:gd name="connsiteX25" fmla="*/ 3831 w 9744"/>
              <a:gd name="connsiteY25" fmla="*/ 6970 h 9539"/>
              <a:gd name="connsiteX26" fmla="*/ 3612 w 9744"/>
              <a:gd name="connsiteY26" fmla="*/ 6894 h 9539"/>
              <a:gd name="connsiteX27" fmla="*/ 3066 w 9744"/>
              <a:gd name="connsiteY27" fmla="*/ 6970 h 9539"/>
              <a:gd name="connsiteX28" fmla="*/ 2847 w 9744"/>
              <a:gd name="connsiteY28" fmla="*/ 7576 h 9539"/>
              <a:gd name="connsiteX29" fmla="*/ 2628 w 9744"/>
              <a:gd name="connsiteY29" fmla="*/ 7652 h 9539"/>
              <a:gd name="connsiteX30" fmla="*/ 2299 w 9744"/>
              <a:gd name="connsiteY30" fmla="*/ 8637 h 9539"/>
              <a:gd name="connsiteX31" fmla="*/ 1387 w 9744"/>
              <a:gd name="connsiteY31" fmla="*/ 9471 h 9539"/>
              <a:gd name="connsiteX32" fmla="*/ 0 w 9744"/>
              <a:gd name="connsiteY32" fmla="*/ 9431 h 9539"/>
              <a:gd name="connsiteX33" fmla="*/ 365 w 9744"/>
              <a:gd name="connsiteY33" fmla="*/ 8939 h 9539"/>
              <a:gd name="connsiteX34" fmla="*/ 620 w 9744"/>
              <a:gd name="connsiteY34" fmla="*/ 8826 h 9539"/>
              <a:gd name="connsiteX35" fmla="*/ 802 w 9744"/>
              <a:gd name="connsiteY35" fmla="*/ 8371 h 9539"/>
              <a:gd name="connsiteX36" fmla="*/ 802 w 9744"/>
              <a:gd name="connsiteY36" fmla="*/ 7955 h 9539"/>
              <a:gd name="connsiteX37" fmla="*/ 1058 w 9744"/>
              <a:gd name="connsiteY37" fmla="*/ 7461 h 9539"/>
              <a:gd name="connsiteX38" fmla="*/ 1495 w 9744"/>
              <a:gd name="connsiteY38" fmla="*/ 7159 h 9539"/>
              <a:gd name="connsiteX39" fmla="*/ 1935 w 9744"/>
              <a:gd name="connsiteY39" fmla="*/ 6364 h 9539"/>
              <a:gd name="connsiteX40" fmla="*/ 1970 w 9744"/>
              <a:gd name="connsiteY40" fmla="*/ 6364 h 9539"/>
              <a:gd name="connsiteX41" fmla="*/ 2299 w 9744"/>
              <a:gd name="connsiteY41" fmla="*/ 6060 h 9539"/>
              <a:gd name="connsiteX42" fmla="*/ 2883 w 9744"/>
              <a:gd name="connsiteY42" fmla="*/ 5985 h 9539"/>
              <a:gd name="connsiteX43" fmla="*/ 3430 w 9744"/>
              <a:gd name="connsiteY43" fmla="*/ 5453 h 9539"/>
              <a:gd name="connsiteX44" fmla="*/ 3759 w 9744"/>
              <a:gd name="connsiteY44" fmla="*/ 5226 h 9539"/>
              <a:gd name="connsiteX45" fmla="*/ 4306 w 9744"/>
              <a:gd name="connsiteY45" fmla="*/ 4583 h 9539"/>
              <a:gd name="connsiteX46" fmla="*/ 4160 w 9744"/>
              <a:gd name="connsiteY46" fmla="*/ 3599 h 9539"/>
              <a:gd name="connsiteX47" fmla="*/ 4416 w 9744"/>
              <a:gd name="connsiteY47" fmla="*/ 2917 h 9539"/>
              <a:gd name="connsiteX48" fmla="*/ 4524 w 9744"/>
              <a:gd name="connsiteY48" fmla="*/ 2499 h 9539"/>
              <a:gd name="connsiteX49" fmla="*/ 4964 w 9744"/>
              <a:gd name="connsiteY49" fmla="*/ 1970 h 9539"/>
              <a:gd name="connsiteX50" fmla="*/ 5584 w 9744"/>
              <a:gd name="connsiteY50" fmla="*/ 1629 h 9539"/>
              <a:gd name="connsiteX51" fmla="*/ 6059 w 9744"/>
              <a:gd name="connsiteY51" fmla="*/ 1288 h 9539"/>
              <a:gd name="connsiteX52" fmla="*/ 6496 w 9744"/>
              <a:gd name="connsiteY52" fmla="*/ 494 h 9539"/>
              <a:gd name="connsiteX53" fmla="*/ 6715 w 9744"/>
              <a:gd name="connsiteY53" fmla="*/ 0 h 9539"/>
              <a:gd name="connsiteX54" fmla="*/ 7189 w 9744"/>
              <a:gd name="connsiteY54" fmla="*/ 0 h 9539"/>
              <a:gd name="connsiteX0" fmla="*/ 7003 w 9625"/>
              <a:gd name="connsiteY0" fmla="*/ 0 h 9932"/>
              <a:gd name="connsiteX1" fmla="*/ 7377 w 9625"/>
              <a:gd name="connsiteY1" fmla="*/ 356 h 9932"/>
              <a:gd name="connsiteX2" fmla="*/ 8015 w 9625"/>
              <a:gd name="connsiteY2" fmla="*/ 278 h 9932"/>
              <a:gd name="connsiteX3" fmla="*/ 8651 w 9625"/>
              <a:gd name="connsiteY3" fmla="*/ 476 h 9932"/>
              <a:gd name="connsiteX4" fmla="*/ 8951 w 9625"/>
              <a:gd name="connsiteY4" fmla="*/ 476 h 9932"/>
              <a:gd name="connsiteX5" fmla="*/ 9177 w 9625"/>
              <a:gd name="connsiteY5" fmla="*/ 993 h 9932"/>
              <a:gd name="connsiteX6" fmla="*/ 9213 w 9625"/>
              <a:gd name="connsiteY6" fmla="*/ 1507 h 9932"/>
              <a:gd name="connsiteX7" fmla="*/ 9437 w 9625"/>
              <a:gd name="connsiteY7" fmla="*/ 2382 h 9932"/>
              <a:gd name="connsiteX8" fmla="*/ 9625 w 9625"/>
              <a:gd name="connsiteY8" fmla="*/ 2541 h 9932"/>
              <a:gd name="connsiteX9" fmla="*/ 9512 w 9625"/>
              <a:gd name="connsiteY9" fmla="*/ 2860 h 9932"/>
              <a:gd name="connsiteX10" fmla="*/ 8651 w 9625"/>
              <a:gd name="connsiteY10" fmla="*/ 3018 h 9932"/>
              <a:gd name="connsiteX11" fmla="*/ 8351 w 9625"/>
              <a:gd name="connsiteY11" fmla="*/ 3335 h 9932"/>
              <a:gd name="connsiteX12" fmla="*/ 7939 w 9625"/>
              <a:gd name="connsiteY12" fmla="*/ 3375 h 9932"/>
              <a:gd name="connsiteX13" fmla="*/ 7939 w 9625"/>
              <a:gd name="connsiteY13" fmla="*/ 4011 h 9932"/>
              <a:gd name="connsiteX14" fmla="*/ 7153 w 9625"/>
              <a:gd name="connsiteY14" fmla="*/ 4329 h 9932"/>
              <a:gd name="connsiteX15" fmla="*/ 6890 w 9625"/>
              <a:gd name="connsiteY15" fmla="*/ 4726 h 9932"/>
              <a:gd name="connsiteX16" fmla="*/ 6367 w 9625"/>
              <a:gd name="connsiteY16" fmla="*/ 4965 h 9932"/>
              <a:gd name="connsiteX17" fmla="*/ 5691 w 9625"/>
              <a:gd name="connsiteY17" fmla="*/ 5083 h 9932"/>
              <a:gd name="connsiteX18" fmla="*/ 4607 w 9625"/>
              <a:gd name="connsiteY18" fmla="*/ 5678 h 9932"/>
              <a:gd name="connsiteX19" fmla="*/ 4607 w 9625"/>
              <a:gd name="connsiteY19" fmla="*/ 6672 h 9932"/>
              <a:gd name="connsiteX20" fmla="*/ 4493 w 9625"/>
              <a:gd name="connsiteY20" fmla="*/ 6672 h 9932"/>
              <a:gd name="connsiteX21" fmla="*/ 4493 w 9625"/>
              <a:gd name="connsiteY21" fmla="*/ 6672 h 9932"/>
              <a:gd name="connsiteX22" fmla="*/ 4493 w 9625"/>
              <a:gd name="connsiteY22" fmla="*/ 7108 h 9932"/>
              <a:gd name="connsiteX23" fmla="*/ 4082 w 9625"/>
              <a:gd name="connsiteY23" fmla="*/ 7147 h 9932"/>
              <a:gd name="connsiteX24" fmla="*/ 3857 w 9625"/>
              <a:gd name="connsiteY24" fmla="*/ 7307 h 9932"/>
              <a:gd name="connsiteX25" fmla="*/ 3557 w 9625"/>
              <a:gd name="connsiteY25" fmla="*/ 7307 h 9932"/>
              <a:gd name="connsiteX26" fmla="*/ 3332 w 9625"/>
              <a:gd name="connsiteY26" fmla="*/ 7227 h 9932"/>
              <a:gd name="connsiteX27" fmla="*/ 2772 w 9625"/>
              <a:gd name="connsiteY27" fmla="*/ 7307 h 9932"/>
              <a:gd name="connsiteX28" fmla="*/ 2547 w 9625"/>
              <a:gd name="connsiteY28" fmla="*/ 7942 h 9932"/>
              <a:gd name="connsiteX29" fmla="*/ 2322 w 9625"/>
              <a:gd name="connsiteY29" fmla="*/ 8022 h 9932"/>
              <a:gd name="connsiteX30" fmla="*/ 1984 w 9625"/>
              <a:gd name="connsiteY30" fmla="*/ 9054 h 9932"/>
              <a:gd name="connsiteX31" fmla="*/ 1048 w 9625"/>
              <a:gd name="connsiteY31" fmla="*/ 9929 h 9932"/>
              <a:gd name="connsiteX32" fmla="*/ 0 w 9625"/>
              <a:gd name="connsiteY32" fmla="*/ 9371 h 9932"/>
              <a:gd name="connsiteX33" fmla="*/ 261 w 9625"/>
              <a:gd name="connsiteY33" fmla="*/ 9253 h 9932"/>
              <a:gd name="connsiteX34" fmla="*/ 448 w 9625"/>
              <a:gd name="connsiteY34" fmla="*/ 8776 h 9932"/>
              <a:gd name="connsiteX35" fmla="*/ 448 w 9625"/>
              <a:gd name="connsiteY35" fmla="*/ 8339 h 9932"/>
              <a:gd name="connsiteX36" fmla="*/ 711 w 9625"/>
              <a:gd name="connsiteY36" fmla="*/ 7822 h 9932"/>
              <a:gd name="connsiteX37" fmla="*/ 1159 w 9625"/>
              <a:gd name="connsiteY37" fmla="*/ 7505 h 9932"/>
              <a:gd name="connsiteX38" fmla="*/ 1611 w 9625"/>
              <a:gd name="connsiteY38" fmla="*/ 6672 h 9932"/>
              <a:gd name="connsiteX39" fmla="*/ 1647 w 9625"/>
              <a:gd name="connsiteY39" fmla="*/ 6672 h 9932"/>
              <a:gd name="connsiteX40" fmla="*/ 1984 w 9625"/>
              <a:gd name="connsiteY40" fmla="*/ 6353 h 9932"/>
              <a:gd name="connsiteX41" fmla="*/ 2584 w 9625"/>
              <a:gd name="connsiteY41" fmla="*/ 6274 h 9932"/>
              <a:gd name="connsiteX42" fmla="*/ 3145 w 9625"/>
              <a:gd name="connsiteY42" fmla="*/ 5717 h 9932"/>
              <a:gd name="connsiteX43" fmla="*/ 3483 w 9625"/>
              <a:gd name="connsiteY43" fmla="*/ 5479 h 9932"/>
              <a:gd name="connsiteX44" fmla="*/ 4044 w 9625"/>
              <a:gd name="connsiteY44" fmla="*/ 4804 h 9932"/>
              <a:gd name="connsiteX45" fmla="*/ 3894 w 9625"/>
              <a:gd name="connsiteY45" fmla="*/ 3773 h 9932"/>
              <a:gd name="connsiteX46" fmla="*/ 4157 w 9625"/>
              <a:gd name="connsiteY46" fmla="*/ 3058 h 9932"/>
              <a:gd name="connsiteX47" fmla="*/ 4268 w 9625"/>
              <a:gd name="connsiteY47" fmla="*/ 2620 h 9932"/>
              <a:gd name="connsiteX48" fmla="*/ 4719 w 9625"/>
              <a:gd name="connsiteY48" fmla="*/ 2065 h 9932"/>
              <a:gd name="connsiteX49" fmla="*/ 5356 w 9625"/>
              <a:gd name="connsiteY49" fmla="*/ 1708 h 9932"/>
              <a:gd name="connsiteX50" fmla="*/ 5843 w 9625"/>
              <a:gd name="connsiteY50" fmla="*/ 1350 h 9932"/>
              <a:gd name="connsiteX51" fmla="*/ 6292 w 9625"/>
              <a:gd name="connsiteY51" fmla="*/ 518 h 9932"/>
              <a:gd name="connsiteX52" fmla="*/ 6516 w 9625"/>
              <a:gd name="connsiteY52" fmla="*/ 0 h 9932"/>
              <a:gd name="connsiteX53" fmla="*/ 7003 w 9625"/>
              <a:gd name="connsiteY53" fmla="*/ 0 h 9932"/>
              <a:gd name="connsiteX0" fmla="*/ 7276 w 10000"/>
              <a:gd name="connsiteY0" fmla="*/ 0 h 9435"/>
              <a:gd name="connsiteX1" fmla="*/ 7664 w 10000"/>
              <a:gd name="connsiteY1" fmla="*/ 358 h 9435"/>
              <a:gd name="connsiteX2" fmla="*/ 8327 w 10000"/>
              <a:gd name="connsiteY2" fmla="*/ 280 h 9435"/>
              <a:gd name="connsiteX3" fmla="*/ 8988 w 10000"/>
              <a:gd name="connsiteY3" fmla="*/ 479 h 9435"/>
              <a:gd name="connsiteX4" fmla="*/ 9300 w 10000"/>
              <a:gd name="connsiteY4" fmla="*/ 479 h 9435"/>
              <a:gd name="connsiteX5" fmla="*/ 9535 w 10000"/>
              <a:gd name="connsiteY5" fmla="*/ 1000 h 9435"/>
              <a:gd name="connsiteX6" fmla="*/ 9572 w 10000"/>
              <a:gd name="connsiteY6" fmla="*/ 1517 h 9435"/>
              <a:gd name="connsiteX7" fmla="*/ 9805 w 10000"/>
              <a:gd name="connsiteY7" fmla="*/ 2398 h 9435"/>
              <a:gd name="connsiteX8" fmla="*/ 10000 w 10000"/>
              <a:gd name="connsiteY8" fmla="*/ 2558 h 9435"/>
              <a:gd name="connsiteX9" fmla="*/ 9883 w 10000"/>
              <a:gd name="connsiteY9" fmla="*/ 2880 h 9435"/>
              <a:gd name="connsiteX10" fmla="*/ 8988 w 10000"/>
              <a:gd name="connsiteY10" fmla="*/ 3039 h 9435"/>
              <a:gd name="connsiteX11" fmla="*/ 8676 w 10000"/>
              <a:gd name="connsiteY11" fmla="*/ 3358 h 9435"/>
              <a:gd name="connsiteX12" fmla="*/ 8248 w 10000"/>
              <a:gd name="connsiteY12" fmla="*/ 3398 h 9435"/>
              <a:gd name="connsiteX13" fmla="*/ 8248 w 10000"/>
              <a:gd name="connsiteY13" fmla="*/ 4038 h 9435"/>
              <a:gd name="connsiteX14" fmla="*/ 7432 w 10000"/>
              <a:gd name="connsiteY14" fmla="*/ 4359 h 9435"/>
              <a:gd name="connsiteX15" fmla="*/ 7158 w 10000"/>
              <a:gd name="connsiteY15" fmla="*/ 4758 h 9435"/>
              <a:gd name="connsiteX16" fmla="*/ 6615 w 10000"/>
              <a:gd name="connsiteY16" fmla="*/ 4999 h 9435"/>
              <a:gd name="connsiteX17" fmla="*/ 5913 w 10000"/>
              <a:gd name="connsiteY17" fmla="*/ 5118 h 9435"/>
              <a:gd name="connsiteX18" fmla="*/ 4786 w 10000"/>
              <a:gd name="connsiteY18" fmla="*/ 5717 h 9435"/>
              <a:gd name="connsiteX19" fmla="*/ 4786 w 10000"/>
              <a:gd name="connsiteY19" fmla="*/ 6718 h 9435"/>
              <a:gd name="connsiteX20" fmla="*/ 4668 w 10000"/>
              <a:gd name="connsiteY20" fmla="*/ 6718 h 9435"/>
              <a:gd name="connsiteX21" fmla="*/ 4668 w 10000"/>
              <a:gd name="connsiteY21" fmla="*/ 6718 h 9435"/>
              <a:gd name="connsiteX22" fmla="*/ 4668 w 10000"/>
              <a:gd name="connsiteY22" fmla="*/ 7157 h 9435"/>
              <a:gd name="connsiteX23" fmla="*/ 4241 w 10000"/>
              <a:gd name="connsiteY23" fmla="*/ 7196 h 9435"/>
              <a:gd name="connsiteX24" fmla="*/ 4007 w 10000"/>
              <a:gd name="connsiteY24" fmla="*/ 7357 h 9435"/>
              <a:gd name="connsiteX25" fmla="*/ 3696 w 10000"/>
              <a:gd name="connsiteY25" fmla="*/ 7357 h 9435"/>
              <a:gd name="connsiteX26" fmla="*/ 3462 w 10000"/>
              <a:gd name="connsiteY26" fmla="*/ 7276 h 9435"/>
              <a:gd name="connsiteX27" fmla="*/ 2880 w 10000"/>
              <a:gd name="connsiteY27" fmla="*/ 7357 h 9435"/>
              <a:gd name="connsiteX28" fmla="*/ 2646 w 10000"/>
              <a:gd name="connsiteY28" fmla="*/ 7996 h 9435"/>
              <a:gd name="connsiteX29" fmla="*/ 2412 w 10000"/>
              <a:gd name="connsiteY29" fmla="*/ 8077 h 9435"/>
              <a:gd name="connsiteX30" fmla="*/ 2061 w 10000"/>
              <a:gd name="connsiteY30" fmla="*/ 9116 h 9435"/>
              <a:gd name="connsiteX31" fmla="*/ 0 w 10000"/>
              <a:gd name="connsiteY31" fmla="*/ 9435 h 9435"/>
              <a:gd name="connsiteX32" fmla="*/ 271 w 10000"/>
              <a:gd name="connsiteY32" fmla="*/ 9316 h 9435"/>
              <a:gd name="connsiteX33" fmla="*/ 465 w 10000"/>
              <a:gd name="connsiteY33" fmla="*/ 8836 h 9435"/>
              <a:gd name="connsiteX34" fmla="*/ 465 w 10000"/>
              <a:gd name="connsiteY34" fmla="*/ 8396 h 9435"/>
              <a:gd name="connsiteX35" fmla="*/ 739 w 10000"/>
              <a:gd name="connsiteY35" fmla="*/ 7876 h 9435"/>
              <a:gd name="connsiteX36" fmla="*/ 1204 w 10000"/>
              <a:gd name="connsiteY36" fmla="*/ 7556 h 9435"/>
              <a:gd name="connsiteX37" fmla="*/ 1674 w 10000"/>
              <a:gd name="connsiteY37" fmla="*/ 6718 h 9435"/>
              <a:gd name="connsiteX38" fmla="*/ 1711 w 10000"/>
              <a:gd name="connsiteY38" fmla="*/ 6718 h 9435"/>
              <a:gd name="connsiteX39" fmla="*/ 2061 w 10000"/>
              <a:gd name="connsiteY39" fmla="*/ 6396 h 9435"/>
              <a:gd name="connsiteX40" fmla="*/ 2685 w 10000"/>
              <a:gd name="connsiteY40" fmla="*/ 6317 h 9435"/>
              <a:gd name="connsiteX41" fmla="*/ 3268 w 10000"/>
              <a:gd name="connsiteY41" fmla="*/ 5756 h 9435"/>
              <a:gd name="connsiteX42" fmla="*/ 3619 w 10000"/>
              <a:gd name="connsiteY42" fmla="*/ 5517 h 9435"/>
              <a:gd name="connsiteX43" fmla="*/ 4202 w 10000"/>
              <a:gd name="connsiteY43" fmla="*/ 4837 h 9435"/>
              <a:gd name="connsiteX44" fmla="*/ 4046 w 10000"/>
              <a:gd name="connsiteY44" fmla="*/ 3799 h 9435"/>
              <a:gd name="connsiteX45" fmla="*/ 4319 w 10000"/>
              <a:gd name="connsiteY45" fmla="*/ 3079 h 9435"/>
              <a:gd name="connsiteX46" fmla="*/ 4434 w 10000"/>
              <a:gd name="connsiteY46" fmla="*/ 2638 h 9435"/>
              <a:gd name="connsiteX47" fmla="*/ 4903 w 10000"/>
              <a:gd name="connsiteY47" fmla="*/ 2079 h 9435"/>
              <a:gd name="connsiteX48" fmla="*/ 5565 w 10000"/>
              <a:gd name="connsiteY48" fmla="*/ 1720 h 9435"/>
              <a:gd name="connsiteX49" fmla="*/ 6071 w 10000"/>
              <a:gd name="connsiteY49" fmla="*/ 1359 h 9435"/>
              <a:gd name="connsiteX50" fmla="*/ 6537 w 10000"/>
              <a:gd name="connsiteY50" fmla="*/ 522 h 9435"/>
              <a:gd name="connsiteX51" fmla="*/ 6770 w 10000"/>
              <a:gd name="connsiteY51" fmla="*/ 0 h 9435"/>
              <a:gd name="connsiteX52" fmla="*/ 7276 w 10000"/>
              <a:gd name="connsiteY52" fmla="*/ 0 h 9435"/>
              <a:gd name="connsiteX0" fmla="*/ 7276 w 10000"/>
              <a:gd name="connsiteY0" fmla="*/ 0 h 10000"/>
              <a:gd name="connsiteX1" fmla="*/ 7664 w 10000"/>
              <a:gd name="connsiteY1" fmla="*/ 379 h 10000"/>
              <a:gd name="connsiteX2" fmla="*/ 8327 w 10000"/>
              <a:gd name="connsiteY2" fmla="*/ 297 h 10000"/>
              <a:gd name="connsiteX3" fmla="*/ 8988 w 10000"/>
              <a:gd name="connsiteY3" fmla="*/ 508 h 10000"/>
              <a:gd name="connsiteX4" fmla="*/ 9300 w 10000"/>
              <a:gd name="connsiteY4" fmla="*/ 508 h 10000"/>
              <a:gd name="connsiteX5" fmla="*/ 9535 w 10000"/>
              <a:gd name="connsiteY5" fmla="*/ 1060 h 10000"/>
              <a:gd name="connsiteX6" fmla="*/ 9572 w 10000"/>
              <a:gd name="connsiteY6" fmla="*/ 1608 h 10000"/>
              <a:gd name="connsiteX7" fmla="*/ 9805 w 10000"/>
              <a:gd name="connsiteY7" fmla="*/ 2542 h 10000"/>
              <a:gd name="connsiteX8" fmla="*/ 10000 w 10000"/>
              <a:gd name="connsiteY8" fmla="*/ 2711 h 10000"/>
              <a:gd name="connsiteX9" fmla="*/ 9883 w 10000"/>
              <a:gd name="connsiteY9" fmla="*/ 3052 h 10000"/>
              <a:gd name="connsiteX10" fmla="*/ 8988 w 10000"/>
              <a:gd name="connsiteY10" fmla="*/ 3221 h 10000"/>
              <a:gd name="connsiteX11" fmla="*/ 8676 w 10000"/>
              <a:gd name="connsiteY11" fmla="*/ 3559 h 10000"/>
              <a:gd name="connsiteX12" fmla="*/ 8248 w 10000"/>
              <a:gd name="connsiteY12" fmla="*/ 3601 h 10000"/>
              <a:gd name="connsiteX13" fmla="*/ 8248 w 10000"/>
              <a:gd name="connsiteY13" fmla="*/ 4280 h 10000"/>
              <a:gd name="connsiteX14" fmla="*/ 7432 w 10000"/>
              <a:gd name="connsiteY14" fmla="*/ 4620 h 10000"/>
              <a:gd name="connsiteX15" fmla="*/ 7158 w 10000"/>
              <a:gd name="connsiteY15" fmla="*/ 5043 h 10000"/>
              <a:gd name="connsiteX16" fmla="*/ 6615 w 10000"/>
              <a:gd name="connsiteY16" fmla="*/ 5298 h 10000"/>
              <a:gd name="connsiteX17" fmla="*/ 5913 w 10000"/>
              <a:gd name="connsiteY17" fmla="*/ 5424 h 10000"/>
              <a:gd name="connsiteX18" fmla="*/ 4786 w 10000"/>
              <a:gd name="connsiteY18" fmla="*/ 6059 h 10000"/>
              <a:gd name="connsiteX19" fmla="*/ 4786 w 10000"/>
              <a:gd name="connsiteY19" fmla="*/ 7120 h 10000"/>
              <a:gd name="connsiteX20" fmla="*/ 4668 w 10000"/>
              <a:gd name="connsiteY20" fmla="*/ 7120 h 10000"/>
              <a:gd name="connsiteX21" fmla="*/ 4668 w 10000"/>
              <a:gd name="connsiteY21" fmla="*/ 7120 h 10000"/>
              <a:gd name="connsiteX22" fmla="*/ 4668 w 10000"/>
              <a:gd name="connsiteY22" fmla="*/ 7586 h 10000"/>
              <a:gd name="connsiteX23" fmla="*/ 4241 w 10000"/>
              <a:gd name="connsiteY23" fmla="*/ 7627 h 10000"/>
              <a:gd name="connsiteX24" fmla="*/ 4007 w 10000"/>
              <a:gd name="connsiteY24" fmla="*/ 7798 h 10000"/>
              <a:gd name="connsiteX25" fmla="*/ 3696 w 10000"/>
              <a:gd name="connsiteY25" fmla="*/ 7798 h 10000"/>
              <a:gd name="connsiteX26" fmla="*/ 3462 w 10000"/>
              <a:gd name="connsiteY26" fmla="*/ 7712 h 10000"/>
              <a:gd name="connsiteX27" fmla="*/ 2880 w 10000"/>
              <a:gd name="connsiteY27" fmla="*/ 7798 h 10000"/>
              <a:gd name="connsiteX28" fmla="*/ 2646 w 10000"/>
              <a:gd name="connsiteY28" fmla="*/ 8475 h 10000"/>
              <a:gd name="connsiteX29" fmla="*/ 2412 w 10000"/>
              <a:gd name="connsiteY29" fmla="*/ 8561 h 10000"/>
              <a:gd name="connsiteX30" fmla="*/ 2061 w 10000"/>
              <a:gd name="connsiteY30" fmla="*/ 9662 h 10000"/>
              <a:gd name="connsiteX31" fmla="*/ 0 w 10000"/>
              <a:gd name="connsiteY31" fmla="*/ 10000 h 10000"/>
              <a:gd name="connsiteX32" fmla="*/ 465 w 10000"/>
              <a:gd name="connsiteY32" fmla="*/ 9365 h 10000"/>
              <a:gd name="connsiteX33" fmla="*/ 465 w 10000"/>
              <a:gd name="connsiteY33" fmla="*/ 8899 h 10000"/>
              <a:gd name="connsiteX34" fmla="*/ 739 w 10000"/>
              <a:gd name="connsiteY34" fmla="*/ 8348 h 10000"/>
              <a:gd name="connsiteX35" fmla="*/ 1204 w 10000"/>
              <a:gd name="connsiteY35" fmla="*/ 8008 h 10000"/>
              <a:gd name="connsiteX36" fmla="*/ 1674 w 10000"/>
              <a:gd name="connsiteY36" fmla="*/ 7120 h 10000"/>
              <a:gd name="connsiteX37" fmla="*/ 1711 w 10000"/>
              <a:gd name="connsiteY37" fmla="*/ 7120 h 10000"/>
              <a:gd name="connsiteX38" fmla="*/ 2061 w 10000"/>
              <a:gd name="connsiteY38" fmla="*/ 6779 h 10000"/>
              <a:gd name="connsiteX39" fmla="*/ 2685 w 10000"/>
              <a:gd name="connsiteY39" fmla="*/ 6695 h 10000"/>
              <a:gd name="connsiteX40" fmla="*/ 3268 w 10000"/>
              <a:gd name="connsiteY40" fmla="*/ 6101 h 10000"/>
              <a:gd name="connsiteX41" fmla="*/ 3619 w 10000"/>
              <a:gd name="connsiteY41" fmla="*/ 5847 h 10000"/>
              <a:gd name="connsiteX42" fmla="*/ 4202 w 10000"/>
              <a:gd name="connsiteY42" fmla="*/ 5127 h 10000"/>
              <a:gd name="connsiteX43" fmla="*/ 4046 w 10000"/>
              <a:gd name="connsiteY43" fmla="*/ 4026 h 10000"/>
              <a:gd name="connsiteX44" fmla="*/ 4319 w 10000"/>
              <a:gd name="connsiteY44" fmla="*/ 3263 h 10000"/>
              <a:gd name="connsiteX45" fmla="*/ 4434 w 10000"/>
              <a:gd name="connsiteY45" fmla="*/ 2796 h 10000"/>
              <a:gd name="connsiteX46" fmla="*/ 4903 w 10000"/>
              <a:gd name="connsiteY46" fmla="*/ 2203 h 10000"/>
              <a:gd name="connsiteX47" fmla="*/ 5565 w 10000"/>
              <a:gd name="connsiteY47" fmla="*/ 1823 h 10000"/>
              <a:gd name="connsiteX48" fmla="*/ 6071 w 10000"/>
              <a:gd name="connsiteY48" fmla="*/ 1440 h 10000"/>
              <a:gd name="connsiteX49" fmla="*/ 6537 w 10000"/>
              <a:gd name="connsiteY49" fmla="*/ 553 h 10000"/>
              <a:gd name="connsiteX50" fmla="*/ 6770 w 10000"/>
              <a:gd name="connsiteY50" fmla="*/ 0 h 10000"/>
              <a:gd name="connsiteX51" fmla="*/ 7276 w 10000"/>
              <a:gd name="connsiteY51" fmla="*/ 0 h 10000"/>
              <a:gd name="connsiteX0" fmla="*/ 6811 w 9535"/>
              <a:gd name="connsiteY0" fmla="*/ 0 h 9662"/>
              <a:gd name="connsiteX1" fmla="*/ 7199 w 9535"/>
              <a:gd name="connsiteY1" fmla="*/ 379 h 9662"/>
              <a:gd name="connsiteX2" fmla="*/ 7862 w 9535"/>
              <a:gd name="connsiteY2" fmla="*/ 297 h 9662"/>
              <a:gd name="connsiteX3" fmla="*/ 8523 w 9535"/>
              <a:gd name="connsiteY3" fmla="*/ 508 h 9662"/>
              <a:gd name="connsiteX4" fmla="*/ 8835 w 9535"/>
              <a:gd name="connsiteY4" fmla="*/ 508 h 9662"/>
              <a:gd name="connsiteX5" fmla="*/ 9070 w 9535"/>
              <a:gd name="connsiteY5" fmla="*/ 1060 h 9662"/>
              <a:gd name="connsiteX6" fmla="*/ 9107 w 9535"/>
              <a:gd name="connsiteY6" fmla="*/ 1608 h 9662"/>
              <a:gd name="connsiteX7" fmla="*/ 9340 w 9535"/>
              <a:gd name="connsiteY7" fmla="*/ 2542 h 9662"/>
              <a:gd name="connsiteX8" fmla="*/ 9535 w 9535"/>
              <a:gd name="connsiteY8" fmla="*/ 2711 h 9662"/>
              <a:gd name="connsiteX9" fmla="*/ 9418 w 9535"/>
              <a:gd name="connsiteY9" fmla="*/ 3052 h 9662"/>
              <a:gd name="connsiteX10" fmla="*/ 8523 w 9535"/>
              <a:gd name="connsiteY10" fmla="*/ 3221 h 9662"/>
              <a:gd name="connsiteX11" fmla="*/ 8211 w 9535"/>
              <a:gd name="connsiteY11" fmla="*/ 3559 h 9662"/>
              <a:gd name="connsiteX12" fmla="*/ 7783 w 9535"/>
              <a:gd name="connsiteY12" fmla="*/ 3601 h 9662"/>
              <a:gd name="connsiteX13" fmla="*/ 7783 w 9535"/>
              <a:gd name="connsiteY13" fmla="*/ 4280 h 9662"/>
              <a:gd name="connsiteX14" fmla="*/ 6967 w 9535"/>
              <a:gd name="connsiteY14" fmla="*/ 4620 h 9662"/>
              <a:gd name="connsiteX15" fmla="*/ 6693 w 9535"/>
              <a:gd name="connsiteY15" fmla="*/ 5043 h 9662"/>
              <a:gd name="connsiteX16" fmla="*/ 6150 w 9535"/>
              <a:gd name="connsiteY16" fmla="*/ 5298 h 9662"/>
              <a:gd name="connsiteX17" fmla="*/ 5448 w 9535"/>
              <a:gd name="connsiteY17" fmla="*/ 5424 h 9662"/>
              <a:gd name="connsiteX18" fmla="*/ 4321 w 9535"/>
              <a:gd name="connsiteY18" fmla="*/ 6059 h 9662"/>
              <a:gd name="connsiteX19" fmla="*/ 4321 w 9535"/>
              <a:gd name="connsiteY19" fmla="*/ 7120 h 9662"/>
              <a:gd name="connsiteX20" fmla="*/ 4203 w 9535"/>
              <a:gd name="connsiteY20" fmla="*/ 7120 h 9662"/>
              <a:gd name="connsiteX21" fmla="*/ 4203 w 9535"/>
              <a:gd name="connsiteY21" fmla="*/ 7120 h 9662"/>
              <a:gd name="connsiteX22" fmla="*/ 4203 w 9535"/>
              <a:gd name="connsiteY22" fmla="*/ 7586 h 9662"/>
              <a:gd name="connsiteX23" fmla="*/ 3776 w 9535"/>
              <a:gd name="connsiteY23" fmla="*/ 7627 h 9662"/>
              <a:gd name="connsiteX24" fmla="*/ 3542 w 9535"/>
              <a:gd name="connsiteY24" fmla="*/ 7798 h 9662"/>
              <a:gd name="connsiteX25" fmla="*/ 3231 w 9535"/>
              <a:gd name="connsiteY25" fmla="*/ 7798 h 9662"/>
              <a:gd name="connsiteX26" fmla="*/ 2997 w 9535"/>
              <a:gd name="connsiteY26" fmla="*/ 7712 h 9662"/>
              <a:gd name="connsiteX27" fmla="*/ 2415 w 9535"/>
              <a:gd name="connsiteY27" fmla="*/ 7798 h 9662"/>
              <a:gd name="connsiteX28" fmla="*/ 2181 w 9535"/>
              <a:gd name="connsiteY28" fmla="*/ 8475 h 9662"/>
              <a:gd name="connsiteX29" fmla="*/ 1947 w 9535"/>
              <a:gd name="connsiteY29" fmla="*/ 8561 h 9662"/>
              <a:gd name="connsiteX30" fmla="*/ 1596 w 9535"/>
              <a:gd name="connsiteY30" fmla="*/ 9662 h 9662"/>
              <a:gd name="connsiteX31" fmla="*/ 0 w 9535"/>
              <a:gd name="connsiteY31" fmla="*/ 9365 h 9662"/>
              <a:gd name="connsiteX32" fmla="*/ 0 w 9535"/>
              <a:gd name="connsiteY32" fmla="*/ 8899 h 9662"/>
              <a:gd name="connsiteX33" fmla="*/ 274 w 9535"/>
              <a:gd name="connsiteY33" fmla="*/ 8348 h 9662"/>
              <a:gd name="connsiteX34" fmla="*/ 739 w 9535"/>
              <a:gd name="connsiteY34" fmla="*/ 8008 h 9662"/>
              <a:gd name="connsiteX35" fmla="*/ 1209 w 9535"/>
              <a:gd name="connsiteY35" fmla="*/ 7120 h 9662"/>
              <a:gd name="connsiteX36" fmla="*/ 1246 w 9535"/>
              <a:gd name="connsiteY36" fmla="*/ 7120 h 9662"/>
              <a:gd name="connsiteX37" fmla="*/ 1596 w 9535"/>
              <a:gd name="connsiteY37" fmla="*/ 6779 h 9662"/>
              <a:gd name="connsiteX38" fmla="*/ 2220 w 9535"/>
              <a:gd name="connsiteY38" fmla="*/ 6695 h 9662"/>
              <a:gd name="connsiteX39" fmla="*/ 2803 w 9535"/>
              <a:gd name="connsiteY39" fmla="*/ 6101 h 9662"/>
              <a:gd name="connsiteX40" fmla="*/ 3154 w 9535"/>
              <a:gd name="connsiteY40" fmla="*/ 5847 h 9662"/>
              <a:gd name="connsiteX41" fmla="*/ 3737 w 9535"/>
              <a:gd name="connsiteY41" fmla="*/ 5127 h 9662"/>
              <a:gd name="connsiteX42" fmla="*/ 3581 w 9535"/>
              <a:gd name="connsiteY42" fmla="*/ 4026 h 9662"/>
              <a:gd name="connsiteX43" fmla="*/ 3854 w 9535"/>
              <a:gd name="connsiteY43" fmla="*/ 3263 h 9662"/>
              <a:gd name="connsiteX44" fmla="*/ 3969 w 9535"/>
              <a:gd name="connsiteY44" fmla="*/ 2796 h 9662"/>
              <a:gd name="connsiteX45" fmla="*/ 4438 w 9535"/>
              <a:gd name="connsiteY45" fmla="*/ 2203 h 9662"/>
              <a:gd name="connsiteX46" fmla="*/ 5100 w 9535"/>
              <a:gd name="connsiteY46" fmla="*/ 1823 h 9662"/>
              <a:gd name="connsiteX47" fmla="*/ 5606 w 9535"/>
              <a:gd name="connsiteY47" fmla="*/ 1440 h 9662"/>
              <a:gd name="connsiteX48" fmla="*/ 6072 w 9535"/>
              <a:gd name="connsiteY48" fmla="*/ 553 h 9662"/>
              <a:gd name="connsiteX49" fmla="*/ 6305 w 9535"/>
              <a:gd name="connsiteY49" fmla="*/ 0 h 9662"/>
              <a:gd name="connsiteX50" fmla="*/ 6811 w 9535"/>
              <a:gd name="connsiteY50" fmla="*/ 0 h 9662"/>
              <a:gd name="connsiteX0" fmla="*/ 7143 w 10000"/>
              <a:gd name="connsiteY0" fmla="*/ 0 h 9693"/>
              <a:gd name="connsiteX1" fmla="*/ 7550 w 10000"/>
              <a:gd name="connsiteY1" fmla="*/ 392 h 9693"/>
              <a:gd name="connsiteX2" fmla="*/ 8245 w 10000"/>
              <a:gd name="connsiteY2" fmla="*/ 307 h 9693"/>
              <a:gd name="connsiteX3" fmla="*/ 8939 w 10000"/>
              <a:gd name="connsiteY3" fmla="*/ 526 h 9693"/>
              <a:gd name="connsiteX4" fmla="*/ 9266 w 10000"/>
              <a:gd name="connsiteY4" fmla="*/ 526 h 9693"/>
              <a:gd name="connsiteX5" fmla="*/ 9512 w 10000"/>
              <a:gd name="connsiteY5" fmla="*/ 1097 h 9693"/>
              <a:gd name="connsiteX6" fmla="*/ 9551 w 10000"/>
              <a:gd name="connsiteY6" fmla="*/ 1664 h 9693"/>
              <a:gd name="connsiteX7" fmla="*/ 9795 w 10000"/>
              <a:gd name="connsiteY7" fmla="*/ 2631 h 9693"/>
              <a:gd name="connsiteX8" fmla="*/ 10000 w 10000"/>
              <a:gd name="connsiteY8" fmla="*/ 2806 h 9693"/>
              <a:gd name="connsiteX9" fmla="*/ 9877 w 10000"/>
              <a:gd name="connsiteY9" fmla="*/ 3159 h 9693"/>
              <a:gd name="connsiteX10" fmla="*/ 8939 w 10000"/>
              <a:gd name="connsiteY10" fmla="*/ 3334 h 9693"/>
              <a:gd name="connsiteX11" fmla="*/ 8611 w 10000"/>
              <a:gd name="connsiteY11" fmla="*/ 3684 h 9693"/>
              <a:gd name="connsiteX12" fmla="*/ 8163 w 10000"/>
              <a:gd name="connsiteY12" fmla="*/ 3727 h 9693"/>
              <a:gd name="connsiteX13" fmla="*/ 8163 w 10000"/>
              <a:gd name="connsiteY13" fmla="*/ 4430 h 9693"/>
              <a:gd name="connsiteX14" fmla="*/ 7307 w 10000"/>
              <a:gd name="connsiteY14" fmla="*/ 4782 h 9693"/>
              <a:gd name="connsiteX15" fmla="*/ 7019 w 10000"/>
              <a:gd name="connsiteY15" fmla="*/ 5219 h 9693"/>
              <a:gd name="connsiteX16" fmla="*/ 6450 w 10000"/>
              <a:gd name="connsiteY16" fmla="*/ 5483 h 9693"/>
              <a:gd name="connsiteX17" fmla="*/ 5714 w 10000"/>
              <a:gd name="connsiteY17" fmla="*/ 5614 h 9693"/>
              <a:gd name="connsiteX18" fmla="*/ 4532 w 10000"/>
              <a:gd name="connsiteY18" fmla="*/ 6271 h 9693"/>
              <a:gd name="connsiteX19" fmla="*/ 4532 w 10000"/>
              <a:gd name="connsiteY19" fmla="*/ 7369 h 9693"/>
              <a:gd name="connsiteX20" fmla="*/ 4408 w 10000"/>
              <a:gd name="connsiteY20" fmla="*/ 7369 h 9693"/>
              <a:gd name="connsiteX21" fmla="*/ 4408 w 10000"/>
              <a:gd name="connsiteY21" fmla="*/ 7369 h 9693"/>
              <a:gd name="connsiteX22" fmla="*/ 4408 w 10000"/>
              <a:gd name="connsiteY22" fmla="*/ 7851 h 9693"/>
              <a:gd name="connsiteX23" fmla="*/ 3960 w 10000"/>
              <a:gd name="connsiteY23" fmla="*/ 7894 h 9693"/>
              <a:gd name="connsiteX24" fmla="*/ 3715 w 10000"/>
              <a:gd name="connsiteY24" fmla="*/ 8071 h 9693"/>
              <a:gd name="connsiteX25" fmla="*/ 3389 w 10000"/>
              <a:gd name="connsiteY25" fmla="*/ 8071 h 9693"/>
              <a:gd name="connsiteX26" fmla="*/ 3143 w 10000"/>
              <a:gd name="connsiteY26" fmla="*/ 7982 h 9693"/>
              <a:gd name="connsiteX27" fmla="*/ 2533 w 10000"/>
              <a:gd name="connsiteY27" fmla="*/ 8071 h 9693"/>
              <a:gd name="connsiteX28" fmla="*/ 2287 w 10000"/>
              <a:gd name="connsiteY28" fmla="*/ 8771 h 9693"/>
              <a:gd name="connsiteX29" fmla="*/ 2042 w 10000"/>
              <a:gd name="connsiteY29" fmla="*/ 8860 h 9693"/>
              <a:gd name="connsiteX30" fmla="*/ 0 w 10000"/>
              <a:gd name="connsiteY30" fmla="*/ 9693 h 9693"/>
              <a:gd name="connsiteX31" fmla="*/ 0 w 10000"/>
              <a:gd name="connsiteY31" fmla="*/ 9210 h 9693"/>
              <a:gd name="connsiteX32" fmla="*/ 287 w 10000"/>
              <a:gd name="connsiteY32" fmla="*/ 8640 h 9693"/>
              <a:gd name="connsiteX33" fmla="*/ 775 w 10000"/>
              <a:gd name="connsiteY33" fmla="*/ 8288 h 9693"/>
              <a:gd name="connsiteX34" fmla="*/ 1268 w 10000"/>
              <a:gd name="connsiteY34" fmla="*/ 7369 h 9693"/>
              <a:gd name="connsiteX35" fmla="*/ 1307 w 10000"/>
              <a:gd name="connsiteY35" fmla="*/ 7369 h 9693"/>
              <a:gd name="connsiteX36" fmla="*/ 1674 w 10000"/>
              <a:gd name="connsiteY36" fmla="*/ 7016 h 9693"/>
              <a:gd name="connsiteX37" fmla="*/ 2328 w 10000"/>
              <a:gd name="connsiteY37" fmla="*/ 6929 h 9693"/>
              <a:gd name="connsiteX38" fmla="*/ 2940 w 10000"/>
              <a:gd name="connsiteY38" fmla="*/ 6314 h 9693"/>
              <a:gd name="connsiteX39" fmla="*/ 3308 w 10000"/>
              <a:gd name="connsiteY39" fmla="*/ 6052 h 9693"/>
              <a:gd name="connsiteX40" fmla="*/ 3919 w 10000"/>
              <a:gd name="connsiteY40" fmla="*/ 5306 h 9693"/>
              <a:gd name="connsiteX41" fmla="*/ 3756 w 10000"/>
              <a:gd name="connsiteY41" fmla="*/ 4167 h 9693"/>
              <a:gd name="connsiteX42" fmla="*/ 4042 w 10000"/>
              <a:gd name="connsiteY42" fmla="*/ 3377 h 9693"/>
              <a:gd name="connsiteX43" fmla="*/ 4163 w 10000"/>
              <a:gd name="connsiteY43" fmla="*/ 2894 h 9693"/>
              <a:gd name="connsiteX44" fmla="*/ 4654 w 10000"/>
              <a:gd name="connsiteY44" fmla="*/ 2280 h 9693"/>
              <a:gd name="connsiteX45" fmla="*/ 5349 w 10000"/>
              <a:gd name="connsiteY45" fmla="*/ 1887 h 9693"/>
              <a:gd name="connsiteX46" fmla="*/ 5879 w 10000"/>
              <a:gd name="connsiteY46" fmla="*/ 1490 h 9693"/>
              <a:gd name="connsiteX47" fmla="*/ 6368 w 10000"/>
              <a:gd name="connsiteY47" fmla="*/ 572 h 9693"/>
              <a:gd name="connsiteX48" fmla="*/ 6612 w 10000"/>
              <a:gd name="connsiteY48" fmla="*/ 0 h 9693"/>
              <a:gd name="connsiteX49" fmla="*/ 7143 w 10000"/>
              <a:gd name="connsiteY49" fmla="*/ 0 h 9693"/>
              <a:gd name="connsiteX0" fmla="*/ 7143 w 10000"/>
              <a:gd name="connsiteY0" fmla="*/ 0 h 9502"/>
              <a:gd name="connsiteX1" fmla="*/ 7550 w 10000"/>
              <a:gd name="connsiteY1" fmla="*/ 404 h 9502"/>
              <a:gd name="connsiteX2" fmla="*/ 8245 w 10000"/>
              <a:gd name="connsiteY2" fmla="*/ 317 h 9502"/>
              <a:gd name="connsiteX3" fmla="*/ 8939 w 10000"/>
              <a:gd name="connsiteY3" fmla="*/ 543 h 9502"/>
              <a:gd name="connsiteX4" fmla="*/ 9266 w 10000"/>
              <a:gd name="connsiteY4" fmla="*/ 543 h 9502"/>
              <a:gd name="connsiteX5" fmla="*/ 9512 w 10000"/>
              <a:gd name="connsiteY5" fmla="*/ 1132 h 9502"/>
              <a:gd name="connsiteX6" fmla="*/ 9551 w 10000"/>
              <a:gd name="connsiteY6" fmla="*/ 1717 h 9502"/>
              <a:gd name="connsiteX7" fmla="*/ 9795 w 10000"/>
              <a:gd name="connsiteY7" fmla="*/ 2714 h 9502"/>
              <a:gd name="connsiteX8" fmla="*/ 10000 w 10000"/>
              <a:gd name="connsiteY8" fmla="*/ 2895 h 9502"/>
              <a:gd name="connsiteX9" fmla="*/ 9877 w 10000"/>
              <a:gd name="connsiteY9" fmla="*/ 3259 h 9502"/>
              <a:gd name="connsiteX10" fmla="*/ 8939 w 10000"/>
              <a:gd name="connsiteY10" fmla="*/ 3440 h 9502"/>
              <a:gd name="connsiteX11" fmla="*/ 8611 w 10000"/>
              <a:gd name="connsiteY11" fmla="*/ 3801 h 9502"/>
              <a:gd name="connsiteX12" fmla="*/ 8163 w 10000"/>
              <a:gd name="connsiteY12" fmla="*/ 3845 h 9502"/>
              <a:gd name="connsiteX13" fmla="*/ 8163 w 10000"/>
              <a:gd name="connsiteY13" fmla="*/ 4570 h 9502"/>
              <a:gd name="connsiteX14" fmla="*/ 7307 w 10000"/>
              <a:gd name="connsiteY14" fmla="*/ 4933 h 9502"/>
              <a:gd name="connsiteX15" fmla="*/ 7019 w 10000"/>
              <a:gd name="connsiteY15" fmla="*/ 5384 h 9502"/>
              <a:gd name="connsiteX16" fmla="*/ 6450 w 10000"/>
              <a:gd name="connsiteY16" fmla="*/ 5657 h 9502"/>
              <a:gd name="connsiteX17" fmla="*/ 5714 w 10000"/>
              <a:gd name="connsiteY17" fmla="*/ 5792 h 9502"/>
              <a:gd name="connsiteX18" fmla="*/ 4532 w 10000"/>
              <a:gd name="connsiteY18" fmla="*/ 6470 h 9502"/>
              <a:gd name="connsiteX19" fmla="*/ 4532 w 10000"/>
              <a:gd name="connsiteY19" fmla="*/ 7602 h 9502"/>
              <a:gd name="connsiteX20" fmla="*/ 4408 w 10000"/>
              <a:gd name="connsiteY20" fmla="*/ 7602 h 9502"/>
              <a:gd name="connsiteX21" fmla="*/ 4408 w 10000"/>
              <a:gd name="connsiteY21" fmla="*/ 7602 h 9502"/>
              <a:gd name="connsiteX22" fmla="*/ 4408 w 10000"/>
              <a:gd name="connsiteY22" fmla="*/ 8100 h 9502"/>
              <a:gd name="connsiteX23" fmla="*/ 3960 w 10000"/>
              <a:gd name="connsiteY23" fmla="*/ 8144 h 9502"/>
              <a:gd name="connsiteX24" fmla="*/ 3715 w 10000"/>
              <a:gd name="connsiteY24" fmla="*/ 8327 h 9502"/>
              <a:gd name="connsiteX25" fmla="*/ 3389 w 10000"/>
              <a:gd name="connsiteY25" fmla="*/ 8327 h 9502"/>
              <a:gd name="connsiteX26" fmla="*/ 3143 w 10000"/>
              <a:gd name="connsiteY26" fmla="*/ 8235 h 9502"/>
              <a:gd name="connsiteX27" fmla="*/ 2533 w 10000"/>
              <a:gd name="connsiteY27" fmla="*/ 8327 h 9502"/>
              <a:gd name="connsiteX28" fmla="*/ 2287 w 10000"/>
              <a:gd name="connsiteY28" fmla="*/ 9049 h 9502"/>
              <a:gd name="connsiteX29" fmla="*/ 2042 w 10000"/>
              <a:gd name="connsiteY29" fmla="*/ 9141 h 9502"/>
              <a:gd name="connsiteX30" fmla="*/ 0 w 10000"/>
              <a:gd name="connsiteY30" fmla="*/ 9502 h 9502"/>
              <a:gd name="connsiteX31" fmla="*/ 287 w 10000"/>
              <a:gd name="connsiteY31" fmla="*/ 8914 h 9502"/>
              <a:gd name="connsiteX32" fmla="*/ 775 w 10000"/>
              <a:gd name="connsiteY32" fmla="*/ 8551 h 9502"/>
              <a:gd name="connsiteX33" fmla="*/ 1268 w 10000"/>
              <a:gd name="connsiteY33" fmla="*/ 7602 h 9502"/>
              <a:gd name="connsiteX34" fmla="*/ 1307 w 10000"/>
              <a:gd name="connsiteY34" fmla="*/ 7602 h 9502"/>
              <a:gd name="connsiteX35" fmla="*/ 1674 w 10000"/>
              <a:gd name="connsiteY35" fmla="*/ 7238 h 9502"/>
              <a:gd name="connsiteX36" fmla="*/ 2328 w 10000"/>
              <a:gd name="connsiteY36" fmla="*/ 7148 h 9502"/>
              <a:gd name="connsiteX37" fmla="*/ 2940 w 10000"/>
              <a:gd name="connsiteY37" fmla="*/ 6514 h 9502"/>
              <a:gd name="connsiteX38" fmla="*/ 3308 w 10000"/>
              <a:gd name="connsiteY38" fmla="*/ 6244 h 9502"/>
              <a:gd name="connsiteX39" fmla="*/ 3919 w 10000"/>
              <a:gd name="connsiteY39" fmla="*/ 5474 h 9502"/>
              <a:gd name="connsiteX40" fmla="*/ 3756 w 10000"/>
              <a:gd name="connsiteY40" fmla="*/ 4299 h 9502"/>
              <a:gd name="connsiteX41" fmla="*/ 4042 w 10000"/>
              <a:gd name="connsiteY41" fmla="*/ 3484 h 9502"/>
              <a:gd name="connsiteX42" fmla="*/ 4163 w 10000"/>
              <a:gd name="connsiteY42" fmla="*/ 2986 h 9502"/>
              <a:gd name="connsiteX43" fmla="*/ 4654 w 10000"/>
              <a:gd name="connsiteY43" fmla="*/ 2352 h 9502"/>
              <a:gd name="connsiteX44" fmla="*/ 5349 w 10000"/>
              <a:gd name="connsiteY44" fmla="*/ 1947 h 9502"/>
              <a:gd name="connsiteX45" fmla="*/ 5879 w 10000"/>
              <a:gd name="connsiteY45" fmla="*/ 1537 h 9502"/>
              <a:gd name="connsiteX46" fmla="*/ 6368 w 10000"/>
              <a:gd name="connsiteY46" fmla="*/ 590 h 9502"/>
              <a:gd name="connsiteX47" fmla="*/ 6612 w 10000"/>
              <a:gd name="connsiteY47" fmla="*/ 0 h 9502"/>
              <a:gd name="connsiteX48" fmla="*/ 7143 w 10000"/>
              <a:gd name="connsiteY48" fmla="*/ 0 h 9502"/>
              <a:gd name="connsiteX0" fmla="*/ 6856 w 9713"/>
              <a:gd name="connsiteY0" fmla="*/ 0 h 9620"/>
              <a:gd name="connsiteX1" fmla="*/ 7263 w 9713"/>
              <a:gd name="connsiteY1" fmla="*/ 425 h 9620"/>
              <a:gd name="connsiteX2" fmla="*/ 7958 w 9713"/>
              <a:gd name="connsiteY2" fmla="*/ 334 h 9620"/>
              <a:gd name="connsiteX3" fmla="*/ 8652 w 9713"/>
              <a:gd name="connsiteY3" fmla="*/ 571 h 9620"/>
              <a:gd name="connsiteX4" fmla="*/ 8979 w 9713"/>
              <a:gd name="connsiteY4" fmla="*/ 571 h 9620"/>
              <a:gd name="connsiteX5" fmla="*/ 9225 w 9713"/>
              <a:gd name="connsiteY5" fmla="*/ 1191 h 9620"/>
              <a:gd name="connsiteX6" fmla="*/ 9264 w 9713"/>
              <a:gd name="connsiteY6" fmla="*/ 1807 h 9620"/>
              <a:gd name="connsiteX7" fmla="*/ 9508 w 9713"/>
              <a:gd name="connsiteY7" fmla="*/ 2856 h 9620"/>
              <a:gd name="connsiteX8" fmla="*/ 9713 w 9713"/>
              <a:gd name="connsiteY8" fmla="*/ 3047 h 9620"/>
              <a:gd name="connsiteX9" fmla="*/ 9590 w 9713"/>
              <a:gd name="connsiteY9" fmla="*/ 3430 h 9620"/>
              <a:gd name="connsiteX10" fmla="*/ 8652 w 9713"/>
              <a:gd name="connsiteY10" fmla="*/ 3620 h 9620"/>
              <a:gd name="connsiteX11" fmla="*/ 8324 w 9713"/>
              <a:gd name="connsiteY11" fmla="*/ 4000 h 9620"/>
              <a:gd name="connsiteX12" fmla="*/ 7876 w 9713"/>
              <a:gd name="connsiteY12" fmla="*/ 4047 h 9620"/>
              <a:gd name="connsiteX13" fmla="*/ 7876 w 9713"/>
              <a:gd name="connsiteY13" fmla="*/ 4810 h 9620"/>
              <a:gd name="connsiteX14" fmla="*/ 7020 w 9713"/>
              <a:gd name="connsiteY14" fmla="*/ 5192 h 9620"/>
              <a:gd name="connsiteX15" fmla="*/ 6732 w 9713"/>
              <a:gd name="connsiteY15" fmla="*/ 5666 h 9620"/>
              <a:gd name="connsiteX16" fmla="*/ 6163 w 9713"/>
              <a:gd name="connsiteY16" fmla="*/ 5953 h 9620"/>
              <a:gd name="connsiteX17" fmla="*/ 5427 w 9713"/>
              <a:gd name="connsiteY17" fmla="*/ 6096 h 9620"/>
              <a:gd name="connsiteX18" fmla="*/ 4245 w 9713"/>
              <a:gd name="connsiteY18" fmla="*/ 6809 h 9620"/>
              <a:gd name="connsiteX19" fmla="*/ 4245 w 9713"/>
              <a:gd name="connsiteY19" fmla="*/ 8000 h 9620"/>
              <a:gd name="connsiteX20" fmla="*/ 4121 w 9713"/>
              <a:gd name="connsiteY20" fmla="*/ 8000 h 9620"/>
              <a:gd name="connsiteX21" fmla="*/ 4121 w 9713"/>
              <a:gd name="connsiteY21" fmla="*/ 8000 h 9620"/>
              <a:gd name="connsiteX22" fmla="*/ 4121 w 9713"/>
              <a:gd name="connsiteY22" fmla="*/ 8525 h 9620"/>
              <a:gd name="connsiteX23" fmla="*/ 3673 w 9713"/>
              <a:gd name="connsiteY23" fmla="*/ 8571 h 9620"/>
              <a:gd name="connsiteX24" fmla="*/ 3428 w 9713"/>
              <a:gd name="connsiteY24" fmla="*/ 8763 h 9620"/>
              <a:gd name="connsiteX25" fmla="*/ 3102 w 9713"/>
              <a:gd name="connsiteY25" fmla="*/ 8763 h 9620"/>
              <a:gd name="connsiteX26" fmla="*/ 2856 w 9713"/>
              <a:gd name="connsiteY26" fmla="*/ 8667 h 9620"/>
              <a:gd name="connsiteX27" fmla="*/ 2246 w 9713"/>
              <a:gd name="connsiteY27" fmla="*/ 8763 h 9620"/>
              <a:gd name="connsiteX28" fmla="*/ 2000 w 9713"/>
              <a:gd name="connsiteY28" fmla="*/ 9523 h 9620"/>
              <a:gd name="connsiteX29" fmla="*/ 1755 w 9713"/>
              <a:gd name="connsiteY29" fmla="*/ 9620 h 9620"/>
              <a:gd name="connsiteX30" fmla="*/ 0 w 9713"/>
              <a:gd name="connsiteY30" fmla="*/ 9381 h 9620"/>
              <a:gd name="connsiteX31" fmla="*/ 488 w 9713"/>
              <a:gd name="connsiteY31" fmla="*/ 8999 h 9620"/>
              <a:gd name="connsiteX32" fmla="*/ 981 w 9713"/>
              <a:gd name="connsiteY32" fmla="*/ 8000 h 9620"/>
              <a:gd name="connsiteX33" fmla="*/ 1020 w 9713"/>
              <a:gd name="connsiteY33" fmla="*/ 8000 h 9620"/>
              <a:gd name="connsiteX34" fmla="*/ 1387 w 9713"/>
              <a:gd name="connsiteY34" fmla="*/ 7617 h 9620"/>
              <a:gd name="connsiteX35" fmla="*/ 2041 w 9713"/>
              <a:gd name="connsiteY35" fmla="*/ 7523 h 9620"/>
              <a:gd name="connsiteX36" fmla="*/ 2653 w 9713"/>
              <a:gd name="connsiteY36" fmla="*/ 6855 h 9620"/>
              <a:gd name="connsiteX37" fmla="*/ 3021 w 9713"/>
              <a:gd name="connsiteY37" fmla="*/ 6571 h 9620"/>
              <a:gd name="connsiteX38" fmla="*/ 3632 w 9713"/>
              <a:gd name="connsiteY38" fmla="*/ 5761 h 9620"/>
              <a:gd name="connsiteX39" fmla="*/ 3469 w 9713"/>
              <a:gd name="connsiteY39" fmla="*/ 4524 h 9620"/>
              <a:gd name="connsiteX40" fmla="*/ 3755 w 9713"/>
              <a:gd name="connsiteY40" fmla="*/ 3667 h 9620"/>
              <a:gd name="connsiteX41" fmla="*/ 3876 w 9713"/>
              <a:gd name="connsiteY41" fmla="*/ 3142 h 9620"/>
              <a:gd name="connsiteX42" fmla="*/ 4367 w 9713"/>
              <a:gd name="connsiteY42" fmla="*/ 2475 h 9620"/>
              <a:gd name="connsiteX43" fmla="*/ 5062 w 9713"/>
              <a:gd name="connsiteY43" fmla="*/ 2049 h 9620"/>
              <a:gd name="connsiteX44" fmla="*/ 5592 w 9713"/>
              <a:gd name="connsiteY44" fmla="*/ 1618 h 9620"/>
              <a:gd name="connsiteX45" fmla="*/ 6081 w 9713"/>
              <a:gd name="connsiteY45" fmla="*/ 621 h 9620"/>
              <a:gd name="connsiteX46" fmla="*/ 6325 w 9713"/>
              <a:gd name="connsiteY46" fmla="*/ 0 h 9620"/>
              <a:gd name="connsiteX47" fmla="*/ 6856 w 9713"/>
              <a:gd name="connsiteY47" fmla="*/ 0 h 9620"/>
              <a:gd name="connsiteX0" fmla="*/ 6557 w 9498"/>
              <a:gd name="connsiteY0" fmla="*/ 0 h 10000"/>
              <a:gd name="connsiteX1" fmla="*/ 6976 w 9498"/>
              <a:gd name="connsiteY1" fmla="*/ 442 h 10000"/>
              <a:gd name="connsiteX2" fmla="*/ 7691 w 9498"/>
              <a:gd name="connsiteY2" fmla="*/ 347 h 10000"/>
              <a:gd name="connsiteX3" fmla="*/ 8406 w 9498"/>
              <a:gd name="connsiteY3" fmla="*/ 594 h 10000"/>
              <a:gd name="connsiteX4" fmla="*/ 8742 w 9498"/>
              <a:gd name="connsiteY4" fmla="*/ 594 h 10000"/>
              <a:gd name="connsiteX5" fmla="*/ 8996 w 9498"/>
              <a:gd name="connsiteY5" fmla="*/ 1238 h 10000"/>
              <a:gd name="connsiteX6" fmla="*/ 9036 w 9498"/>
              <a:gd name="connsiteY6" fmla="*/ 1878 h 10000"/>
              <a:gd name="connsiteX7" fmla="*/ 9287 w 9498"/>
              <a:gd name="connsiteY7" fmla="*/ 2969 h 10000"/>
              <a:gd name="connsiteX8" fmla="*/ 9498 w 9498"/>
              <a:gd name="connsiteY8" fmla="*/ 3167 h 10000"/>
              <a:gd name="connsiteX9" fmla="*/ 9371 w 9498"/>
              <a:gd name="connsiteY9" fmla="*/ 3565 h 10000"/>
              <a:gd name="connsiteX10" fmla="*/ 8406 w 9498"/>
              <a:gd name="connsiteY10" fmla="*/ 3763 h 10000"/>
              <a:gd name="connsiteX11" fmla="*/ 8068 w 9498"/>
              <a:gd name="connsiteY11" fmla="*/ 4158 h 10000"/>
              <a:gd name="connsiteX12" fmla="*/ 7607 w 9498"/>
              <a:gd name="connsiteY12" fmla="*/ 4207 h 10000"/>
              <a:gd name="connsiteX13" fmla="*/ 7607 w 9498"/>
              <a:gd name="connsiteY13" fmla="*/ 5000 h 10000"/>
              <a:gd name="connsiteX14" fmla="*/ 6725 w 9498"/>
              <a:gd name="connsiteY14" fmla="*/ 5397 h 10000"/>
              <a:gd name="connsiteX15" fmla="*/ 6429 w 9498"/>
              <a:gd name="connsiteY15" fmla="*/ 5890 h 10000"/>
              <a:gd name="connsiteX16" fmla="*/ 5843 w 9498"/>
              <a:gd name="connsiteY16" fmla="*/ 6188 h 10000"/>
              <a:gd name="connsiteX17" fmla="*/ 5085 w 9498"/>
              <a:gd name="connsiteY17" fmla="*/ 6337 h 10000"/>
              <a:gd name="connsiteX18" fmla="*/ 3868 w 9498"/>
              <a:gd name="connsiteY18" fmla="*/ 7078 h 10000"/>
              <a:gd name="connsiteX19" fmla="*/ 3868 w 9498"/>
              <a:gd name="connsiteY19" fmla="*/ 8316 h 10000"/>
              <a:gd name="connsiteX20" fmla="*/ 3741 w 9498"/>
              <a:gd name="connsiteY20" fmla="*/ 8316 h 10000"/>
              <a:gd name="connsiteX21" fmla="*/ 3741 w 9498"/>
              <a:gd name="connsiteY21" fmla="*/ 8316 h 10000"/>
              <a:gd name="connsiteX22" fmla="*/ 3741 w 9498"/>
              <a:gd name="connsiteY22" fmla="*/ 8862 h 10000"/>
              <a:gd name="connsiteX23" fmla="*/ 3280 w 9498"/>
              <a:gd name="connsiteY23" fmla="*/ 8910 h 10000"/>
              <a:gd name="connsiteX24" fmla="*/ 3027 w 9498"/>
              <a:gd name="connsiteY24" fmla="*/ 9109 h 10000"/>
              <a:gd name="connsiteX25" fmla="*/ 2692 w 9498"/>
              <a:gd name="connsiteY25" fmla="*/ 9109 h 10000"/>
              <a:gd name="connsiteX26" fmla="*/ 2438 w 9498"/>
              <a:gd name="connsiteY26" fmla="*/ 9009 h 10000"/>
              <a:gd name="connsiteX27" fmla="*/ 1810 w 9498"/>
              <a:gd name="connsiteY27" fmla="*/ 9109 h 10000"/>
              <a:gd name="connsiteX28" fmla="*/ 1557 w 9498"/>
              <a:gd name="connsiteY28" fmla="*/ 9899 h 10000"/>
              <a:gd name="connsiteX29" fmla="*/ 1305 w 9498"/>
              <a:gd name="connsiteY29" fmla="*/ 10000 h 10000"/>
              <a:gd name="connsiteX30" fmla="*/ 0 w 9498"/>
              <a:gd name="connsiteY30" fmla="*/ 9354 h 10000"/>
              <a:gd name="connsiteX31" fmla="*/ 508 w 9498"/>
              <a:gd name="connsiteY31" fmla="*/ 8316 h 10000"/>
              <a:gd name="connsiteX32" fmla="*/ 548 w 9498"/>
              <a:gd name="connsiteY32" fmla="*/ 8316 h 10000"/>
              <a:gd name="connsiteX33" fmla="*/ 926 w 9498"/>
              <a:gd name="connsiteY33" fmla="*/ 7918 h 10000"/>
              <a:gd name="connsiteX34" fmla="*/ 1599 w 9498"/>
              <a:gd name="connsiteY34" fmla="*/ 7820 h 10000"/>
              <a:gd name="connsiteX35" fmla="*/ 2229 w 9498"/>
              <a:gd name="connsiteY35" fmla="*/ 7126 h 10000"/>
              <a:gd name="connsiteX36" fmla="*/ 2608 w 9498"/>
              <a:gd name="connsiteY36" fmla="*/ 6831 h 10000"/>
              <a:gd name="connsiteX37" fmla="*/ 3237 w 9498"/>
              <a:gd name="connsiteY37" fmla="*/ 5989 h 10000"/>
              <a:gd name="connsiteX38" fmla="*/ 3070 w 9498"/>
              <a:gd name="connsiteY38" fmla="*/ 4703 h 10000"/>
              <a:gd name="connsiteX39" fmla="*/ 3364 w 9498"/>
              <a:gd name="connsiteY39" fmla="*/ 3812 h 10000"/>
              <a:gd name="connsiteX40" fmla="*/ 3489 w 9498"/>
              <a:gd name="connsiteY40" fmla="*/ 3266 h 10000"/>
              <a:gd name="connsiteX41" fmla="*/ 3994 w 9498"/>
              <a:gd name="connsiteY41" fmla="*/ 2573 h 10000"/>
              <a:gd name="connsiteX42" fmla="*/ 4710 w 9498"/>
              <a:gd name="connsiteY42" fmla="*/ 2130 h 10000"/>
              <a:gd name="connsiteX43" fmla="*/ 5255 w 9498"/>
              <a:gd name="connsiteY43" fmla="*/ 1682 h 10000"/>
              <a:gd name="connsiteX44" fmla="*/ 5759 w 9498"/>
              <a:gd name="connsiteY44" fmla="*/ 646 h 10000"/>
              <a:gd name="connsiteX45" fmla="*/ 6010 w 9498"/>
              <a:gd name="connsiteY45" fmla="*/ 0 h 10000"/>
              <a:gd name="connsiteX46" fmla="*/ 6557 w 9498"/>
              <a:gd name="connsiteY46" fmla="*/ 0 h 10000"/>
              <a:gd name="connsiteX0" fmla="*/ 6904 w 10000"/>
              <a:gd name="connsiteY0" fmla="*/ 0 h 9899"/>
              <a:gd name="connsiteX1" fmla="*/ 7345 w 10000"/>
              <a:gd name="connsiteY1" fmla="*/ 442 h 9899"/>
              <a:gd name="connsiteX2" fmla="*/ 8097 w 10000"/>
              <a:gd name="connsiteY2" fmla="*/ 347 h 9899"/>
              <a:gd name="connsiteX3" fmla="*/ 8850 w 10000"/>
              <a:gd name="connsiteY3" fmla="*/ 594 h 9899"/>
              <a:gd name="connsiteX4" fmla="*/ 9204 w 10000"/>
              <a:gd name="connsiteY4" fmla="*/ 594 h 9899"/>
              <a:gd name="connsiteX5" fmla="*/ 9471 w 10000"/>
              <a:gd name="connsiteY5" fmla="*/ 1238 h 9899"/>
              <a:gd name="connsiteX6" fmla="*/ 9514 w 10000"/>
              <a:gd name="connsiteY6" fmla="*/ 1878 h 9899"/>
              <a:gd name="connsiteX7" fmla="*/ 9778 w 10000"/>
              <a:gd name="connsiteY7" fmla="*/ 2969 h 9899"/>
              <a:gd name="connsiteX8" fmla="*/ 10000 w 10000"/>
              <a:gd name="connsiteY8" fmla="*/ 3167 h 9899"/>
              <a:gd name="connsiteX9" fmla="*/ 9866 w 10000"/>
              <a:gd name="connsiteY9" fmla="*/ 3565 h 9899"/>
              <a:gd name="connsiteX10" fmla="*/ 8850 w 10000"/>
              <a:gd name="connsiteY10" fmla="*/ 3763 h 9899"/>
              <a:gd name="connsiteX11" fmla="*/ 8494 w 10000"/>
              <a:gd name="connsiteY11" fmla="*/ 4158 h 9899"/>
              <a:gd name="connsiteX12" fmla="*/ 8009 w 10000"/>
              <a:gd name="connsiteY12" fmla="*/ 4207 h 9899"/>
              <a:gd name="connsiteX13" fmla="*/ 8009 w 10000"/>
              <a:gd name="connsiteY13" fmla="*/ 5000 h 9899"/>
              <a:gd name="connsiteX14" fmla="*/ 7080 w 10000"/>
              <a:gd name="connsiteY14" fmla="*/ 5397 h 9899"/>
              <a:gd name="connsiteX15" fmla="*/ 6769 w 10000"/>
              <a:gd name="connsiteY15" fmla="*/ 5890 h 9899"/>
              <a:gd name="connsiteX16" fmla="*/ 6152 w 10000"/>
              <a:gd name="connsiteY16" fmla="*/ 6188 h 9899"/>
              <a:gd name="connsiteX17" fmla="*/ 5354 w 10000"/>
              <a:gd name="connsiteY17" fmla="*/ 6337 h 9899"/>
              <a:gd name="connsiteX18" fmla="*/ 4072 w 10000"/>
              <a:gd name="connsiteY18" fmla="*/ 7078 h 9899"/>
              <a:gd name="connsiteX19" fmla="*/ 4072 w 10000"/>
              <a:gd name="connsiteY19" fmla="*/ 8316 h 9899"/>
              <a:gd name="connsiteX20" fmla="*/ 3939 w 10000"/>
              <a:gd name="connsiteY20" fmla="*/ 8316 h 9899"/>
              <a:gd name="connsiteX21" fmla="*/ 3939 w 10000"/>
              <a:gd name="connsiteY21" fmla="*/ 8316 h 9899"/>
              <a:gd name="connsiteX22" fmla="*/ 3939 w 10000"/>
              <a:gd name="connsiteY22" fmla="*/ 8862 h 9899"/>
              <a:gd name="connsiteX23" fmla="*/ 3453 w 10000"/>
              <a:gd name="connsiteY23" fmla="*/ 8910 h 9899"/>
              <a:gd name="connsiteX24" fmla="*/ 3187 w 10000"/>
              <a:gd name="connsiteY24" fmla="*/ 9109 h 9899"/>
              <a:gd name="connsiteX25" fmla="*/ 2834 w 10000"/>
              <a:gd name="connsiteY25" fmla="*/ 9109 h 9899"/>
              <a:gd name="connsiteX26" fmla="*/ 2567 w 10000"/>
              <a:gd name="connsiteY26" fmla="*/ 9009 h 9899"/>
              <a:gd name="connsiteX27" fmla="*/ 1906 w 10000"/>
              <a:gd name="connsiteY27" fmla="*/ 9109 h 9899"/>
              <a:gd name="connsiteX28" fmla="*/ 1639 w 10000"/>
              <a:gd name="connsiteY28" fmla="*/ 9899 h 9899"/>
              <a:gd name="connsiteX29" fmla="*/ 0 w 10000"/>
              <a:gd name="connsiteY29" fmla="*/ 9354 h 9899"/>
              <a:gd name="connsiteX30" fmla="*/ 535 w 10000"/>
              <a:gd name="connsiteY30" fmla="*/ 8316 h 9899"/>
              <a:gd name="connsiteX31" fmla="*/ 577 w 10000"/>
              <a:gd name="connsiteY31" fmla="*/ 8316 h 9899"/>
              <a:gd name="connsiteX32" fmla="*/ 975 w 10000"/>
              <a:gd name="connsiteY32" fmla="*/ 7918 h 9899"/>
              <a:gd name="connsiteX33" fmla="*/ 1684 w 10000"/>
              <a:gd name="connsiteY33" fmla="*/ 7820 h 9899"/>
              <a:gd name="connsiteX34" fmla="*/ 2347 w 10000"/>
              <a:gd name="connsiteY34" fmla="*/ 7126 h 9899"/>
              <a:gd name="connsiteX35" fmla="*/ 2746 w 10000"/>
              <a:gd name="connsiteY35" fmla="*/ 6831 h 9899"/>
              <a:gd name="connsiteX36" fmla="*/ 3408 w 10000"/>
              <a:gd name="connsiteY36" fmla="*/ 5989 h 9899"/>
              <a:gd name="connsiteX37" fmla="*/ 3232 w 10000"/>
              <a:gd name="connsiteY37" fmla="*/ 4703 h 9899"/>
              <a:gd name="connsiteX38" fmla="*/ 3542 w 10000"/>
              <a:gd name="connsiteY38" fmla="*/ 3812 h 9899"/>
              <a:gd name="connsiteX39" fmla="*/ 3673 w 10000"/>
              <a:gd name="connsiteY39" fmla="*/ 3266 h 9899"/>
              <a:gd name="connsiteX40" fmla="*/ 4205 w 10000"/>
              <a:gd name="connsiteY40" fmla="*/ 2573 h 9899"/>
              <a:gd name="connsiteX41" fmla="*/ 4959 w 10000"/>
              <a:gd name="connsiteY41" fmla="*/ 2130 h 9899"/>
              <a:gd name="connsiteX42" fmla="*/ 5533 w 10000"/>
              <a:gd name="connsiteY42" fmla="*/ 1682 h 9899"/>
              <a:gd name="connsiteX43" fmla="*/ 6063 w 10000"/>
              <a:gd name="connsiteY43" fmla="*/ 646 h 9899"/>
              <a:gd name="connsiteX44" fmla="*/ 6328 w 10000"/>
              <a:gd name="connsiteY44" fmla="*/ 0 h 9899"/>
              <a:gd name="connsiteX45" fmla="*/ 6904 w 10000"/>
              <a:gd name="connsiteY45" fmla="*/ 0 h 9899"/>
              <a:gd name="connsiteX0" fmla="*/ 6904 w 10000"/>
              <a:gd name="connsiteY0" fmla="*/ 0 h 9449"/>
              <a:gd name="connsiteX1" fmla="*/ 7345 w 10000"/>
              <a:gd name="connsiteY1" fmla="*/ 447 h 9449"/>
              <a:gd name="connsiteX2" fmla="*/ 8097 w 10000"/>
              <a:gd name="connsiteY2" fmla="*/ 351 h 9449"/>
              <a:gd name="connsiteX3" fmla="*/ 8850 w 10000"/>
              <a:gd name="connsiteY3" fmla="*/ 600 h 9449"/>
              <a:gd name="connsiteX4" fmla="*/ 9204 w 10000"/>
              <a:gd name="connsiteY4" fmla="*/ 600 h 9449"/>
              <a:gd name="connsiteX5" fmla="*/ 9471 w 10000"/>
              <a:gd name="connsiteY5" fmla="*/ 1251 h 9449"/>
              <a:gd name="connsiteX6" fmla="*/ 9514 w 10000"/>
              <a:gd name="connsiteY6" fmla="*/ 1897 h 9449"/>
              <a:gd name="connsiteX7" fmla="*/ 9778 w 10000"/>
              <a:gd name="connsiteY7" fmla="*/ 2999 h 9449"/>
              <a:gd name="connsiteX8" fmla="*/ 10000 w 10000"/>
              <a:gd name="connsiteY8" fmla="*/ 3199 h 9449"/>
              <a:gd name="connsiteX9" fmla="*/ 9866 w 10000"/>
              <a:gd name="connsiteY9" fmla="*/ 3601 h 9449"/>
              <a:gd name="connsiteX10" fmla="*/ 8850 w 10000"/>
              <a:gd name="connsiteY10" fmla="*/ 3801 h 9449"/>
              <a:gd name="connsiteX11" fmla="*/ 8494 w 10000"/>
              <a:gd name="connsiteY11" fmla="*/ 4200 h 9449"/>
              <a:gd name="connsiteX12" fmla="*/ 8009 w 10000"/>
              <a:gd name="connsiteY12" fmla="*/ 4250 h 9449"/>
              <a:gd name="connsiteX13" fmla="*/ 8009 w 10000"/>
              <a:gd name="connsiteY13" fmla="*/ 5051 h 9449"/>
              <a:gd name="connsiteX14" fmla="*/ 7080 w 10000"/>
              <a:gd name="connsiteY14" fmla="*/ 5452 h 9449"/>
              <a:gd name="connsiteX15" fmla="*/ 6769 w 10000"/>
              <a:gd name="connsiteY15" fmla="*/ 5950 h 9449"/>
              <a:gd name="connsiteX16" fmla="*/ 6152 w 10000"/>
              <a:gd name="connsiteY16" fmla="*/ 6251 h 9449"/>
              <a:gd name="connsiteX17" fmla="*/ 5354 w 10000"/>
              <a:gd name="connsiteY17" fmla="*/ 6402 h 9449"/>
              <a:gd name="connsiteX18" fmla="*/ 4072 w 10000"/>
              <a:gd name="connsiteY18" fmla="*/ 7150 h 9449"/>
              <a:gd name="connsiteX19" fmla="*/ 4072 w 10000"/>
              <a:gd name="connsiteY19" fmla="*/ 8401 h 9449"/>
              <a:gd name="connsiteX20" fmla="*/ 3939 w 10000"/>
              <a:gd name="connsiteY20" fmla="*/ 8401 h 9449"/>
              <a:gd name="connsiteX21" fmla="*/ 3939 w 10000"/>
              <a:gd name="connsiteY21" fmla="*/ 8401 h 9449"/>
              <a:gd name="connsiteX22" fmla="*/ 3939 w 10000"/>
              <a:gd name="connsiteY22" fmla="*/ 8952 h 9449"/>
              <a:gd name="connsiteX23" fmla="*/ 3453 w 10000"/>
              <a:gd name="connsiteY23" fmla="*/ 9001 h 9449"/>
              <a:gd name="connsiteX24" fmla="*/ 3187 w 10000"/>
              <a:gd name="connsiteY24" fmla="*/ 9202 h 9449"/>
              <a:gd name="connsiteX25" fmla="*/ 2834 w 10000"/>
              <a:gd name="connsiteY25" fmla="*/ 9202 h 9449"/>
              <a:gd name="connsiteX26" fmla="*/ 2567 w 10000"/>
              <a:gd name="connsiteY26" fmla="*/ 9101 h 9449"/>
              <a:gd name="connsiteX27" fmla="*/ 1906 w 10000"/>
              <a:gd name="connsiteY27" fmla="*/ 9202 h 9449"/>
              <a:gd name="connsiteX28" fmla="*/ 0 w 10000"/>
              <a:gd name="connsiteY28" fmla="*/ 9449 h 9449"/>
              <a:gd name="connsiteX29" fmla="*/ 535 w 10000"/>
              <a:gd name="connsiteY29" fmla="*/ 8401 h 9449"/>
              <a:gd name="connsiteX30" fmla="*/ 577 w 10000"/>
              <a:gd name="connsiteY30" fmla="*/ 8401 h 9449"/>
              <a:gd name="connsiteX31" fmla="*/ 975 w 10000"/>
              <a:gd name="connsiteY31" fmla="*/ 7999 h 9449"/>
              <a:gd name="connsiteX32" fmla="*/ 1684 w 10000"/>
              <a:gd name="connsiteY32" fmla="*/ 7900 h 9449"/>
              <a:gd name="connsiteX33" fmla="*/ 2347 w 10000"/>
              <a:gd name="connsiteY33" fmla="*/ 7199 h 9449"/>
              <a:gd name="connsiteX34" fmla="*/ 2746 w 10000"/>
              <a:gd name="connsiteY34" fmla="*/ 6901 h 9449"/>
              <a:gd name="connsiteX35" fmla="*/ 3408 w 10000"/>
              <a:gd name="connsiteY35" fmla="*/ 6050 h 9449"/>
              <a:gd name="connsiteX36" fmla="*/ 3232 w 10000"/>
              <a:gd name="connsiteY36" fmla="*/ 4751 h 9449"/>
              <a:gd name="connsiteX37" fmla="*/ 3542 w 10000"/>
              <a:gd name="connsiteY37" fmla="*/ 3851 h 9449"/>
              <a:gd name="connsiteX38" fmla="*/ 3673 w 10000"/>
              <a:gd name="connsiteY38" fmla="*/ 3299 h 9449"/>
              <a:gd name="connsiteX39" fmla="*/ 4205 w 10000"/>
              <a:gd name="connsiteY39" fmla="*/ 2599 h 9449"/>
              <a:gd name="connsiteX40" fmla="*/ 4959 w 10000"/>
              <a:gd name="connsiteY40" fmla="*/ 2152 h 9449"/>
              <a:gd name="connsiteX41" fmla="*/ 5533 w 10000"/>
              <a:gd name="connsiteY41" fmla="*/ 1699 h 9449"/>
              <a:gd name="connsiteX42" fmla="*/ 6063 w 10000"/>
              <a:gd name="connsiteY42" fmla="*/ 653 h 9449"/>
              <a:gd name="connsiteX43" fmla="*/ 6328 w 10000"/>
              <a:gd name="connsiteY43" fmla="*/ 0 h 9449"/>
              <a:gd name="connsiteX44" fmla="*/ 6904 w 10000"/>
              <a:gd name="connsiteY44" fmla="*/ 0 h 9449"/>
              <a:gd name="connsiteX0" fmla="*/ 6369 w 9465"/>
              <a:gd name="connsiteY0" fmla="*/ 0 h 9739"/>
              <a:gd name="connsiteX1" fmla="*/ 6810 w 9465"/>
              <a:gd name="connsiteY1" fmla="*/ 473 h 9739"/>
              <a:gd name="connsiteX2" fmla="*/ 7562 w 9465"/>
              <a:gd name="connsiteY2" fmla="*/ 371 h 9739"/>
              <a:gd name="connsiteX3" fmla="*/ 8315 w 9465"/>
              <a:gd name="connsiteY3" fmla="*/ 635 h 9739"/>
              <a:gd name="connsiteX4" fmla="*/ 8669 w 9465"/>
              <a:gd name="connsiteY4" fmla="*/ 635 h 9739"/>
              <a:gd name="connsiteX5" fmla="*/ 8936 w 9465"/>
              <a:gd name="connsiteY5" fmla="*/ 1324 h 9739"/>
              <a:gd name="connsiteX6" fmla="*/ 8979 w 9465"/>
              <a:gd name="connsiteY6" fmla="*/ 2008 h 9739"/>
              <a:gd name="connsiteX7" fmla="*/ 9243 w 9465"/>
              <a:gd name="connsiteY7" fmla="*/ 3174 h 9739"/>
              <a:gd name="connsiteX8" fmla="*/ 9465 w 9465"/>
              <a:gd name="connsiteY8" fmla="*/ 3386 h 9739"/>
              <a:gd name="connsiteX9" fmla="*/ 9331 w 9465"/>
              <a:gd name="connsiteY9" fmla="*/ 3811 h 9739"/>
              <a:gd name="connsiteX10" fmla="*/ 8315 w 9465"/>
              <a:gd name="connsiteY10" fmla="*/ 4023 h 9739"/>
              <a:gd name="connsiteX11" fmla="*/ 7959 w 9465"/>
              <a:gd name="connsiteY11" fmla="*/ 4445 h 9739"/>
              <a:gd name="connsiteX12" fmla="*/ 7474 w 9465"/>
              <a:gd name="connsiteY12" fmla="*/ 4498 h 9739"/>
              <a:gd name="connsiteX13" fmla="*/ 7474 w 9465"/>
              <a:gd name="connsiteY13" fmla="*/ 5346 h 9739"/>
              <a:gd name="connsiteX14" fmla="*/ 6545 w 9465"/>
              <a:gd name="connsiteY14" fmla="*/ 5770 h 9739"/>
              <a:gd name="connsiteX15" fmla="*/ 6234 w 9465"/>
              <a:gd name="connsiteY15" fmla="*/ 6297 h 9739"/>
              <a:gd name="connsiteX16" fmla="*/ 5617 w 9465"/>
              <a:gd name="connsiteY16" fmla="*/ 6616 h 9739"/>
              <a:gd name="connsiteX17" fmla="*/ 4819 w 9465"/>
              <a:gd name="connsiteY17" fmla="*/ 6775 h 9739"/>
              <a:gd name="connsiteX18" fmla="*/ 3537 w 9465"/>
              <a:gd name="connsiteY18" fmla="*/ 7567 h 9739"/>
              <a:gd name="connsiteX19" fmla="*/ 3537 w 9465"/>
              <a:gd name="connsiteY19" fmla="*/ 8891 h 9739"/>
              <a:gd name="connsiteX20" fmla="*/ 3404 w 9465"/>
              <a:gd name="connsiteY20" fmla="*/ 8891 h 9739"/>
              <a:gd name="connsiteX21" fmla="*/ 3404 w 9465"/>
              <a:gd name="connsiteY21" fmla="*/ 8891 h 9739"/>
              <a:gd name="connsiteX22" fmla="*/ 3404 w 9465"/>
              <a:gd name="connsiteY22" fmla="*/ 9474 h 9739"/>
              <a:gd name="connsiteX23" fmla="*/ 2918 w 9465"/>
              <a:gd name="connsiteY23" fmla="*/ 9526 h 9739"/>
              <a:gd name="connsiteX24" fmla="*/ 2652 w 9465"/>
              <a:gd name="connsiteY24" fmla="*/ 9739 h 9739"/>
              <a:gd name="connsiteX25" fmla="*/ 2299 w 9465"/>
              <a:gd name="connsiteY25" fmla="*/ 9739 h 9739"/>
              <a:gd name="connsiteX26" fmla="*/ 2032 w 9465"/>
              <a:gd name="connsiteY26" fmla="*/ 9632 h 9739"/>
              <a:gd name="connsiteX27" fmla="*/ 1371 w 9465"/>
              <a:gd name="connsiteY27" fmla="*/ 9739 h 9739"/>
              <a:gd name="connsiteX28" fmla="*/ 0 w 9465"/>
              <a:gd name="connsiteY28" fmla="*/ 8891 h 9739"/>
              <a:gd name="connsiteX29" fmla="*/ 42 w 9465"/>
              <a:gd name="connsiteY29" fmla="*/ 8891 h 9739"/>
              <a:gd name="connsiteX30" fmla="*/ 440 w 9465"/>
              <a:gd name="connsiteY30" fmla="*/ 8465 h 9739"/>
              <a:gd name="connsiteX31" fmla="*/ 1149 w 9465"/>
              <a:gd name="connsiteY31" fmla="*/ 8361 h 9739"/>
              <a:gd name="connsiteX32" fmla="*/ 1812 w 9465"/>
              <a:gd name="connsiteY32" fmla="*/ 7619 h 9739"/>
              <a:gd name="connsiteX33" fmla="*/ 2211 w 9465"/>
              <a:gd name="connsiteY33" fmla="*/ 7303 h 9739"/>
              <a:gd name="connsiteX34" fmla="*/ 2873 w 9465"/>
              <a:gd name="connsiteY34" fmla="*/ 6403 h 9739"/>
              <a:gd name="connsiteX35" fmla="*/ 2697 w 9465"/>
              <a:gd name="connsiteY35" fmla="*/ 5028 h 9739"/>
              <a:gd name="connsiteX36" fmla="*/ 3007 w 9465"/>
              <a:gd name="connsiteY36" fmla="*/ 4076 h 9739"/>
              <a:gd name="connsiteX37" fmla="*/ 3138 w 9465"/>
              <a:gd name="connsiteY37" fmla="*/ 3491 h 9739"/>
              <a:gd name="connsiteX38" fmla="*/ 3670 w 9465"/>
              <a:gd name="connsiteY38" fmla="*/ 2751 h 9739"/>
              <a:gd name="connsiteX39" fmla="*/ 4424 w 9465"/>
              <a:gd name="connsiteY39" fmla="*/ 2277 h 9739"/>
              <a:gd name="connsiteX40" fmla="*/ 4998 w 9465"/>
              <a:gd name="connsiteY40" fmla="*/ 1798 h 9739"/>
              <a:gd name="connsiteX41" fmla="*/ 5528 w 9465"/>
              <a:gd name="connsiteY41" fmla="*/ 691 h 9739"/>
              <a:gd name="connsiteX42" fmla="*/ 5793 w 9465"/>
              <a:gd name="connsiteY42" fmla="*/ 0 h 9739"/>
              <a:gd name="connsiteX43" fmla="*/ 6369 w 9465"/>
              <a:gd name="connsiteY43" fmla="*/ 0 h 9739"/>
              <a:gd name="connsiteX0" fmla="*/ 6729 w 10000"/>
              <a:gd name="connsiteY0" fmla="*/ 0 h 10000"/>
              <a:gd name="connsiteX1" fmla="*/ 7195 w 10000"/>
              <a:gd name="connsiteY1" fmla="*/ 486 h 10000"/>
              <a:gd name="connsiteX2" fmla="*/ 7989 w 10000"/>
              <a:gd name="connsiteY2" fmla="*/ 381 h 10000"/>
              <a:gd name="connsiteX3" fmla="*/ 8785 w 10000"/>
              <a:gd name="connsiteY3" fmla="*/ 652 h 10000"/>
              <a:gd name="connsiteX4" fmla="*/ 9159 w 10000"/>
              <a:gd name="connsiteY4" fmla="*/ 652 h 10000"/>
              <a:gd name="connsiteX5" fmla="*/ 9441 w 10000"/>
              <a:gd name="connsiteY5" fmla="*/ 1359 h 10000"/>
              <a:gd name="connsiteX6" fmla="*/ 9487 w 10000"/>
              <a:gd name="connsiteY6" fmla="*/ 2062 h 10000"/>
              <a:gd name="connsiteX7" fmla="*/ 9765 w 10000"/>
              <a:gd name="connsiteY7" fmla="*/ 3259 h 10000"/>
              <a:gd name="connsiteX8" fmla="*/ 10000 w 10000"/>
              <a:gd name="connsiteY8" fmla="*/ 3477 h 10000"/>
              <a:gd name="connsiteX9" fmla="*/ 9858 w 10000"/>
              <a:gd name="connsiteY9" fmla="*/ 3913 h 10000"/>
              <a:gd name="connsiteX10" fmla="*/ 8785 w 10000"/>
              <a:gd name="connsiteY10" fmla="*/ 4131 h 10000"/>
              <a:gd name="connsiteX11" fmla="*/ 8409 w 10000"/>
              <a:gd name="connsiteY11" fmla="*/ 4564 h 10000"/>
              <a:gd name="connsiteX12" fmla="*/ 7896 w 10000"/>
              <a:gd name="connsiteY12" fmla="*/ 4619 h 10000"/>
              <a:gd name="connsiteX13" fmla="*/ 7896 w 10000"/>
              <a:gd name="connsiteY13" fmla="*/ 5489 h 10000"/>
              <a:gd name="connsiteX14" fmla="*/ 6915 w 10000"/>
              <a:gd name="connsiteY14" fmla="*/ 5925 h 10000"/>
              <a:gd name="connsiteX15" fmla="*/ 6586 w 10000"/>
              <a:gd name="connsiteY15" fmla="*/ 6466 h 10000"/>
              <a:gd name="connsiteX16" fmla="*/ 5934 w 10000"/>
              <a:gd name="connsiteY16" fmla="*/ 6793 h 10000"/>
              <a:gd name="connsiteX17" fmla="*/ 5091 w 10000"/>
              <a:gd name="connsiteY17" fmla="*/ 6957 h 10000"/>
              <a:gd name="connsiteX18" fmla="*/ 3737 w 10000"/>
              <a:gd name="connsiteY18" fmla="*/ 7770 h 10000"/>
              <a:gd name="connsiteX19" fmla="*/ 3737 w 10000"/>
              <a:gd name="connsiteY19" fmla="*/ 9129 h 10000"/>
              <a:gd name="connsiteX20" fmla="*/ 3596 w 10000"/>
              <a:gd name="connsiteY20" fmla="*/ 9129 h 10000"/>
              <a:gd name="connsiteX21" fmla="*/ 3596 w 10000"/>
              <a:gd name="connsiteY21" fmla="*/ 9129 h 10000"/>
              <a:gd name="connsiteX22" fmla="*/ 3596 w 10000"/>
              <a:gd name="connsiteY22" fmla="*/ 9728 h 10000"/>
              <a:gd name="connsiteX23" fmla="*/ 3083 w 10000"/>
              <a:gd name="connsiteY23" fmla="*/ 9781 h 10000"/>
              <a:gd name="connsiteX24" fmla="*/ 2802 w 10000"/>
              <a:gd name="connsiteY24" fmla="*/ 10000 h 10000"/>
              <a:gd name="connsiteX25" fmla="*/ 2429 w 10000"/>
              <a:gd name="connsiteY25" fmla="*/ 10000 h 10000"/>
              <a:gd name="connsiteX26" fmla="*/ 2147 w 10000"/>
              <a:gd name="connsiteY26" fmla="*/ 9890 h 10000"/>
              <a:gd name="connsiteX27" fmla="*/ 0 w 10000"/>
              <a:gd name="connsiteY27" fmla="*/ 9129 h 10000"/>
              <a:gd name="connsiteX28" fmla="*/ 44 w 10000"/>
              <a:gd name="connsiteY28" fmla="*/ 9129 h 10000"/>
              <a:gd name="connsiteX29" fmla="*/ 465 w 10000"/>
              <a:gd name="connsiteY29" fmla="*/ 8692 h 10000"/>
              <a:gd name="connsiteX30" fmla="*/ 1214 w 10000"/>
              <a:gd name="connsiteY30" fmla="*/ 8585 h 10000"/>
              <a:gd name="connsiteX31" fmla="*/ 1914 w 10000"/>
              <a:gd name="connsiteY31" fmla="*/ 7823 h 10000"/>
              <a:gd name="connsiteX32" fmla="*/ 2336 w 10000"/>
              <a:gd name="connsiteY32" fmla="*/ 7499 h 10000"/>
              <a:gd name="connsiteX33" fmla="*/ 3035 w 10000"/>
              <a:gd name="connsiteY33" fmla="*/ 6575 h 10000"/>
              <a:gd name="connsiteX34" fmla="*/ 2849 w 10000"/>
              <a:gd name="connsiteY34" fmla="*/ 5163 h 10000"/>
              <a:gd name="connsiteX35" fmla="*/ 3177 w 10000"/>
              <a:gd name="connsiteY35" fmla="*/ 4185 h 10000"/>
              <a:gd name="connsiteX36" fmla="*/ 3315 w 10000"/>
              <a:gd name="connsiteY36" fmla="*/ 3585 h 10000"/>
              <a:gd name="connsiteX37" fmla="*/ 3877 w 10000"/>
              <a:gd name="connsiteY37" fmla="*/ 2825 h 10000"/>
              <a:gd name="connsiteX38" fmla="*/ 4674 w 10000"/>
              <a:gd name="connsiteY38" fmla="*/ 2338 h 10000"/>
              <a:gd name="connsiteX39" fmla="*/ 5281 w 10000"/>
              <a:gd name="connsiteY39" fmla="*/ 1846 h 10000"/>
              <a:gd name="connsiteX40" fmla="*/ 5840 w 10000"/>
              <a:gd name="connsiteY40" fmla="*/ 710 h 10000"/>
              <a:gd name="connsiteX41" fmla="*/ 6120 w 10000"/>
              <a:gd name="connsiteY41" fmla="*/ 0 h 10000"/>
              <a:gd name="connsiteX42" fmla="*/ 6729 w 10000"/>
              <a:gd name="connsiteY42" fmla="*/ 0 h 10000"/>
              <a:gd name="connsiteX0" fmla="*/ 6729 w 10000"/>
              <a:gd name="connsiteY0" fmla="*/ 0 h 10000"/>
              <a:gd name="connsiteX1" fmla="*/ 7195 w 10000"/>
              <a:gd name="connsiteY1" fmla="*/ 486 h 10000"/>
              <a:gd name="connsiteX2" fmla="*/ 7989 w 10000"/>
              <a:gd name="connsiteY2" fmla="*/ 381 h 10000"/>
              <a:gd name="connsiteX3" fmla="*/ 8785 w 10000"/>
              <a:gd name="connsiteY3" fmla="*/ 652 h 10000"/>
              <a:gd name="connsiteX4" fmla="*/ 9159 w 10000"/>
              <a:gd name="connsiteY4" fmla="*/ 652 h 10000"/>
              <a:gd name="connsiteX5" fmla="*/ 9441 w 10000"/>
              <a:gd name="connsiteY5" fmla="*/ 1359 h 10000"/>
              <a:gd name="connsiteX6" fmla="*/ 9487 w 10000"/>
              <a:gd name="connsiteY6" fmla="*/ 2062 h 10000"/>
              <a:gd name="connsiteX7" fmla="*/ 9765 w 10000"/>
              <a:gd name="connsiteY7" fmla="*/ 3259 h 10000"/>
              <a:gd name="connsiteX8" fmla="*/ 10000 w 10000"/>
              <a:gd name="connsiteY8" fmla="*/ 3477 h 10000"/>
              <a:gd name="connsiteX9" fmla="*/ 9858 w 10000"/>
              <a:gd name="connsiteY9" fmla="*/ 3913 h 10000"/>
              <a:gd name="connsiteX10" fmla="*/ 8785 w 10000"/>
              <a:gd name="connsiteY10" fmla="*/ 4131 h 10000"/>
              <a:gd name="connsiteX11" fmla="*/ 8409 w 10000"/>
              <a:gd name="connsiteY11" fmla="*/ 4564 h 10000"/>
              <a:gd name="connsiteX12" fmla="*/ 7896 w 10000"/>
              <a:gd name="connsiteY12" fmla="*/ 4619 h 10000"/>
              <a:gd name="connsiteX13" fmla="*/ 7896 w 10000"/>
              <a:gd name="connsiteY13" fmla="*/ 5489 h 10000"/>
              <a:gd name="connsiteX14" fmla="*/ 6915 w 10000"/>
              <a:gd name="connsiteY14" fmla="*/ 5925 h 10000"/>
              <a:gd name="connsiteX15" fmla="*/ 6586 w 10000"/>
              <a:gd name="connsiteY15" fmla="*/ 6466 h 10000"/>
              <a:gd name="connsiteX16" fmla="*/ 5934 w 10000"/>
              <a:gd name="connsiteY16" fmla="*/ 6793 h 10000"/>
              <a:gd name="connsiteX17" fmla="*/ 5091 w 10000"/>
              <a:gd name="connsiteY17" fmla="*/ 6957 h 10000"/>
              <a:gd name="connsiteX18" fmla="*/ 3737 w 10000"/>
              <a:gd name="connsiteY18" fmla="*/ 7770 h 10000"/>
              <a:gd name="connsiteX19" fmla="*/ 3737 w 10000"/>
              <a:gd name="connsiteY19" fmla="*/ 9129 h 10000"/>
              <a:gd name="connsiteX20" fmla="*/ 3596 w 10000"/>
              <a:gd name="connsiteY20" fmla="*/ 9129 h 10000"/>
              <a:gd name="connsiteX21" fmla="*/ 3596 w 10000"/>
              <a:gd name="connsiteY21" fmla="*/ 9129 h 10000"/>
              <a:gd name="connsiteX22" fmla="*/ 3596 w 10000"/>
              <a:gd name="connsiteY22" fmla="*/ 9728 h 10000"/>
              <a:gd name="connsiteX23" fmla="*/ 3083 w 10000"/>
              <a:gd name="connsiteY23" fmla="*/ 9781 h 10000"/>
              <a:gd name="connsiteX24" fmla="*/ 2802 w 10000"/>
              <a:gd name="connsiteY24" fmla="*/ 10000 h 10000"/>
              <a:gd name="connsiteX25" fmla="*/ 2429 w 10000"/>
              <a:gd name="connsiteY25" fmla="*/ 10000 h 10000"/>
              <a:gd name="connsiteX26" fmla="*/ 0 w 10000"/>
              <a:gd name="connsiteY26" fmla="*/ 9129 h 10000"/>
              <a:gd name="connsiteX27" fmla="*/ 44 w 10000"/>
              <a:gd name="connsiteY27" fmla="*/ 9129 h 10000"/>
              <a:gd name="connsiteX28" fmla="*/ 465 w 10000"/>
              <a:gd name="connsiteY28" fmla="*/ 8692 h 10000"/>
              <a:gd name="connsiteX29" fmla="*/ 1214 w 10000"/>
              <a:gd name="connsiteY29" fmla="*/ 8585 h 10000"/>
              <a:gd name="connsiteX30" fmla="*/ 1914 w 10000"/>
              <a:gd name="connsiteY30" fmla="*/ 7823 h 10000"/>
              <a:gd name="connsiteX31" fmla="*/ 2336 w 10000"/>
              <a:gd name="connsiteY31" fmla="*/ 7499 h 10000"/>
              <a:gd name="connsiteX32" fmla="*/ 3035 w 10000"/>
              <a:gd name="connsiteY32" fmla="*/ 6575 h 10000"/>
              <a:gd name="connsiteX33" fmla="*/ 2849 w 10000"/>
              <a:gd name="connsiteY33" fmla="*/ 5163 h 10000"/>
              <a:gd name="connsiteX34" fmla="*/ 3177 w 10000"/>
              <a:gd name="connsiteY34" fmla="*/ 4185 h 10000"/>
              <a:gd name="connsiteX35" fmla="*/ 3315 w 10000"/>
              <a:gd name="connsiteY35" fmla="*/ 3585 h 10000"/>
              <a:gd name="connsiteX36" fmla="*/ 3877 w 10000"/>
              <a:gd name="connsiteY36" fmla="*/ 2825 h 10000"/>
              <a:gd name="connsiteX37" fmla="*/ 4674 w 10000"/>
              <a:gd name="connsiteY37" fmla="*/ 2338 h 10000"/>
              <a:gd name="connsiteX38" fmla="*/ 5281 w 10000"/>
              <a:gd name="connsiteY38" fmla="*/ 1846 h 10000"/>
              <a:gd name="connsiteX39" fmla="*/ 5840 w 10000"/>
              <a:gd name="connsiteY39" fmla="*/ 710 h 10000"/>
              <a:gd name="connsiteX40" fmla="*/ 6120 w 10000"/>
              <a:gd name="connsiteY40" fmla="*/ 0 h 10000"/>
              <a:gd name="connsiteX41" fmla="*/ 6729 w 10000"/>
              <a:gd name="connsiteY41" fmla="*/ 0 h 10000"/>
              <a:gd name="connsiteX0" fmla="*/ 6729 w 10000"/>
              <a:gd name="connsiteY0" fmla="*/ 0 h 10000"/>
              <a:gd name="connsiteX1" fmla="*/ 7195 w 10000"/>
              <a:gd name="connsiteY1" fmla="*/ 486 h 10000"/>
              <a:gd name="connsiteX2" fmla="*/ 7989 w 10000"/>
              <a:gd name="connsiteY2" fmla="*/ 381 h 10000"/>
              <a:gd name="connsiteX3" fmla="*/ 8785 w 10000"/>
              <a:gd name="connsiteY3" fmla="*/ 652 h 10000"/>
              <a:gd name="connsiteX4" fmla="*/ 9159 w 10000"/>
              <a:gd name="connsiteY4" fmla="*/ 652 h 10000"/>
              <a:gd name="connsiteX5" fmla="*/ 9441 w 10000"/>
              <a:gd name="connsiteY5" fmla="*/ 1359 h 10000"/>
              <a:gd name="connsiteX6" fmla="*/ 9487 w 10000"/>
              <a:gd name="connsiteY6" fmla="*/ 2062 h 10000"/>
              <a:gd name="connsiteX7" fmla="*/ 9765 w 10000"/>
              <a:gd name="connsiteY7" fmla="*/ 3259 h 10000"/>
              <a:gd name="connsiteX8" fmla="*/ 10000 w 10000"/>
              <a:gd name="connsiteY8" fmla="*/ 3477 h 10000"/>
              <a:gd name="connsiteX9" fmla="*/ 9858 w 10000"/>
              <a:gd name="connsiteY9" fmla="*/ 3913 h 10000"/>
              <a:gd name="connsiteX10" fmla="*/ 8785 w 10000"/>
              <a:gd name="connsiteY10" fmla="*/ 4131 h 10000"/>
              <a:gd name="connsiteX11" fmla="*/ 8409 w 10000"/>
              <a:gd name="connsiteY11" fmla="*/ 4564 h 10000"/>
              <a:gd name="connsiteX12" fmla="*/ 7896 w 10000"/>
              <a:gd name="connsiteY12" fmla="*/ 4619 h 10000"/>
              <a:gd name="connsiteX13" fmla="*/ 7896 w 10000"/>
              <a:gd name="connsiteY13" fmla="*/ 5489 h 10000"/>
              <a:gd name="connsiteX14" fmla="*/ 6915 w 10000"/>
              <a:gd name="connsiteY14" fmla="*/ 5925 h 10000"/>
              <a:gd name="connsiteX15" fmla="*/ 6586 w 10000"/>
              <a:gd name="connsiteY15" fmla="*/ 6466 h 10000"/>
              <a:gd name="connsiteX16" fmla="*/ 5934 w 10000"/>
              <a:gd name="connsiteY16" fmla="*/ 6793 h 10000"/>
              <a:gd name="connsiteX17" fmla="*/ 5091 w 10000"/>
              <a:gd name="connsiteY17" fmla="*/ 6957 h 10000"/>
              <a:gd name="connsiteX18" fmla="*/ 3737 w 10000"/>
              <a:gd name="connsiteY18" fmla="*/ 7770 h 10000"/>
              <a:gd name="connsiteX19" fmla="*/ 3737 w 10000"/>
              <a:gd name="connsiteY19" fmla="*/ 9129 h 10000"/>
              <a:gd name="connsiteX20" fmla="*/ 3596 w 10000"/>
              <a:gd name="connsiteY20" fmla="*/ 9129 h 10000"/>
              <a:gd name="connsiteX21" fmla="*/ 3596 w 10000"/>
              <a:gd name="connsiteY21" fmla="*/ 9129 h 10000"/>
              <a:gd name="connsiteX22" fmla="*/ 3596 w 10000"/>
              <a:gd name="connsiteY22" fmla="*/ 9728 h 10000"/>
              <a:gd name="connsiteX23" fmla="*/ 3083 w 10000"/>
              <a:gd name="connsiteY23" fmla="*/ 9781 h 10000"/>
              <a:gd name="connsiteX24" fmla="*/ 2802 w 10000"/>
              <a:gd name="connsiteY24" fmla="*/ 10000 h 10000"/>
              <a:gd name="connsiteX25" fmla="*/ 0 w 10000"/>
              <a:gd name="connsiteY25" fmla="*/ 9129 h 10000"/>
              <a:gd name="connsiteX26" fmla="*/ 44 w 10000"/>
              <a:gd name="connsiteY26" fmla="*/ 9129 h 10000"/>
              <a:gd name="connsiteX27" fmla="*/ 465 w 10000"/>
              <a:gd name="connsiteY27" fmla="*/ 8692 h 10000"/>
              <a:gd name="connsiteX28" fmla="*/ 1214 w 10000"/>
              <a:gd name="connsiteY28" fmla="*/ 8585 h 10000"/>
              <a:gd name="connsiteX29" fmla="*/ 1914 w 10000"/>
              <a:gd name="connsiteY29" fmla="*/ 7823 h 10000"/>
              <a:gd name="connsiteX30" fmla="*/ 2336 w 10000"/>
              <a:gd name="connsiteY30" fmla="*/ 7499 h 10000"/>
              <a:gd name="connsiteX31" fmla="*/ 3035 w 10000"/>
              <a:gd name="connsiteY31" fmla="*/ 6575 h 10000"/>
              <a:gd name="connsiteX32" fmla="*/ 2849 w 10000"/>
              <a:gd name="connsiteY32" fmla="*/ 5163 h 10000"/>
              <a:gd name="connsiteX33" fmla="*/ 3177 w 10000"/>
              <a:gd name="connsiteY33" fmla="*/ 4185 h 10000"/>
              <a:gd name="connsiteX34" fmla="*/ 3315 w 10000"/>
              <a:gd name="connsiteY34" fmla="*/ 3585 h 10000"/>
              <a:gd name="connsiteX35" fmla="*/ 3877 w 10000"/>
              <a:gd name="connsiteY35" fmla="*/ 2825 h 10000"/>
              <a:gd name="connsiteX36" fmla="*/ 4674 w 10000"/>
              <a:gd name="connsiteY36" fmla="*/ 2338 h 10000"/>
              <a:gd name="connsiteX37" fmla="*/ 5281 w 10000"/>
              <a:gd name="connsiteY37" fmla="*/ 1846 h 10000"/>
              <a:gd name="connsiteX38" fmla="*/ 5840 w 10000"/>
              <a:gd name="connsiteY38" fmla="*/ 710 h 10000"/>
              <a:gd name="connsiteX39" fmla="*/ 6120 w 10000"/>
              <a:gd name="connsiteY39" fmla="*/ 0 h 10000"/>
              <a:gd name="connsiteX40" fmla="*/ 6729 w 10000"/>
              <a:gd name="connsiteY40" fmla="*/ 0 h 10000"/>
              <a:gd name="connsiteX0" fmla="*/ 6729 w 10000"/>
              <a:gd name="connsiteY0" fmla="*/ 0 h 9781"/>
              <a:gd name="connsiteX1" fmla="*/ 7195 w 10000"/>
              <a:gd name="connsiteY1" fmla="*/ 486 h 9781"/>
              <a:gd name="connsiteX2" fmla="*/ 7989 w 10000"/>
              <a:gd name="connsiteY2" fmla="*/ 381 h 9781"/>
              <a:gd name="connsiteX3" fmla="*/ 8785 w 10000"/>
              <a:gd name="connsiteY3" fmla="*/ 652 h 9781"/>
              <a:gd name="connsiteX4" fmla="*/ 9159 w 10000"/>
              <a:gd name="connsiteY4" fmla="*/ 652 h 9781"/>
              <a:gd name="connsiteX5" fmla="*/ 9441 w 10000"/>
              <a:gd name="connsiteY5" fmla="*/ 1359 h 9781"/>
              <a:gd name="connsiteX6" fmla="*/ 9487 w 10000"/>
              <a:gd name="connsiteY6" fmla="*/ 2062 h 9781"/>
              <a:gd name="connsiteX7" fmla="*/ 9765 w 10000"/>
              <a:gd name="connsiteY7" fmla="*/ 3259 h 9781"/>
              <a:gd name="connsiteX8" fmla="*/ 10000 w 10000"/>
              <a:gd name="connsiteY8" fmla="*/ 3477 h 9781"/>
              <a:gd name="connsiteX9" fmla="*/ 9858 w 10000"/>
              <a:gd name="connsiteY9" fmla="*/ 3913 h 9781"/>
              <a:gd name="connsiteX10" fmla="*/ 8785 w 10000"/>
              <a:gd name="connsiteY10" fmla="*/ 4131 h 9781"/>
              <a:gd name="connsiteX11" fmla="*/ 8409 w 10000"/>
              <a:gd name="connsiteY11" fmla="*/ 4564 h 9781"/>
              <a:gd name="connsiteX12" fmla="*/ 7896 w 10000"/>
              <a:gd name="connsiteY12" fmla="*/ 4619 h 9781"/>
              <a:gd name="connsiteX13" fmla="*/ 7896 w 10000"/>
              <a:gd name="connsiteY13" fmla="*/ 5489 h 9781"/>
              <a:gd name="connsiteX14" fmla="*/ 6915 w 10000"/>
              <a:gd name="connsiteY14" fmla="*/ 5925 h 9781"/>
              <a:gd name="connsiteX15" fmla="*/ 6586 w 10000"/>
              <a:gd name="connsiteY15" fmla="*/ 6466 h 9781"/>
              <a:gd name="connsiteX16" fmla="*/ 5934 w 10000"/>
              <a:gd name="connsiteY16" fmla="*/ 6793 h 9781"/>
              <a:gd name="connsiteX17" fmla="*/ 5091 w 10000"/>
              <a:gd name="connsiteY17" fmla="*/ 6957 h 9781"/>
              <a:gd name="connsiteX18" fmla="*/ 3737 w 10000"/>
              <a:gd name="connsiteY18" fmla="*/ 7770 h 9781"/>
              <a:gd name="connsiteX19" fmla="*/ 3737 w 10000"/>
              <a:gd name="connsiteY19" fmla="*/ 9129 h 9781"/>
              <a:gd name="connsiteX20" fmla="*/ 3596 w 10000"/>
              <a:gd name="connsiteY20" fmla="*/ 9129 h 9781"/>
              <a:gd name="connsiteX21" fmla="*/ 3596 w 10000"/>
              <a:gd name="connsiteY21" fmla="*/ 9129 h 9781"/>
              <a:gd name="connsiteX22" fmla="*/ 3596 w 10000"/>
              <a:gd name="connsiteY22" fmla="*/ 9728 h 9781"/>
              <a:gd name="connsiteX23" fmla="*/ 3083 w 10000"/>
              <a:gd name="connsiteY23" fmla="*/ 9781 h 9781"/>
              <a:gd name="connsiteX24" fmla="*/ 0 w 10000"/>
              <a:gd name="connsiteY24" fmla="*/ 9129 h 9781"/>
              <a:gd name="connsiteX25" fmla="*/ 44 w 10000"/>
              <a:gd name="connsiteY25" fmla="*/ 9129 h 9781"/>
              <a:gd name="connsiteX26" fmla="*/ 465 w 10000"/>
              <a:gd name="connsiteY26" fmla="*/ 8692 h 9781"/>
              <a:gd name="connsiteX27" fmla="*/ 1214 w 10000"/>
              <a:gd name="connsiteY27" fmla="*/ 8585 h 9781"/>
              <a:gd name="connsiteX28" fmla="*/ 1914 w 10000"/>
              <a:gd name="connsiteY28" fmla="*/ 7823 h 9781"/>
              <a:gd name="connsiteX29" fmla="*/ 2336 w 10000"/>
              <a:gd name="connsiteY29" fmla="*/ 7499 h 9781"/>
              <a:gd name="connsiteX30" fmla="*/ 3035 w 10000"/>
              <a:gd name="connsiteY30" fmla="*/ 6575 h 9781"/>
              <a:gd name="connsiteX31" fmla="*/ 2849 w 10000"/>
              <a:gd name="connsiteY31" fmla="*/ 5163 h 9781"/>
              <a:gd name="connsiteX32" fmla="*/ 3177 w 10000"/>
              <a:gd name="connsiteY32" fmla="*/ 4185 h 9781"/>
              <a:gd name="connsiteX33" fmla="*/ 3315 w 10000"/>
              <a:gd name="connsiteY33" fmla="*/ 3585 h 9781"/>
              <a:gd name="connsiteX34" fmla="*/ 3877 w 10000"/>
              <a:gd name="connsiteY34" fmla="*/ 2825 h 9781"/>
              <a:gd name="connsiteX35" fmla="*/ 4674 w 10000"/>
              <a:gd name="connsiteY35" fmla="*/ 2338 h 9781"/>
              <a:gd name="connsiteX36" fmla="*/ 5281 w 10000"/>
              <a:gd name="connsiteY36" fmla="*/ 1846 h 9781"/>
              <a:gd name="connsiteX37" fmla="*/ 5840 w 10000"/>
              <a:gd name="connsiteY37" fmla="*/ 710 h 9781"/>
              <a:gd name="connsiteX38" fmla="*/ 6120 w 10000"/>
              <a:gd name="connsiteY38" fmla="*/ 0 h 9781"/>
              <a:gd name="connsiteX39" fmla="*/ 6729 w 10000"/>
              <a:gd name="connsiteY39" fmla="*/ 0 h 9781"/>
              <a:gd name="connsiteX0" fmla="*/ 6729 w 10000"/>
              <a:gd name="connsiteY0" fmla="*/ 0 h 9946"/>
              <a:gd name="connsiteX1" fmla="*/ 7195 w 10000"/>
              <a:gd name="connsiteY1" fmla="*/ 497 h 9946"/>
              <a:gd name="connsiteX2" fmla="*/ 7989 w 10000"/>
              <a:gd name="connsiteY2" fmla="*/ 390 h 9946"/>
              <a:gd name="connsiteX3" fmla="*/ 8785 w 10000"/>
              <a:gd name="connsiteY3" fmla="*/ 667 h 9946"/>
              <a:gd name="connsiteX4" fmla="*/ 9159 w 10000"/>
              <a:gd name="connsiteY4" fmla="*/ 667 h 9946"/>
              <a:gd name="connsiteX5" fmla="*/ 9441 w 10000"/>
              <a:gd name="connsiteY5" fmla="*/ 1389 h 9946"/>
              <a:gd name="connsiteX6" fmla="*/ 9487 w 10000"/>
              <a:gd name="connsiteY6" fmla="*/ 2108 h 9946"/>
              <a:gd name="connsiteX7" fmla="*/ 9765 w 10000"/>
              <a:gd name="connsiteY7" fmla="*/ 3332 h 9946"/>
              <a:gd name="connsiteX8" fmla="*/ 10000 w 10000"/>
              <a:gd name="connsiteY8" fmla="*/ 3555 h 9946"/>
              <a:gd name="connsiteX9" fmla="*/ 9858 w 10000"/>
              <a:gd name="connsiteY9" fmla="*/ 4001 h 9946"/>
              <a:gd name="connsiteX10" fmla="*/ 8785 w 10000"/>
              <a:gd name="connsiteY10" fmla="*/ 4223 h 9946"/>
              <a:gd name="connsiteX11" fmla="*/ 8409 w 10000"/>
              <a:gd name="connsiteY11" fmla="*/ 4666 h 9946"/>
              <a:gd name="connsiteX12" fmla="*/ 7896 w 10000"/>
              <a:gd name="connsiteY12" fmla="*/ 4722 h 9946"/>
              <a:gd name="connsiteX13" fmla="*/ 7896 w 10000"/>
              <a:gd name="connsiteY13" fmla="*/ 5612 h 9946"/>
              <a:gd name="connsiteX14" fmla="*/ 6915 w 10000"/>
              <a:gd name="connsiteY14" fmla="*/ 6058 h 9946"/>
              <a:gd name="connsiteX15" fmla="*/ 6586 w 10000"/>
              <a:gd name="connsiteY15" fmla="*/ 6611 h 9946"/>
              <a:gd name="connsiteX16" fmla="*/ 5934 w 10000"/>
              <a:gd name="connsiteY16" fmla="*/ 6945 h 9946"/>
              <a:gd name="connsiteX17" fmla="*/ 5091 w 10000"/>
              <a:gd name="connsiteY17" fmla="*/ 7113 h 9946"/>
              <a:gd name="connsiteX18" fmla="*/ 3737 w 10000"/>
              <a:gd name="connsiteY18" fmla="*/ 7944 h 9946"/>
              <a:gd name="connsiteX19" fmla="*/ 3737 w 10000"/>
              <a:gd name="connsiteY19" fmla="*/ 9333 h 9946"/>
              <a:gd name="connsiteX20" fmla="*/ 3596 w 10000"/>
              <a:gd name="connsiteY20" fmla="*/ 9333 h 9946"/>
              <a:gd name="connsiteX21" fmla="*/ 3596 w 10000"/>
              <a:gd name="connsiteY21" fmla="*/ 9333 h 9946"/>
              <a:gd name="connsiteX22" fmla="*/ 3596 w 10000"/>
              <a:gd name="connsiteY22" fmla="*/ 9946 h 9946"/>
              <a:gd name="connsiteX23" fmla="*/ 0 w 10000"/>
              <a:gd name="connsiteY23" fmla="*/ 9333 h 9946"/>
              <a:gd name="connsiteX24" fmla="*/ 44 w 10000"/>
              <a:gd name="connsiteY24" fmla="*/ 9333 h 9946"/>
              <a:gd name="connsiteX25" fmla="*/ 465 w 10000"/>
              <a:gd name="connsiteY25" fmla="*/ 8887 h 9946"/>
              <a:gd name="connsiteX26" fmla="*/ 1214 w 10000"/>
              <a:gd name="connsiteY26" fmla="*/ 8777 h 9946"/>
              <a:gd name="connsiteX27" fmla="*/ 1914 w 10000"/>
              <a:gd name="connsiteY27" fmla="*/ 7998 h 9946"/>
              <a:gd name="connsiteX28" fmla="*/ 2336 w 10000"/>
              <a:gd name="connsiteY28" fmla="*/ 7667 h 9946"/>
              <a:gd name="connsiteX29" fmla="*/ 3035 w 10000"/>
              <a:gd name="connsiteY29" fmla="*/ 6722 h 9946"/>
              <a:gd name="connsiteX30" fmla="*/ 2849 w 10000"/>
              <a:gd name="connsiteY30" fmla="*/ 5279 h 9946"/>
              <a:gd name="connsiteX31" fmla="*/ 3177 w 10000"/>
              <a:gd name="connsiteY31" fmla="*/ 4279 h 9946"/>
              <a:gd name="connsiteX32" fmla="*/ 3315 w 10000"/>
              <a:gd name="connsiteY32" fmla="*/ 3665 h 9946"/>
              <a:gd name="connsiteX33" fmla="*/ 3877 w 10000"/>
              <a:gd name="connsiteY33" fmla="*/ 2888 h 9946"/>
              <a:gd name="connsiteX34" fmla="*/ 4674 w 10000"/>
              <a:gd name="connsiteY34" fmla="*/ 2390 h 9946"/>
              <a:gd name="connsiteX35" fmla="*/ 5281 w 10000"/>
              <a:gd name="connsiteY35" fmla="*/ 1887 h 9946"/>
              <a:gd name="connsiteX36" fmla="*/ 5840 w 10000"/>
              <a:gd name="connsiteY36" fmla="*/ 726 h 9946"/>
              <a:gd name="connsiteX37" fmla="*/ 6120 w 10000"/>
              <a:gd name="connsiteY37" fmla="*/ 0 h 9946"/>
              <a:gd name="connsiteX38" fmla="*/ 6729 w 10000"/>
              <a:gd name="connsiteY38" fmla="*/ 0 h 9946"/>
              <a:gd name="connsiteX0" fmla="*/ 6729 w 10000"/>
              <a:gd name="connsiteY0" fmla="*/ 0 h 9384"/>
              <a:gd name="connsiteX1" fmla="*/ 7195 w 10000"/>
              <a:gd name="connsiteY1" fmla="*/ 500 h 9384"/>
              <a:gd name="connsiteX2" fmla="*/ 7989 w 10000"/>
              <a:gd name="connsiteY2" fmla="*/ 392 h 9384"/>
              <a:gd name="connsiteX3" fmla="*/ 8785 w 10000"/>
              <a:gd name="connsiteY3" fmla="*/ 671 h 9384"/>
              <a:gd name="connsiteX4" fmla="*/ 9159 w 10000"/>
              <a:gd name="connsiteY4" fmla="*/ 671 h 9384"/>
              <a:gd name="connsiteX5" fmla="*/ 9441 w 10000"/>
              <a:gd name="connsiteY5" fmla="*/ 1397 h 9384"/>
              <a:gd name="connsiteX6" fmla="*/ 9487 w 10000"/>
              <a:gd name="connsiteY6" fmla="*/ 2119 h 9384"/>
              <a:gd name="connsiteX7" fmla="*/ 9765 w 10000"/>
              <a:gd name="connsiteY7" fmla="*/ 3350 h 9384"/>
              <a:gd name="connsiteX8" fmla="*/ 10000 w 10000"/>
              <a:gd name="connsiteY8" fmla="*/ 3574 h 9384"/>
              <a:gd name="connsiteX9" fmla="*/ 9858 w 10000"/>
              <a:gd name="connsiteY9" fmla="*/ 4023 h 9384"/>
              <a:gd name="connsiteX10" fmla="*/ 8785 w 10000"/>
              <a:gd name="connsiteY10" fmla="*/ 4246 h 9384"/>
              <a:gd name="connsiteX11" fmla="*/ 8409 w 10000"/>
              <a:gd name="connsiteY11" fmla="*/ 4691 h 9384"/>
              <a:gd name="connsiteX12" fmla="*/ 7896 w 10000"/>
              <a:gd name="connsiteY12" fmla="*/ 4748 h 9384"/>
              <a:gd name="connsiteX13" fmla="*/ 7896 w 10000"/>
              <a:gd name="connsiteY13" fmla="*/ 5642 h 9384"/>
              <a:gd name="connsiteX14" fmla="*/ 6915 w 10000"/>
              <a:gd name="connsiteY14" fmla="*/ 6091 h 9384"/>
              <a:gd name="connsiteX15" fmla="*/ 6586 w 10000"/>
              <a:gd name="connsiteY15" fmla="*/ 6647 h 9384"/>
              <a:gd name="connsiteX16" fmla="*/ 5934 w 10000"/>
              <a:gd name="connsiteY16" fmla="*/ 6983 h 9384"/>
              <a:gd name="connsiteX17" fmla="*/ 5091 w 10000"/>
              <a:gd name="connsiteY17" fmla="*/ 7152 h 9384"/>
              <a:gd name="connsiteX18" fmla="*/ 3737 w 10000"/>
              <a:gd name="connsiteY18" fmla="*/ 7987 h 9384"/>
              <a:gd name="connsiteX19" fmla="*/ 3737 w 10000"/>
              <a:gd name="connsiteY19" fmla="*/ 9384 h 9384"/>
              <a:gd name="connsiteX20" fmla="*/ 3596 w 10000"/>
              <a:gd name="connsiteY20" fmla="*/ 9384 h 9384"/>
              <a:gd name="connsiteX21" fmla="*/ 3596 w 10000"/>
              <a:gd name="connsiteY21" fmla="*/ 9384 h 9384"/>
              <a:gd name="connsiteX22" fmla="*/ 0 w 10000"/>
              <a:gd name="connsiteY22" fmla="*/ 9384 h 9384"/>
              <a:gd name="connsiteX23" fmla="*/ 44 w 10000"/>
              <a:gd name="connsiteY23" fmla="*/ 9384 h 9384"/>
              <a:gd name="connsiteX24" fmla="*/ 465 w 10000"/>
              <a:gd name="connsiteY24" fmla="*/ 8935 h 9384"/>
              <a:gd name="connsiteX25" fmla="*/ 1214 w 10000"/>
              <a:gd name="connsiteY25" fmla="*/ 8825 h 9384"/>
              <a:gd name="connsiteX26" fmla="*/ 1914 w 10000"/>
              <a:gd name="connsiteY26" fmla="*/ 8041 h 9384"/>
              <a:gd name="connsiteX27" fmla="*/ 2336 w 10000"/>
              <a:gd name="connsiteY27" fmla="*/ 7709 h 9384"/>
              <a:gd name="connsiteX28" fmla="*/ 3035 w 10000"/>
              <a:gd name="connsiteY28" fmla="*/ 6758 h 9384"/>
              <a:gd name="connsiteX29" fmla="*/ 2849 w 10000"/>
              <a:gd name="connsiteY29" fmla="*/ 5308 h 9384"/>
              <a:gd name="connsiteX30" fmla="*/ 3177 w 10000"/>
              <a:gd name="connsiteY30" fmla="*/ 4302 h 9384"/>
              <a:gd name="connsiteX31" fmla="*/ 3315 w 10000"/>
              <a:gd name="connsiteY31" fmla="*/ 3685 h 9384"/>
              <a:gd name="connsiteX32" fmla="*/ 3877 w 10000"/>
              <a:gd name="connsiteY32" fmla="*/ 2904 h 9384"/>
              <a:gd name="connsiteX33" fmla="*/ 4674 w 10000"/>
              <a:gd name="connsiteY33" fmla="*/ 2403 h 9384"/>
              <a:gd name="connsiteX34" fmla="*/ 5281 w 10000"/>
              <a:gd name="connsiteY34" fmla="*/ 1897 h 9384"/>
              <a:gd name="connsiteX35" fmla="*/ 5840 w 10000"/>
              <a:gd name="connsiteY35" fmla="*/ 730 h 9384"/>
              <a:gd name="connsiteX36" fmla="*/ 6120 w 10000"/>
              <a:gd name="connsiteY36" fmla="*/ 0 h 9384"/>
              <a:gd name="connsiteX37" fmla="*/ 6729 w 10000"/>
              <a:gd name="connsiteY37" fmla="*/ 0 h 93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0000" h="9384">
                <a:moveTo>
                  <a:pt x="6729" y="0"/>
                </a:moveTo>
                <a:lnTo>
                  <a:pt x="7195" y="500"/>
                </a:lnTo>
                <a:lnTo>
                  <a:pt x="7989" y="392"/>
                </a:lnTo>
                <a:lnTo>
                  <a:pt x="8785" y="671"/>
                </a:lnTo>
                <a:lnTo>
                  <a:pt x="9159" y="671"/>
                </a:lnTo>
                <a:cubicBezTo>
                  <a:pt x="9254" y="913"/>
                  <a:pt x="9348" y="1153"/>
                  <a:pt x="9441" y="1397"/>
                </a:cubicBezTo>
                <a:cubicBezTo>
                  <a:pt x="9456" y="1642"/>
                  <a:pt x="9470" y="1881"/>
                  <a:pt x="9487" y="2119"/>
                </a:cubicBezTo>
                <a:lnTo>
                  <a:pt x="9765" y="3350"/>
                </a:lnTo>
                <a:lnTo>
                  <a:pt x="10000" y="3574"/>
                </a:lnTo>
                <a:cubicBezTo>
                  <a:pt x="9954" y="3724"/>
                  <a:pt x="9906" y="3872"/>
                  <a:pt x="9858" y="4023"/>
                </a:cubicBezTo>
                <a:lnTo>
                  <a:pt x="8785" y="4246"/>
                </a:lnTo>
                <a:lnTo>
                  <a:pt x="8409" y="4691"/>
                </a:lnTo>
                <a:lnTo>
                  <a:pt x="7896" y="4748"/>
                </a:lnTo>
                <a:lnTo>
                  <a:pt x="7896" y="5642"/>
                </a:lnTo>
                <a:lnTo>
                  <a:pt x="6915" y="6091"/>
                </a:lnTo>
                <a:lnTo>
                  <a:pt x="6586" y="6647"/>
                </a:lnTo>
                <a:lnTo>
                  <a:pt x="5934" y="6983"/>
                </a:lnTo>
                <a:lnTo>
                  <a:pt x="5091" y="7152"/>
                </a:lnTo>
                <a:lnTo>
                  <a:pt x="3737" y="7987"/>
                </a:lnTo>
                <a:lnTo>
                  <a:pt x="3737" y="9384"/>
                </a:lnTo>
                <a:lnTo>
                  <a:pt x="3596" y="9384"/>
                </a:lnTo>
                <a:lnTo>
                  <a:pt x="3596" y="9384"/>
                </a:lnTo>
                <a:lnTo>
                  <a:pt x="0" y="9384"/>
                </a:lnTo>
                <a:lnTo>
                  <a:pt x="44" y="9384"/>
                </a:lnTo>
                <a:lnTo>
                  <a:pt x="465" y="8935"/>
                </a:lnTo>
                <a:lnTo>
                  <a:pt x="1214" y="8825"/>
                </a:lnTo>
                <a:lnTo>
                  <a:pt x="1914" y="8041"/>
                </a:lnTo>
                <a:lnTo>
                  <a:pt x="2336" y="7709"/>
                </a:lnTo>
                <a:lnTo>
                  <a:pt x="3035" y="6758"/>
                </a:lnTo>
                <a:cubicBezTo>
                  <a:pt x="2975" y="6276"/>
                  <a:pt x="2911" y="5790"/>
                  <a:pt x="2849" y="5308"/>
                </a:cubicBezTo>
                <a:cubicBezTo>
                  <a:pt x="2958" y="4972"/>
                  <a:pt x="3069" y="4637"/>
                  <a:pt x="3177" y="4302"/>
                </a:cubicBezTo>
                <a:cubicBezTo>
                  <a:pt x="3222" y="4097"/>
                  <a:pt x="3269" y="3891"/>
                  <a:pt x="3315" y="3685"/>
                </a:cubicBezTo>
                <a:lnTo>
                  <a:pt x="3877" y="2904"/>
                </a:lnTo>
                <a:lnTo>
                  <a:pt x="4674" y="2403"/>
                </a:lnTo>
                <a:lnTo>
                  <a:pt x="5281" y="1897"/>
                </a:lnTo>
                <a:lnTo>
                  <a:pt x="5840" y="730"/>
                </a:lnTo>
                <a:cubicBezTo>
                  <a:pt x="5934" y="486"/>
                  <a:pt x="6026" y="241"/>
                  <a:pt x="6120" y="0"/>
                </a:cubicBezTo>
                <a:lnTo>
                  <a:pt x="6729" y="0"/>
                </a:lnTo>
                <a:close/>
              </a:path>
            </a:pathLst>
          </a:custGeom>
          <a:solidFill>
            <a:srgbClr val="40C8F4">
              <a:lumMod val="60000"/>
              <a:lumOff val="40000"/>
            </a:srgbClr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32" name="Freeform 118"/>
          <p:cNvSpPr>
            <a:spLocks/>
          </p:cNvSpPr>
          <p:nvPr/>
        </p:nvSpPr>
        <p:spPr bwMode="auto">
          <a:xfrm>
            <a:off x="2401735" y="2421776"/>
            <a:ext cx="243437" cy="306657"/>
          </a:xfrm>
          <a:custGeom>
            <a:avLst/>
            <a:gdLst>
              <a:gd name="T0" fmla="*/ 0 w 60"/>
              <a:gd name="T1" fmla="*/ 5 h 61"/>
              <a:gd name="T2" fmla="*/ 3 w 60"/>
              <a:gd name="T3" fmla="*/ 2 h 61"/>
              <a:gd name="T4" fmla="*/ 13 w 60"/>
              <a:gd name="T5" fmla="*/ 0 h 61"/>
              <a:gd name="T6" fmla="*/ 26 w 60"/>
              <a:gd name="T7" fmla="*/ 6 h 61"/>
              <a:gd name="T8" fmla="*/ 33 w 60"/>
              <a:gd name="T9" fmla="*/ 7 h 61"/>
              <a:gd name="T10" fmla="*/ 41 w 60"/>
              <a:gd name="T11" fmla="*/ 12 h 61"/>
              <a:gd name="T12" fmla="*/ 41 w 60"/>
              <a:gd name="T13" fmla="*/ 20 h 61"/>
              <a:gd name="T14" fmla="*/ 47 w 60"/>
              <a:gd name="T15" fmla="*/ 23 h 61"/>
              <a:gd name="T16" fmla="*/ 51 w 60"/>
              <a:gd name="T17" fmla="*/ 31 h 61"/>
              <a:gd name="T18" fmla="*/ 57 w 60"/>
              <a:gd name="T19" fmla="*/ 37 h 61"/>
              <a:gd name="T20" fmla="*/ 57 w 60"/>
              <a:gd name="T21" fmla="*/ 40 h 61"/>
              <a:gd name="T22" fmla="*/ 60 w 60"/>
              <a:gd name="T23" fmla="*/ 42 h 61"/>
              <a:gd name="T24" fmla="*/ 56 w 60"/>
              <a:gd name="T25" fmla="*/ 43 h 61"/>
              <a:gd name="T26" fmla="*/ 46 w 60"/>
              <a:gd name="T27" fmla="*/ 42 h 61"/>
              <a:gd name="T28" fmla="*/ 44 w 60"/>
              <a:gd name="T29" fmla="*/ 40 h 61"/>
              <a:gd name="T30" fmla="*/ 41 w 60"/>
              <a:gd name="T31" fmla="*/ 41 h 61"/>
              <a:gd name="T32" fmla="*/ 43 w 60"/>
              <a:gd name="T33" fmla="*/ 45 h 61"/>
              <a:gd name="T34" fmla="*/ 39 w 60"/>
              <a:gd name="T35" fmla="*/ 52 h 61"/>
              <a:gd name="T36" fmla="*/ 37 w 60"/>
              <a:gd name="T37" fmla="*/ 59 h 61"/>
              <a:gd name="T38" fmla="*/ 33 w 60"/>
              <a:gd name="T39" fmla="*/ 61 h 61"/>
              <a:gd name="T40" fmla="*/ 29 w 60"/>
              <a:gd name="T41" fmla="*/ 52 h 61"/>
              <a:gd name="T42" fmla="*/ 30 w 60"/>
              <a:gd name="T43" fmla="*/ 43 h 61"/>
              <a:gd name="T44" fmla="*/ 28 w 60"/>
              <a:gd name="T45" fmla="*/ 34 h 61"/>
              <a:gd name="T46" fmla="*/ 17 w 60"/>
              <a:gd name="T47" fmla="*/ 22 h 61"/>
              <a:gd name="T48" fmla="*/ 10 w 60"/>
              <a:gd name="T49" fmla="*/ 13 h 61"/>
              <a:gd name="T50" fmla="*/ 5 w 60"/>
              <a:gd name="T51" fmla="*/ 7 h 61"/>
              <a:gd name="T52" fmla="*/ 0 w 60"/>
              <a:gd name="T53" fmla="*/ 5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60" h="61">
                <a:moveTo>
                  <a:pt x="0" y="5"/>
                </a:moveTo>
                <a:lnTo>
                  <a:pt x="3" y="2"/>
                </a:lnTo>
                <a:lnTo>
                  <a:pt x="13" y="0"/>
                </a:lnTo>
                <a:lnTo>
                  <a:pt x="26" y="6"/>
                </a:lnTo>
                <a:lnTo>
                  <a:pt x="33" y="7"/>
                </a:lnTo>
                <a:lnTo>
                  <a:pt x="41" y="12"/>
                </a:lnTo>
                <a:lnTo>
                  <a:pt x="41" y="20"/>
                </a:lnTo>
                <a:lnTo>
                  <a:pt x="47" y="23"/>
                </a:lnTo>
                <a:lnTo>
                  <a:pt x="51" y="31"/>
                </a:lnTo>
                <a:lnTo>
                  <a:pt x="57" y="37"/>
                </a:lnTo>
                <a:lnTo>
                  <a:pt x="57" y="40"/>
                </a:lnTo>
                <a:lnTo>
                  <a:pt x="60" y="42"/>
                </a:lnTo>
                <a:lnTo>
                  <a:pt x="56" y="43"/>
                </a:lnTo>
                <a:lnTo>
                  <a:pt x="46" y="42"/>
                </a:lnTo>
                <a:lnTo>
                  <a:pt x="44" y="40"/>
                </a:lnTo>
                <a:lnTo>
                  <a:pt x="41" y="41"/>
                </a:lnTo>
                <a:lnTo>
                  <a:pt x="43" y="45"/>
                </a:lnTo>
                <a:lnTo>
                  <a:pt x="39" y="52"/>
                </a:lnTo>
                <a:lnTo>
                  <a:pt x="37" y="59"/>
                </a:lnTo>
                <a:lnTo>
                  <a:pt x="33" y="61"/>
                </a:lnTo>
                <a:lnTo>
                  <a:pt x="29" y="52"/>
                </a:lnTo>
                <a:lnTo>
                  <a:pt x="30" y="43"/>
                </a:lnTo>
                <a:lnTo>
                  <a:pt x="28" y="34"/>
                </a:lnTo>
                <a:lnTo>
                  <a:pt x="17" y="22"/>
                </a:lnTo>
                <a:lnTo>
                  <a:pt x="10" y="13"/>
                </a:lnTo>
                <a:lnTo>
                  <a:pt x="5" y="7"/>
                </a:lnTo>
                <a:lnTo>
                  <a:pt x="0" y="5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33" name="Freeform 121"/>
          <p:cNvSpPr>
            <a:spLocks/>
          </p:cNvSpPr>
          <p:nvPr/>
        </p:nvSpPr>
        <p:spPr bwMode="auto">
          <a:xfrm>
            <a:off x="2048757" y="3055199"/>
            <a:ext cx="170404" cy="150816"/>
          </a:xfrm>
          <a:custGeom>
            <a:avLst/>
            <a:gdLst>
              <a:gd name="T0" fmla="*/ 2 w 42"/>
              <a:gd name="T1" fmla="*/ 9 h 30"/>
              <a:gd name="T2" fmla="*/ 4 w 42"/>
              <a:gd name="T3" fmla="*/ 9 h 30"/>
              <a:gd name="T4" fmla="*/ 4 w 42"/>
              <a:gd name="T5" fmla="*/ 5 h 30"/>
              <a:gd name="T6" fmla="*/ 14 w 42"/>
              <a:gd name="T7" fmla="*/ 2 h 30"/>
              <a:gd name="T8" fmla="*/ 17 w 42"/>
              <a:gd name="T9" fmla="*/ 1 h 30"/>
              <a:gd name="T10" fmla="*/ 23 w 42"/>
              <a:gd name="T11" fmla="*/ 0 h 30"/>
              <a:gd name="T12" fmla="*/ 31 w 42"/>
              <a:gd name="T13" fmla="*/ 0 h 30"/>
              <a:gd name="T14" fmla="*/ 40 w 42"/>
              <a:gd name="T15" fmla="*/ 6 h 30"/>
              <a:gd name="T16" fmla="*/ 42 w 42"/>
              <a:gd name="T17" fmla="*/ 20 h 30"/>
              <a:gd name="T18" fmla="*/ 39 w 42"/>
              <a:gd name="T19" fmla="*/ 20 h 30"/>
              <a:gd name="T20" fmla="*/ 37 w 42"/>
              <a:gd name="T21" fmla="*/ 24 h 30"/>
              <a:gd name="T22" fmla="*/ 28 w 42"/>
              <a:gd name="T23" fmla="*/ 24 h 30"/>
              <a:gd name="T24" fmla="*/ 22 w 42"/>
              <a:gd name="T25" fmla="*/ 28 h 30"/>
              <a:gd name="T26" fmla="*/ 11 w 42"/>
              <a:gd name="T27" fmla="*/ 30 h 30"/>
              <a:gd name="T28" fmla="*/ 3 w 42"/>
              <a:gd name="T29" fmla="*/ 25 h 30"/>
              <a:gd name="T30" fmla="*/ 0 w 42"/>
              <a:gd name="T31" fmla="*/ 16 h 30"/>
              <a:gd name="T32" fmla="*/ 2 w 42"/>
              <a:gd name="T33" fmla="*/ 9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2" h="30">
                <a:moveTo>
                  <a:pt x="2" y="9"/>
                </a:moveTo>
                <a:lnTo>
                  <a:pt x="4" y="9"/>
                </a:lnTo>
                <a:lnTo>
                  <a:pt x="4" y="5"/>
                </a:lnTo>
                <a:lnTo>
                  <a:pt x="14" y="2"/>
                </a:lnTo>
                <a:lnTo>
                  <a:pt x="17" y="1"/>
                </a:lnTo>
                <a:lnTo>
                  <a:pt x="23" y="0"/>
                </a:lnTo>
                <a:lnTo>
                  <a:pt x="31" y="0"/>
                </a:lnTo>
                <a:lnTo>
                  <a:pt x="40" y="6"/>
                </a:lnTo>
                <a:lnTo>
                  <a:pt x="42" y="20"/>
                </a:lnTo>
                <a:lnTo>
                  <a:pt x="39" y="20"/>
                </a:lnTo>
                <a:lnTo>
                  <a:pt x="37" y="24"/>
                </a:lnTo>
                <a:lnTo>
                  <a:pt x="28" y="24"/>
                </a:lnTo>
                <a:lnTo>
                  <a:pt x="22" y="28"/>
                </a:lnTo>
                <a:lnTo>
                  <a:pt x="11" y="30"/>
                </a:lnTo>
                <a:lnTo>
                  <a:pt x="3" y="25"/>
                </a:lnTo>
                <a:lnTo>
                  <a:pt x="0" y="16"/>
                </a:lnTo>
                <a:lnTo>
                  <a:pt x="2" y="9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34" name="Freeform 122"/>
          <p:cNvSpPr>
            <a:spLocks/>
          </p:cNvSpPr>
          <p:nvPr/>
        </p:nvSpPr>
        <p:spPr bwMode="auto">
          <a:xfrm>
            <a:off x="-243592" y="4859956"/>
            <a:ext cx="1213121" cy="1553398"/>
          </a:xfrm>
          <a:custGeom>
            <a:avLst/>
            <a:gdLst>
              <a:gd name="T0" fmla="*/ 6 w 299"/>
              <a:gd name="T1" fmla="*/ 211 h 309"/>
              <a:gd name="T2" fmla="*/ 15 w 299"/>
              <a:gd name="T3" fmla="*/ 198 h 309"/>
              <a:gd name="T4" fmla="*/ 38 w 299"/>
              <a:gd name="T5" fmla="*/ 200 h 309"/>
              <a:gd name="T6" fmla="*/ 48 w 299"/>
              <a:gd name="T7" fmla="*/ 197 h 309"/>
              <a:gd name="T8" fmla="*/ 125 w 299"/>
              <a:gd name="T9" fmla="*/ 182 h 309"/>
              <a:gd name="T10" fmla="*/ 114 w 299"/>
              <a:gd name="T11" fmla="*/ 90 h 309"/>
              <a:gd name="T12" fmla="*/ 133 w 299"/>
              <a:gd name="T13" fmla="*/ 0 h 309"/>
              <a:gd name="T14" fmla="*/ 254 w 299"/>
              <a:gd name="T15" fmla="*/ 90 h 309"/>
              <a:gd name="T16" fmla="*/ 270 w 299"/>
              <a:gd name="T17" fmla="*/ 106 h 309"/>
              <a:gd name="T18" fmla="*/ 278 w 299"/>
              <a:gd name="T19" fmla="*/ 123 h 309"/>
              <a:gd name="T20" fmla="*/ 299 w 299"/>
              <a:gd name="T21" fmla="*/ 168 h 309"/>
              <a:gd name="T22" fmla="*/ 287 w 299"/>
              <a:gd name="T23" fmla="*/ 195 h 309"/>
              <a:gd name="T24" fmla="*/ 246 w 299"/>
              <a:gd name="T25" fmla="*/ 200 h 309"/>
              <a:gd name="T26" fmla="*/ 228 w 299"/>
              <a:gd name="T27" fmla="*/ 208 h 309"/>
              <a:gd name="T28" fmla="*/ 212 w 299"/>
              <a:gd name="T29" fmla="*/ 204 h 309"/>
              <a:gd name="T30" fmla="*/ 185 w 299"/>
              <a:gd name="T31" fmla="*/ 216 h 309"/>
              <a:gd name="T32" fmla="*/ 167 w 299"/>
              <a:gd name="T33" fmla="*/ 232 h 309"/>
              <a:gd name="T34" fmla="*/ 157 w 299"/>
              <a:gd name="T35" fmla="*/ 241 h 309"/>
              <a:gd name="T36" fmla="*/ 143 w 299"/>
              <a:gd name="T37" fmla="*/ 244 h 309"/>
              <a:gd name="T38" fmla="*/ 126 w 299"/>
              <a:gd name="T39" fmla="*/ 275 h 309"/>
              <a:gd name="T40" fmla="*/ 121 w 299"/>
              <a:gd name="T41" fmla="*/ 291 h 309"/>
              <a:gd name="T42" fmla="*/ 115 w 299"/>
              <a:gd name="T43" fmla="*/ 306 h 309"/>
              <a:gd name="T44" fmla="*/ 108 w 299"/>
              <a:gd name="T45" fmla="*/ 300 h 309"/>
              <a:gd name="T46" fmla="*/ 99 w 299"/>
              <a:gd name="T47" fmla="*/ 302 h 309"/>
              <a:gd name="T48" fmla="*/ 82 w 299"/>
              <a:gd name="T49" fmla="*/ 307 h 309"/>
              <a:gd name="T50" fmla="*/ 75 w 299"/>
              <a:gd name="T51" fmla="*/ 306 h 309"/>
              <a:gd name="T52" fmla="*/ 70 w 299"/>
              <a:gd name="T53" fmla="*/ 294 h 309"/>
              <a:gd name="T54" fmla="*/ 64 w 299"/>
              <a:gd name="T55" fmla="*/ 294 h 309"/>
              <a:gd name="T56" fmla="*/ 68 w 299"/>
              <a:gd name="T57" fmla="*/ 282 h 309"/>
              <a:gd name="T58" fmla="*/ 59 w 299"/>
              <a:gd name="T59" fmla="*/ 267 h 309"/>
              <a:gd name="T60" fmla="*/ 51 w 299"/>
              <a:gd name="T61" fmla="*/ 262 h 309"/>
              <a:gd name="T62" fmla="*/ 41 w 299"/>
              <a:gd name="T63" fmla="*/ 268 h 309"/>
              <a:gd name="T64" fmla="*/ 28 w 299"/>
              <a:gd name="T65" fmla="*/ 271 h 309"/>
              <a:gd name="T66" fmla="*/ 20 w 299"/>
              <a:gd name="T67" fmla="*/ 265 h 309"/>
              <a:gd name="T68" fmla="*/ 12 w 299"/>
              <a:gd name="T69" fmla="*/ 267 h 309"/>
              <a:gd name="T70" fmla="*/ 12 w 299"/>
              <a:gd name="T71" fmla="*/ 253 h 309"/>
              <a:gd name="T72" fmla="*/ 4 w 299"/>
              <a:gd name="T73" fmla="*/ 240 h 309"/>
              <a:gd name="T74" fmla="*/ 0 w 299"/>
              <a:gd name="T75" fmla="*/ 215 h 3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99" h="309">
                <a:moveTo>
                  <a:pt x="0" y="215"/>
                </a:moveTo>
                <a:lnTo>
                  <a:pt x="6" y="211"/>
                </a:lnTo>
                <a:lnTo>
                  <a:pt x="9" y="199"/>
                </a:lnTo>
                <a:lnTo>
                  <a:pt x="15" y="198"/>
                </a:lnTo>
                <a:lnTo>
                  <a:pt x="28" y="204"/>
                </a:lnTo>
                <a:lnTo>
                  <a:pt x="38" y="200"/>
                </a:lnTo>
                <a:lnTo>
                  <a:pt x="45" y="201"/>
                </a:lnTo>
                <a:lnTo>
                  <a:pt x="48" y="197"/>
                </a:lnTo>
                <a:lnTo>
                  <a:pt x="121" y="196"/>
                </a:lnTo>
                <a:lnTo>
                  <a:pt x="125" y="182"/>
                </a:lnTo>
                <a:lnTo>
                  <a:pt x="122" y="179"/>
                </a:lnTo>
                <a:lnTo>
                  <a:pt x="114" y="90"/>
                </a:lnTo>
                <a:lnTo>
                  <a:pt x="106" y="0"/>
                </a:lnTo>
                <a:lnTo>
                  <a:pt x="133" y="0"/>
                </a:lnTo>
                <a:lnTo>
                  <a:pt x="193" y="45"/>
                </a:lnTo>
                <a:lnTo>
                  <a:pt x="254" y="90"/>
                </a:lnTo>
                <a:lnTo>
                  <a:pt x="258" y="100"/>
                </a:lnTo>
                <a:lnTo>
                  <a:pt x="270" y="106"/>
                </a:lnTo>
                <a:lnTo>
                  <a:pt x="278" y="109"/>
                </a:lnTo>
                <a:lnTo>
                  <a:pt x="278" y="123"/>
                </a:lnTo>
                <a:lnTo>
                  <a:pt x="298" y="120"/>
                </a:lnTo>
                <a:lnTo>
                  <a:pt x="299" y="168"/>
                </a:lnTo>
                <a:lnTo>
                  <a:pt x="289" y="182"/>
                </a:lnTo>
                <a:lnTo>
                  <a:pt x="287" y="195"/>
                </a:lnTo>
                <a:lnTo>
                  <a:pt x="271" y="198"/>
                </a:lnTo>
                <a:lnTo>
                  <a:pt x="246" y="200"/>
                </a:lnTo>
                <a:lnTo>
                  <a:pt x="240" y="207"/>
                </a:lnTo>
                <a:lnTo>
                  <a:pt x="228" y="208"/>
                </a:lnTo>
                <a:lnTo>
                  <a:pt x="216" y="208"/>
                </a:lnTo>
                <a:lnTo>
                  <a:pt x="212" y="204"/>
                </a:lnTo>
                <a:lnTo>
                  <a:pt x="202" y="207"/>
                </a:lnTo>
                <a:lnTo>
                  <a:pt x="185" y="216"/>
                </a:lnTo>
                <a:lnTo>
                  <a:pt x="182" y="222"/>
                </a:lnTo>
                <a:lnTo>
                  <a:pt x="167" y="232"/>
                </a:lnTo>
                <a:lnTo>
                  <a:pt x="165" y="237"/>
                </a:lnTo>
                <a:lnTo>
                  <a:pt x="157" y="241"/>
                </a:lnTo>
                <a:lnTo>
                  <a:pt x="148" y="238"/>
                </a:lnTo>
                <a:lnTo>
                  <a:pt x="143" y="244"/>
                </a:lnTo>
                <a:lnTo>
                  <a:pt x="140" y="258"/>
                </a:lnTo>
                <a:lnTo>
                  <a:pt x="126" y="275"/>
                </a:lnTo>
                <a:lnTo>
                  <a:pt x="126" y="282"/>
                </a:lnTo>
                <a:lnTo>
                  <a:pt x="121" y="291"/>
                </a:lnTo>
                <a:lnTo>
                  <a:pt x="122" y="303"/>
                </a:lnTo>
                <a:lnTo>
                  <a:pt x="115" y="306"/>
                </a:lnTo>
                <a:lnTo>
                  <a:pt x="111" y="309"/>
                </a:lnTo>
                <a:lnTo>
                  <a:pt x="108" y="300"/>
                </a:lnTo>
                <a:lnTo>
                  <a:pt x="103" y="302"/>
                </a:lnTo>
                <a:lnTo>
                  <a:pt x="99" y="302"/>
                </a:lnTo>
                <a:lnTo>
                  <a:pt x="96" y="308"/>
                </a:lnTo>
                <a:lnTo>
                  <a:pt x="82" y="307"/>
                </a:lnTo>
                <a:lnTo>
                  <a:pt x="77" y="305"/>
                </a:lnTo>
                <a:lnTo>
                  <a:pt x="75" y="306"/>
                </a:lnTo>
                <a:lnTo>
                  <a:pt x="69" y="300"/>
                </a:lnTo>
                <a:lnTo>
                  <a:pt x="70" y="294"/>
                </a:lnTo>
                <a:lnTo>
                  <a:pt x="68" y="292"/>
                </a:lnTo>
                <a:lnTo>
                  <a:pt x="64" y="294"/>
                </a:lnTo>
                <a:lnTo>
                  <a:pt x="65" y="287"/>
                </a:lnTo>
                <a:lnTo>
                  <a:pt x="68" y="282"/>
                </a:lnTo>
                <a:lnTo>
                  <a:pt x="61" y="273"/>
                </a:lnTo>
                <a:lnTo>
                  <a:pt x="59" y="267"/>
                </a:lnTo>
                <a:lnTo>
                  <a:pt x="55" y="263"/>
                </a:lnTo>
                <a:lnTo>
                  <a:pt x="51" y="262"/>
                </a:lnTo>
                <a:lnTo>
                  <a:pt x="47" y="265"/>
                </a:lnTo>
                <a:lnTo>
                  <a:pt x="41" y="268"/>
                </a:lnTo>
                <a:lnTo>
                  <a:pt x="36" y="272"/>
                </a:lnTo>
                <a:lnTo>
                  <a:pt x="28" y="271"/>
                </a:lnTo>
                <a:lnTo>
                  <a:pt x="23" y="265"/>
                </a:lnTo>
                <a:lnTo>
                  <a:pt x="20" y="265"/>
                </a:lnTo>
                <a:lnTo>
                  <a:pt x="15" y="267"/>
                </a:lnTo>
                <a:lnTo>
                  <a:pt x="12" y="267"/>
                </a:lnTo>
                <a:lnTo>
                  <a:pt x="11" y="260"/>
                </a:lnTo>
                <a:lnTo>
                  <a:pt x="12" y="253"/>
                </a:lnTo>
                <a:lnTo>
                  <a:pt x="11" y="245"/>
                </a:lnTo>
                <a:lnTo>
                  <a:pt x="4" y="240"/>
                </a:lnTo>
                <a:lnTo>
                  <a:pt x="0" y="228"/>
                </a:lnTo>
                <a:lnTo>
                  <a:pt x="0" y="215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35" name="Freeform 123"/>
          <p:cNvSpPr>
            <a:spLocks/>
          </p:cNvSpPr>
          <p:nvPr/>
        </p:nvSpPr>
        <p:spPr bwMode="auto">
          <a:xfrm>
            <a:off x="7396219" y="4508055"/>
            <a:ext cx="649162" cy="1920379"/>
          </a:xfrm>
          <a:custGeom>
            <a:avLst/>
            <a:gdLst>
              <a:gd name="T0" fmla="*/ 126 w 160"/>
              <a:gd name="T1" fmla="*/ 178 h 382"/>
              <a:gd name="T2" fmla="*/ 108 w 160"/>
              <a:gd name="T3" fmla="*/ 201 h 382"/>
              <a:gd name="T4" fmla="*/ 112 w 160"/>
              <a:gd name="T5" fmla="*/ 223 h 382"/>
              <a:gd name="T6" fmla="*/ 135 w 160"/>
              <a:gd name="T7" fmla="*/ 252 h 382"/>
              <a:gd name="T8" fmla="*/ 125 w 160"/>
              <a:gd name="T9" fmla="*/ 274 h 382"/>
              <a:gd name="T10" fmla="*/ 144 w 160"/>
              <a:gd name="T11" fmla="*/ 301 h 382"/>
              <a:gd name="T12" fmla="*/ 148 w 160"/>
              <a:gd name="T13" fmla="*/ 322 h 382"/>
              <a:gd name="T14" fmla="*/ 149 w 160"/>
              <a:gd name="T15" fmla="*/ 361 h 382"/>
              <a:gd name="T16" fmla="*/ 139 w 160"/>
              <a:gd name="T17" fmla="*/ 367 h 382"/>
              <a:gd name="T18" fmla="*/ 136 w 160"/>
              <a:gd name="T19" fmla="*/ 338 h 382"/>
              <a:gd name="T20" fmla="*/ 126 w 160"/>
              <a:gd name="T21" fmla="*/ 305 h 382"/>
              <a:gd name="T22" fmla="*/ 112 w 160"/>
              <a:gd name="T23" fmla="*/ 254 h 382"/>
              <a:gd name="T24" fmla="*/ 91 w 160"/>
              <a:gd name="T25" fmla="*/ 247 h 382"/>
              <a:gd name="T26" fmla="*/ 62 w 160"/>
              <a:gd name="T27" fmla="*/ 260 h 382"/>
              <a:gd name="T28" fmla="*/ 53 w 160"/>
              <a:gd name="T29" fmla="*/ 229 h 382"/>
              <a:gd name="T30" fmla="*/ 29 w 160"/>
              <a:gd name="T31" fmla="*/ 186 h 382"/>
              <a:gd name="T32" fmla="*/ 19 w 160"/>
              <a:gd name="T33" fmla="*/ 176 h 382"/>
              <a:gd name="T34" fmla="*/ 0 w 160"/>
              <a:gd name="T35" fmla="*/ 142 h 382"/>
              <a:gd name="T36" fmla="*/ 4 w 160"/>
              <a:gd name="T37" fmla="*/ 131 h 382"/>
              <a:gd name="T38" fmla="*/ 9 w 160"/>
              <a:gd name="T39" fmla="*/ 117 h 382"/>
              <a:gd name="T40" fmla="*/ 9 w 160"/>
              <a:gd name="T41" fmla="*/ 88 h 382"/>
              <a:gd name="T42" fmla="*/ 28 w 160"/>
              <a:gd name="T43" fmla="*/ 76 h 382"/>
              <a:gd name="T44" fmla="*/ 33 w 160"/>
              <a:gd name="T45" fmla="*/ 48 h 382"/>
              <a:gd name="T46" fmla="*/ 50 w 160"/>
              <a:gd name="T47" fmla="*/ 22 h 382"/>
              <a:gd name="T48" fmla="*/ 59 w 160"/>
              <a:gd name="T49" fmla="*/ 13 h 382"/>
              <a:gd name="T50" fmla="*/ 61 w 160"/>
              <a:gd name="T51" fmla="*/ 1 h 382"/>
              <a:gd name="T52" fmla="*/ 80 w 160"/>
              <a:gd name="T53" fmla="*/ 12 h 382"/>
              <a:gd name="T54" fmla="*/ 93 w 160"/>
              <a:gd name="T55" fmla="*/ 33 h 382"/>
              <a:gd name="T56" fmla="*/ 83 w 160"/>
              <a:gd name="T57" fmla="*/ 67 h 382"/>
              <a:gd name="T58" fmla="*/ 104 w 160"/>
              <a:gd name="T59" fmla="*/ 89 h 382"/>
              <a:gd name="T60" fmla="*/ 124 w 160"/>
              <a:gd name="T61" fmla="*/ 112 h 382"/>
              <a:gd name="T62" fmla="*/ 137 w 160"/>
              <a:gd name="T63" fmla="*/ 137 h 382"/>
              <a:gd name="T64" fmla="*/ 158 w 160"/>
              <a:gd name="T65" fmla="*/ 134 h 382"/>
              <a:gd name="T66" fmla="*/ 147 w 160"/>
              <a:gd name="T67" fmla="*/ 156 h 382"/>
              <a:gd name="T68" fmla="*/ 135 w 160"/>
              <a:gd name="T69" fmla="*/ 169 h 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60" h="382">
                <a:moveTo>
                  <a:pt x="135" y="169"/>
                </a:moveTo>
                <a:lnTo>
                  <a:pt x="126" y="178"/>
                </a:lnTo>
                <a:lnTo>
                  <a:pt x="113" y="179"/>
                </a:lnTo>
                <a:lnTo>
                  <a:pt x="108" y="201"/>
                </a:lnTo>
                <a:lnTo>
                  <a:pt x="101" y="205"/>
                </a:lnTo>
                <a:lnTo>
                  <a:pt x="112" y="223"/>
                </a:lnTo>
                <a:lnTo>
                  <a:pt x="126" y="239"/>
                </a:lnTo>
                <a:lnTo>
                  <a:pt x="135" y="252"/>
                </a:lnTo>
                <a:lnTo>
                  <a:pt x="131" y="270"/>
                </a:lnTo>
                <a:lnTo>
                  <a:pt x="125" y="274"/>
                </a:lnTo>
                <a:lnTo>
                  <a:pt x="130" y="285"/>
                </a:lnTo>
                <a:lnTo>
                  <a:pt x="144" y="301"/>
                </a:lnTo>
                <a:lnTo>
                  <a:pt x="147" y="313"/>
                </a:lnTo>
                <a:lnTo>
                  <a:pt x="148" y="322"/>
                </a:lnTo>
                <a:lnTo>
                  <a:pt x="157" y="341"/>
                </a:lnTo>
                <a:lnTo>
                  <a:pt x="149" y="361"/>
                </a:lnTo>
                <a:lnTo>
                  <a:pt x="142" y="382"/>
                </a:lnTo>
                <a:lnTo>
                  <a:pt x="139" y="367"/>
                </a:lnTo>
                <a:lnTo>
                  <a:pt x="143" y="351"/>
                </a:lnTo>
                <a:lnTo>
                  <a:pt x="136" y="338"/>
                </a:lnTo>
                <a:lnTo>
                  <a:pt x="135" y="316"/>
                </a:lnTo>
                <a:lnTo>
                  <a:pt x="126" y="305"/>
                </a:lnTo>
                <a:lnTo>
                  <a:pt x="118" y="280"/>
                </a:lnTo>
                <a:lnTo>
                  <a:pt x="112" y="254"/>
                </a:lnTo>
                <a:lnTo>
                  <a:pt x="102" y="237"/>
                </a:lnTo>
                <a:lnTo>
                  <a:pt x="91" y="247"/>
                </a:lnTo>
                <a:lnTo>
                  <a:pt x="72" y="262"/>
                </a:lnTo>
                <a:lnTo>
                  <a:pt x="62" y="260"/>
                </a:lnTo>
                <a:lnTo>
                  <a:pt x="50" y="255"/>
                </a:lnTo>
                <a:lnTo>
                  <a:pt x="53" y="229"/>
                </a:lnTo>
                <a:lnTo>
                  <a:pt x="46" y="210"/>
                </a:lnTo>
                <a:lnTo>
                  <a:pt x="29" y="186"/>
                </a:lnTo>
                <a:lnTo>
                  <a:pt x="30" y="179"/>
                </a:lnTo>
                <a:lnTo>
                  <a:pt x="19" y="176"/>
                </a:lnTo>
                <a:lnTo>
                  <a:pt x="4" y="159"/>
                </a:lnTo>
                <a:lnTo>
                  <a:pt x="0" y="142"/>
                </a:lnTo>
                <a:lnTo>
                  <a:pt x="7" y="145"/>
                </a:lnTo>
                <a:lnTo>
                  <a:pt x="4" y="131"/>
                </a:lnTo>
                <a:lnTo>
                  <a:pt x="12" y="125"/>
                </a:lnTo>
                <a:lnTo>
                  <a:pt x="9" y="117"/>
                </a:lnTo>
                <a:lnTo>
                  <a:pt x="12" y="110"/>
                </a:lnTo>
                <a:lnTo>
                  <a:pt x="9" y="88"/>
                </a:lnTo>
                <a:lnTo>
                  <a:pt x="23" y="93"/>
                </a:lnTo>
                <a:lnTo>
                  <a:pt x="28" y="76"/>
                </a:lnTo>
                <a:lnTo>
                  <a:pt x="27" y="66"/>
                </a:lnTo>
                <a:lnTo>
                  <a:pt x="33" y="48"/>
                </a:lnTo>
                <a:lnTo>
                  <a:pt x="30" y="36"/>
                </a:lnTo>
                <a:lnTo>
                  <a:pt x="50" y="22"/>
                </a:lnTo>
                <a:lnTo>
                  <a:pt x="64" y="26"/>
                </a:lnTo>
                <a:lnTo>
                  <a:pt x="59" y="13"/>
                </a:lnTo>
                <a:lnTo>
                  <a:pt x="64" y="9"/>
                </a:lnTo>
                <a:lnTo>
                  <a:pt x="61" y="1"/>
                </a:lnTo>
                <a:lnTo>
                  <a:pt x="71" y="0"/>
                </a:lnTo>
                <a:lnTo>
                  <a:pt x="80" y="12"/>
                </a:lnTo>
                <a:lnTo>
                  <a:pt x="89" y="17"/>
                </a:lnTo>
                <a:lnTo>
                  <a:pt x="93" y="33"/>
                </a:lnTo>
                <a:lnTo>
                  <a:pt x="96" y="50"/>
                </a:lnTo>
                <a:lnTo>
                  <a:pt x="83" y="67"/>
                </a:lnTo>
                <a:lnTo>
                  <a:pt x="86" y="92"/>
                </a:lnTo>
                <a:lnTo>
                  <a:pt x="104" y="89"/>
                </a:lnTo>
                <a:lnTo>
                  <a:pt x="112" y="108"/>
                </a:lnTo>
                <a:lnTo>
                  <a:pt x="124" y="112"/>
                </a:lnTo>
                <a:lnTo>
                  <a:pt x="122" y="129"/>
                </a:lnTo>
                <a:lnTo>
                  <a:pt x="137" y="137"/>
                </a:lnTo>
                <a:lnTo>
                  <a:pt x="146" y="141"/>
                </a:lnTo>
                <a:lnTo>
                  <a:pt x="158" y="134"/>
                </a:lnTo>
                <a:lnTo>
                  <a:pt x="160" y="143"/>
                </a:lnTo>
                <a:lnTo>
                  <a:pt x="147" y="156"/>
                </a:lnTo>
                <a:lnTo>
                  <a:pt x="144" y="164"/>
                </a:lnTo>
                <a:lnTo>
                  <a:pt x="135" y="169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36" name="Freeform 124"/>
          <p:cNvSpPr>
            <a:spLocks/>
          </p:cNvSpPr>
          <p:nvPr/>
        </p:nvSpPr>
        <p:spPr bwMode="auto">
          <a:xfrm>
            <a:off x="1906750" y="2929522"/>
            <a:ext cx="125777" cy="170925"/>
          </a:xfrm>
          <a:custGeom>
            <a:avLst/>
            <a:gdLst>
              <a:gd name="T0" fmla="*/ 22 w 31"/>
              <a:gd name="T1" fmla="*/ 21 h 34"/>
              <a:gd name="T2" fmla="*/ 21 w 31"/>
              <a:gd name="T3" fmla="*/ 17 h 34"/>
              <a:gd name="T4" fmla="*/ 15 w 31"/>
              <a:gd name="T5" fmla="*/ 27 h 34"/>
              <a:gd name="T6" fmla="*/ 16 w 31"/>
              <a:gd name="T7" fmla="*/ 34 h 34"/>
              <a:gd name="T8" fmla="*/ 13 w 31"/>
              <a:gd name="T9" fmla="*/ 32 h 34"/>
              <a:gd name="T10" fmla="*/ 7 w 31"/>
              <a:gd name="T11" fmla="*/ 25 h 34"/>
              <a:gd name="T12" fmla="*/ 0 w 31"/>
              <a:gd name="T13" fmla="*/ 21 h 34"/>
              <a:gd name="T14" fmla="*/ 1 w 31"/>
              <a:gd name="T15" fmla="*/ 18 h 34"/>
              <a:gd name="T16" fmla="*/ 3 w 31"/>
              <a:gd name="T17" fmla="*/ 7 h 34"/>
              <a:gd name="T18" fmla="*/ 8 w 31"/>
              <a:gd name="T19" fmla="*/ 2 h 34"/>
              <a:gd name="T20" fmla="*/ 11 w 31"/>
              <a:gd name="T21" fmla="*/ 0 h 34"/>
              <a:gd name="T22" fmla="*/ 16 w 31"/>
              <a:gd name="T23" fmla="*/ 3 h 34"/>
              <a:gd name="T24" fmla="*/ 18 w 31"/>
              <a:gd name="T25" fmla="*/ 6 h 34"/>
              <a:gd name="T26" fmla="*/ 24 w 31"/>
              <a:gd name="T27" fmla="*/ 9 h 34"/>
              <a:gd name="T28" fmla="*/ 31 w 31"/>
              <a:gd name="T29" fmla="*/ 13 h 34"/>
              <a:gd name="T30" fmla="*/ 29 w 31"/>
              <a:gd name="T31" fmla="*/ 14 h 34"/>
              <a:gd name="T32" fmla="*/ 27 w 31"/>
              <a:gd name="T33" fmla="*/ 19 h 34"/>
              <a:gd name="T34" fmla="*/ 22 w 31"/>
              <a:gd name="T35" fmla="*/ 21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1" h="34">
                <a:moveTo>
                  <a:pt x="22" y="21"/>
                </a:moveTo>
                <a:lnTo>
                  <a:pt x="21" y="17"/>
                </a:lnTo>
                <a:lnTo>
                  <a:pt x="15" y="27"/>
                </a:lnTo>
                <a:lnTo>
                  <a:pt x="16" y="34"/>
                </a:lnTo>
                <a:lnTo>
                  <a:pt x="13" y="32"/>
                </a:lnTo>
                <a:lnTo>
                  <a:pt x="7" y="25"/>
                </a:lnTo>
                <a:lnTo>
                  <a:pt x="0" y="21"/>
                </a:lnTo>
                <a:lnTo>
                  <a:pt x="1" y="18"/>
                </a:lnTo>
                <a:lnTo>
                  <a:pt x="3" y="7"/>
                </a:lnTo>
                <a:lnTo>
                  <a:pt x="8" y="2"/>
                </a:lnTo>
                <a:lnTo>
                  <a:pt x="11" y="0"/>
                </a:lnTo>
                <a:lnTo>
                  <a:pt x="16" y="3"/>
                </a:lnTo>
                <a:lnTo>
                  <a:pt x="18" y="6"/>
                </a:lnTo>
                <a:lnTo>
                  <a:pt x="24" y="9"/>
                </a:lnTo>
                <a:lnTo>
                  <a:pt x="31" y="13"/>
                </a:lnTo>
                <a:lnTo>
                  <a:pt x="29" y="14"/>
                </a:lnTo>
                <a:lnTo>
                  <a:pt x="27" y="19"/>
                </a:lnTo>
                <a:lnTo>
                  <a:pt x="22" y="21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37" name="Freeform 125"/>
          <p:cNvSpPr>
            <a:spLocks/>
          </p:cNvSpPr>
          <p:nvPr/>
        </p:nvSpPr>
        <p:spPr bwMode="auto">
          <a:xfrm>
            <a:off x="6365676" y="2059821"/>
            <a:ext cx="2211205" cy="1070787"/>
          </a:xfrm>
          <a:custGeom>
            <a:avLst/>
            <a:gdLst>
              <a:gd name="T0" fmla="*/ 15 w 545"/>
              <a:gd name="T1" fmla="*/ 52 h 213"/>
              <a:gd name="T2" fmla="*/ 57 w 545"/>
              <a:gd name="T3" fmla="*/ 25 h 213"/>
              <a:gd name="T4" fmla="*/ 90 w 545"/>
              <a:gd name="T5" fmla="*/ 31 h 213"/>
              <a:gd name="T6" fmla="*/ 122 w 545"/>
              <a:gd name="T7" fmla="*/ 42 h 213"/>
              <a:gd name="T8" fmla="*/ 156 w 545"/>
              <a:gd name="T9" fmla="*/ 33 h 213"/>
              <a:gd name="T10" fmla="*/ 148 w 545"/>
              <a:gd name="T11" fmla="*/ 0 h 213"/>
              <a:gd name="T12" fmla="*/ 186 w 545"/>
              <a:gd name="T13" fmla="*/ 10 h 213"/>
              <a:gd name="T14" fmla="*/ 219 w 545"/>
              <a:gd name="T15" fmla="*/ 31 h 213"/>
              <a:gd name="T16" fmla="*/ 259 w 545"/>
              <a:gd name="T17" fmla="*/ 35 h 213"/>
              <a:gd name="T18" fmla="*/ 296 w 545"/>
              <a:gd name="T19" fmla="*/ 35 h 213"/>
              <a:gd name="T20" fmla="*/ 333 w 545"/>
              <a:gd name="T21" fmla="*/ 55 h 213"/>
              <a:gd name="T22" fmla="*/ 370 w 545"/>
              <a:gd name="T23" fmla="*/ 59 h 213"/>
              <a:gd name="T24" fmla="*/ 400 w 545"/>
              <a:gd name="T25" fmla="*/ 50 h 213"/>
              <a:gd name="T26" fmla="*/ 426 w 545"/>
              <a:gd name="T27" fmla="*/ 38 h 213"/>
              <a:gd name="T28" fmla="*/ 456 w 545"/>
              <a:gd name="T29" fmla="*/ 43 h 213"/>
              <a:gd name="T30" fmla="*/ 459 w 545"/>
              <a:gd name="T31" fmla="*/ 79 h 213"/>
              <a:gd name="T32" fmla="*/ 476 w 545"/>
              <a:gd name="T33" fmla="*/ 84 h 213"/>
              <a:gd name="T34" fmla="*/ 502 w 545"/>
              <a:gd name="T35" fmla="*/ 80 h 213"/>
              <a:gd name="T36" fmla="*/ 542 w 545"/>
              <a:gd name="T37" fmla="*/ 101 h 213"/>
              <a:gd name="T38" fmla="*/ 530 w 545"/>
              <a:gd name="T39" fmla="*/ 106 h 213"/>
              <a:gd name="T40" fmla="*/ 500 w 545"/>
              <a:gd name="T41" fmla="*/ 114 h 213"/>
              <a:gd name="T42" fmla="*/ 475 w 545"/>
              <a:gd name="T43" fmla="*/ 136 h 213"/>
              <a:gd name="T44" fmla="*/ 445 w 545"/>
              <a:gd name="T45" fmla="*/ 143 h 213"/>
              <a:gd name="T46" fmla="*/ 433 w 545"/>
              <a:gd name="T47" fmla="*/ 154 h 213"/>
              <a:gd name="T48" fmla="*/ 449 w 545"/>
              <a:gd name="T49" fmla="*/ 168 h 213"/>
              <a:gd name="T50" fmla="*/ 434 w 545"/>
              <a:gd name="T51" fmla="*/ 186 h 213"/>
              <a:gd name="T52" fmla="*/ 393 w 545"/>
              <a:gd name="T53" fmla="*/ 194 h 213"/>
              <a:gd name="T54" fmla="*/ 355 w 545"/>
              <a:gd name="T55" fmla="*/ 213 h 213"/>
              <a:gd name="T56" fmla="*/ 324 w 545"/>
              <a:gd name="T57" fmla="*/ 206 h 213"/>
              <a:gd name="T58" fmla="*/ 276 w 545"/>
              <a:gd name="T59" fmla="*/ 191 h 213"/>
              <a:gd name="T60" fmla="*/ 219 w 545"/>
              <a:gd name="T61" fmla="*/ 189 h 213"/>
              <a:gd name="T62" fmla="*/ 186 w 545"/>
              <a:gd name="T63" fmla="*/ 177 h 213"/>
              <a:gd name="T64" fmla="*/ 159 w 545"/>
              <a:gd name="T65" fmla="*/ 156 h 213"/>
              <a:gd name="T66" fmla="*/ 110 w 545"/>
              <a:gd name="T67" fmla="*/ 140 h 213"/>
              <a:gd name="T68" fmla="*/ 79 w 545"/>
              <a:gd name="T69" fmla="*/ 128 h 213"/>
              <a:gd name="T70" fmla="*/ 56 w 545"/>
              <a:gd name="T71" fmla="*/ 88 h 213"/>
              <a:gd name="T72" fmla="*/ 11 w 545"/>
              <a:gd name="T73" fmla="*/ 69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45" h="213">
                <a:moveTo>
                  <a:pt x="0" y="55"/>
                </a:moveTo>
                <a:lnTo>
                  <a:pt x="15" y="52"/>
                </a:lnTo>
                <a:lnTo>
                  <a:pt x="37" y="34"/>
                </a:lnTo>
                <a:lnTo>
                  <a:pt x="57" y="25"/>
                </a:lnTo>
                <a:lnTo>
                  <a:pt x="74" y="31"/>
                </a:lnTo>
                <a:lnTo>
                  <a:pt x="90" y="31"/>
                </a:lnTo>
                <a:lnTo>
                  <a:pt x="106" y="41"/>
                </a:lnTo>
                <a:lnTo>
                  <a:pt x="122" y="42"/>
                </a:lnTo>
                <a:lnTo>
                  <a:pt x="148" y="46"/>
                </a:lnTo>
                <a:lnTo>
                  <a:pt x="156" y="33"/>
                </a:lnTo>
                <a:lnTo>
                  <a:pt x="143" y="21"/>
                </a:lnTo>
                <a:lnTo>
                  <a:pt x="148" y="0"/>
                </a:lnTo>
                <a:lnTo>
                  <a:pt x="170" y="8"/>
                </a:lnTo>
                <a:lnTo>
                  <a:pt x="186" y="10"/>
                </a:lnTo>
                <a:lnTo>
                  <a:pt x="207" y="16"/>
                </a:lnTo>
                <a:lnTo>
                  <a:pt x="219" y="31"/>
                </a:lnTo>
                <a:lnTo>
                  <a:pt x="246" y="39"/>
                </a:lnTo>
                <a:lnTo>
                  <a:pt x="259" y="35"/>
                </a:lnTo>
                <a:lnTo>
                  <a:pt x="278" y="33"/>
                </a:lnTo>
                <a:lnTo>
                  <a:pt x="296" y="35"/>
                </a:lnTo>
                <a:lnTo>
                  <a:pt x="317" y="45"/>
                </a:lnTo>
                <a:lnTo>
                  <a:pt x="333" y="55"/>
                </a:lnTo>
                <a:lnTo>
                  <a:pt x="348" y="55"/>
                </a:lnTo>
                <a:lnTo>
                  <a:pt x="370" y="59"/>
                </a:lnTo>
                <a:lnTo>
                  <a:pt x="381" y="53"/>
                </a:lnTo>
                <a:lnTo>
                  <a:pt x="400" y="50"/>
                </a:lnTo>
                <a:lnTo>
                  <a:pt x="415" y="36"/>
                </a:lnTo>
                <a:lnTo>
                  <a:pt x="426" y="38"/>
                </a:lnTo>
                <a:lnTo>
                  <a:pt x="439" y="45"/>
                </a:lnTo>
                <a:lnTo>
                  <a:pt x="456" y="43"/>
                </a:lnTo>
                <a:lnTo>
                  <a:pt x="458" y="59"/>
                </a:lnTo>
                <a:lnTo>
                  <a:pt x="459" y="79"/>
                </a:lnTo>
                <a:lnTo>
                  <a:pt x="468" y="87"/>
                </a:lnTo>
                <a:lnTo>
                  <a:pt x="476" y="84"/>
                </a:lnTo>
                <a:lnTo>
                  <a:pt x="494" y="88"/>
                </a:lnTo>
                <a:lnTo>
                  <a:pt x="502" y="80"/>
                </a:lnTo>
                <a:lnTo>
                  <a:pt x="519" y="87"/>
                </a:lnTo>
                <a:lnTo>
                  <a:pt x="542" y="101"/>
                </a:lnTo>
                <a:lnTo>
                  <a:pt x="545" y="108"/>
                </a:lnTo>
                <a:lnTo>
                  <a:pt x="530" y="106"/>
                </a:lnTo>
                <a:lnTo>
                  <a:pt x="508" y="109"/>
                </a:lnTo>
                <a:lnTo>
                  <a:pt x="500" y="114"/>
                </a:lnTo>
                <a:lnTo>
                  <a:pt x="496" y="128"/>
                </a:lnTo>
                <a:lnTo>
                  <a:pt x="475" y="136"/>
                </a:lnTo>
                <a:lnTo>
                  <a:pt x="464" y="147"/>
                </a:lnTo>
                <a:lnTo>
                  <a:pt x="445" y="143"/>
                </a:lnTo>
                <a:lnTo>
                  <a:pt x="435" y="141"/>
                </a:lnTo>
                <a:lnTo>
                  <a:pt x="433" y="154"/>
                </a:lnTo>
                <a:lnTo>
                  <a:pt x="443" y="162"/>
                </a:lnTo>
                <a:lnTo>
                  <a:pt x="449" y="168"/>
                </a:lnTo>
                <a:lnTo>
                  <a:pt x="441" y="175"/>
                </a:lnTo>
                <a:lnTo>
                  <a:pt x="434" y="186"/>
                </a:lnTo>
                <a:lnTo>
                  <a:pt x="418" y="194"/>
                </a:lnTo>
                <a:lnTo>
                  <a:pt x="393" y="194"/>
                </a:lnTo>
                <a:lnTo>
                  <a:pt x="370" y="202"/>
                </a:lnTo>
                <a:lnTo>
                  <a:pt x="355" y="213"/>
                </a:lnTo>
                <a:lnTo>
                  <a:pt x="345" y="206"/>
                </a:lnTo>
                <a:lnTo>
                  <a:pt x="324" y="206"/>
                </a:lnTo>
                <a:lnTo>
                  <a:pt x="294" y="194"/>
                </a:lnTo>
                <a:lnTo>
                  <a:pt x="276" y="191"/>
                </a:lnTo>
                <a:lnTo>
                  <a:pt x="255" y="194"/>
                </a:lnTo>
                <a:lnTo>
                  <a:pt x="219" y="189"/>
                </a:lnTo>
                <a:lnTo>
                  <a:pt x="201" y="189"/>
                </a:lnTo>
                <a:lnTo>
                  <a:pt x="186" y="177"/>
                </a:lnTo>
                <a:lnTo>
                  <a:pt x="170" y="158"/>
                </a:lnTo>
                <a:lnTo>
                  <a:pt x="159" y="156"/>
                </a:lnTo>
                <a:lnTo>
                  <a:pt x="133" y="143"/>
                </a:lnTo>
                <a:lnTo>
                  <a:pt x="110" y="140"/>
                </a:lnTo>
                <a:lnTo>
                  <a:pt x="89" y="137"/>
                </a:lnTo>
                <a:lnTo>
                  <a:pt x="79" y="128"/>
                </a:lnTo>
                <a:lnTo>
                  <a:pt x="75" y="104"/>
                </a:lnTo>
                <a:lnTo>
                  <a:pt x="56" y="88"/>
                </a:lnTo>
                <a:lnTo>
                  <a:pt x="29" y="80"/>
                </a:lnTo>
                <a:lnTo>
                  <a:pt x="11" y="69"/>
                </a:lnTo>
                <a:lnTo>
                  <a:pt x="0" y="55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38" name="Freeform 127"/>
          <p:cNvSpPr>
            <a:spLocks/>
          </p:cNvSpPr>
          <p:nvPr/>
        </p:nvSpPr>
        <p:spPr bwMode="auto">
          <a:xfrm>
            <a:off x="-592518" y="4603568"/>
            <a:ext cx="888540" cy="1337225"/>
          </a:xfrm>
          <a:custGeom>
            <a:avLst/>
            <a:gdLst>
              <a:gd name="T0" fmla="*/ 86 w 219"/>
              <a:gd name="T1" fmla="*/ 266 h 266"/>
              <a:gd name="T2" fmla="*/ 74 w 219"/>
              <a:gd name="T3" fmla="*/ 251 h 266"/>
              <a:gd name="T4" fmla="*/ 63 w 219"/>
              <a:gd name="T5" fmla="*/ 236 h 266"/>
              <a:gd name="T6" fmla="*/ 51 w 219"/>
              <a:gd name="T7" fmla="*/ 231 h 266"/>
              <a:gd name="T8" fmla="*/ 43 w 219"/>
              <a:gd name="T9" fmla="*/ 225 h 266"/>
              <a:gd name="T10" fmla="*/ 33 w 219"/>
              <a:gd name="T11" fmla="*/ 225 h 266"/>
              <a:gd name="T12" fmla="*/ 24 w 219"/>
              <a:gd name="T13" fmla="*/ 229 h 266"/>
              <a:gd name="T14" fmla="*/ 15 w 219"/>
              <a:gd name="T15" fmla="*/ 227 h 266"/>
              <a:gd name="T16" fmla="*/ 8 w 219"/>
              <a:gd name="T17" fmla="*/ 234 h 266"/>
              <a:gd name="T18" fmla="*/ 7 w 219"/>
              <a:gd name="T19" fmla="*/ 223 h 266"/>
              <a:gd name="T20" fmla="*/ 12 w 219"/>
              <a:gd name="T21" fmla="*/ 213 h 266"/>
              <a:gd name="T22" fmla="*/ 15 w 219"/>
              <a:gd name="T23" fmla="*/ 193 h 266"/>
              <a:gd name="T24" fmla="*/ 13 w 219"/>
              <a:gd name="T25" fmla="*/ 173 h 266"/>
              <a:gd name="T26" fmla="*/ 11 w 219"/>
              <a:gd name="T27" fmla="*/ 162 h 266"/>
              <a:gd name="T28" fmla="*/ 14 w 219"/>
              <a:gd name="T29" fmla="*/ 152 h 266"/>
              <a:gd name="T30" fmla="*/ 9 w 219"/>
              <a:gd name="T31" fmla="*/ 142 h 266"/>
              <a:gd name="T32" fmla="*/ 0 w 219"/>
              <a:gd name="T33" fmla="*/ 133 h 266"/>
              <a:gd name="T34" fmla="*/ 4 w 219"/>
              <a:gd name="T35" fmla="*/ 126 h 266"/>
              <a:gd name="T36" fmla="*/ 75 w 219"/>
              <a:gd name="T37" fmla="*/ 126 h 266"/>
              <a:gd name="T38" fmla="*/ 72 w 219"/>
              <a:gd name="T39" fmla="*/ 96 h 266"/>
              <a:gd name="T40" fmla="*/ 77 w 219"/>
              <a:gd name="T41" fmla="*/ 86 h 266"/>
              <a:gd name="T42" fmla="*/ 93 w 219"/>
              <a:gd name="T43" fmla="*/ 84 h 266"/>
              <a:gd name="T44" fmla="*/ 94 w 219"/>
              <a:gd name="T45" fmla="*/ 31 h 266"/>
              <a:gd name="T46" fmla="*/ 153 w 219"/>
              <a:gd name="T47" fmla="*/ 32 h 266"/>
              <a:gd name="T48" fmla="*/ 153 w 219"/>
              <a:gd name="T49" fmla="*/ 0 h 266"/>
              <a:gd name="T50" fmla="*/ 219 w 219"/>
              <a:gd name="T51" fmla="*/ 51 h 266"/>
              <a:gd name="T52" fmla="*/ 192 w 219"/>
              <a:gd name="T53" fmla="*/ 51 h 266"/>
              <a:gd name="T54" fmla="*/ 200 w 219"/>
              <a:gd name="T55" fmla="*/ 141 h 266"/>
              <a:gd name="T56" fmla="*/ 208 w 219"/>
              <a:gd name="T57" fmla="*/ 230 h 266"/>
              <a:gd name="T58" fmla="*/ 211 w 219"/>
              <a:gd name="T59" fmla="*/ 233 h 266"/>
              <a:gd name="T60" fmla="*/ 207 w 219"/>
              <a:gd name="T61" fmla="*/ 247 h 266"/>
              <a:gd name="T62" fmla="*/ 134 w 219"/>
              <a:gd name="T63" fmla="*/ 248 h 266"/>
              <a:gd name="T64" fmla="*/ 131 w 219"/>
              <a:gd name="T65" fmla="*/ 252 h 266"/>
              <a:gd name="T66" fmla="*/ 124 w 219"/>
              <a:gd name="T67" fmla="*/ 251 h 266"/>
              <a:gd name="T68" fmla="*/ 114 w 219"/>
              <a:gd name="T69" fmla="*/ 255 h 266"/>
              <a:gd name="T70" fmla="*/ 101 w 219"/>
              <a:gd name="T71" fmla="*/ 249 h 266"/>
              <a:gd name="T72" fmla="*/ 95 w 219"/>
              <a:gd name="T73" fmla="*/ 250 h 266"/>
              <a:gd name="T74" fmla="*/ 92 w 219"/>
              <a:gd name="T75" fmla="*/ 262 h 266"/>
              <a:gd name="T76" fmla="*/ 86 w 219"/>
              <a:gd name="T77" fmla="*/ 266 h 2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19" h="266">
                <a:moveTo>
                  <a:pt x="86" y="266"/>
                </a:moveTo>
                <a:lnTo>
                  <a:pt x="74" y="251"/>
                </a:lnTo>
                <a:lnTo>
                  <a:pt x="63" y="236"/>
                </a:lnTo>
                <a:lnTo>
                  <a:pt x="51" y="231"/>
                </a:lnTo>
                <a:lnTo>
                  <a:pt x="43" y="225"/>
                </a:lnTo>
                <a:lnTo>
                  <a:pt x="33" y="225"/>
                </a:lnTo>
                <a:lnTo>
                  <a:pt x="24" y="229"/>
                </a:lnTo>
                <a:lnTo>
                  <a:pt x="15" y="227"/>
                </a:lnTo>
                <a:lnTo>
                  <a:pt x="8" y="234"/>
                </a:lnTo>
                <a:lnTo>
                  <a:pt x="7" y="223"/>
                </a:lnTo>
                <a:lnTo>
                  <a:pt x="12" y="213"/>
                </a:lnTo>
                <a:lnTo>
                  <a:pt x="15" y="193"/>
                </a:lnTo>
                <a:lnTo>
                  <a:pt x="13" y="173"/>
                </a:lnTo>
                <a:lnTo>
                  <a:pt x="11" y="162"/>
                </a:lnTo>
                <a:lnTo>
                  <a:pt x="14" y="152"/>
                </a:lnTo>
                <a:lnTo>
                  <a:pt x="9" y="142"/>
                </a:lnTo>
                <a:lnTo>
                  <a:pt x="0" y="133"/>
                </a:lnTo>
                <a:lnTo>
                  <a:pt x="4" y="126"/>
                </a:lnTo>
                <a:lnTo>
                  <a:pt x="75" y="126"/>
                </a:lnTo>
                <a:lnTo>
                  <a:pt x="72" y="96"/>
                </a:lnTo>
                <a:lnTo>
                  <a:pt x="77" y="86"/>
                </a:lnTo>
                <a:lnTo>
                  <a:pt x="93" y="84"/>
                </a:lnTo>
                <a:lnTo>
                  <a:pt x="94" y="31"/>
                </a:lnTo>
                <a:lnTo>
                  <a:pt x="153" y="32"/>
                </a:lnTo>
                <a:lnTo>
                  <a:pt x="153" y="0"/>
                </a:lnTo>
                <a:lnTo>
                  <a:pt x="219" y="51"/>
                </a:lnTo>
                <a:lnTo>
                  <a:pt x="192" y="51"/>
                </a:lnTo>
                <a:lnTo>
                  <a:pt x="200" y="141"/>
                </a:lnTo>
                <a:lnTo>
                  <a:pt x="208" y="230"/>
                </a:lnTo>
                <a:lnTo>
                  <a:pt x="211" y="233"/>
                </a:lnTo>
                <a:lnTo>
                  <a:pt x="207" y="247"/>
                </a:lnTo>
                <a:lnTo>
                  <a:pt x="134" y="248"/>
                </a:lnTo>
                <a:lnTo>
                  <a:pt x="131" y="252"/>
                </a:lnTo>
                <a:lnTo>
                  <a:pt x="124" y="251"/>
                </a:lnTo>
                <a:lnTo>
                  <a:pt x="114" y="255"/>
                </a:lnTo>
                <a:lnTo>
                  <a:pt x="101" y="249"/>
                </a:lnTo>
                <a:lnTo>
                  <a:pt x="95" y="250"/>
                </a:lnTo>
                <a:lnTo>
                  <a:pt x="92" y="262"/>
                </a:lnTo>
                <a:lnTo>
                  <a:pt x="86" y="266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39" name="Freeform 132"/>
          <p:cNvSpPr>
            <a:spLocks/>
          </p:cNvSpPr>
          <p:nvPr/>
        </p:nvSpPr>
        <p:spPr bwMode="auto">
          <a:xfrm>
            <a:off x="677403" y="5015797"/>
            <a:ext cx="1140091" cy="1231657"/>
          </a:xfrm>
          <a:custGeom>
            <a:avLst/>
            <a:gdLst>
              <a:gd name="T0" fmla="*/ 34 w 281"/>
              <a:gd name="T1" fmla="*/ 239 h 245"/>
              <a:gd name="T2" fmla="*/ 34 w 281"/>
              <a:gd name="T3" fmla="*/ 225 h 245"/>
              <a:gd name="T4" fmla="*/ 13 w 281"/>
              <a:gd name="T5" fmla="*/ 220 h 245"/>
              <a:gd name="T6" fmla="*/ 12 w 281"/>
              <a:gd name="T7" fmla="*/ 210 h 245"/>
              <a:gd name="T8" fmla="*/ 2 w 281"/>
              <a:gd name="T9" fmla="*/ 197 h 245"/>
              <a:gd name="T10" fmla="*/ 0 w 281"/>
              <a:gd name="T11" fmla="*/ 187 h 245"/>
              <a:gd name="T12" fmla="*/ 1 w 281"/>
              <a:gd name="T13" fmla="*/ 177 h 245"/>
              <a:gd name="T14" fmla="*/ 13 w 281"/>
              <a:gd name="T15" fmla="*/ 176 h 245"/>
              <a:gd name="T16" fmla="*/ 19 w 281"/>
              <a:gd name="T17" fmla="*/ 169 h 245"/>
              <a:gd name="T18" fmla="*/ 44 w 281"/>
              <a:gd name="T19" fmla="*/ 167 h 245"/>
              <a:gd name="T20" fmla="*/ 60 w 281"/>
              <a:gd name="T21" fmla="*/ 164 h 245"/>
              <a:gd name="T22" fmla="*/ 62 w 281"/>
              <a:gd name="T23" fmla="*/ 151 h 245"/>
              <a:gd name="T24" fmla="*/ 72 w 281"/>
              <a:gd name="T25" fmla="*/ 137 h 245"/>
              <a:gd name="T26" fmla="*/ 71 w 281"/>
              <a:gd name="T27" fmla="*/ 89 h 245"/>
              <a:gd name="T28" fmla="*/ 97 w 281"/>
              <a:gd name="T29" fmla="*/ 80 h 245"/>
              <a:gd name="T30" fmla="*/ 149 w 281"/>
              <a:gd name="T31" fmla="*/ 39 h 245"/>
              <a:gd name="T32" fmla="*/ 209 w 281"/>
              <a:gd name="T33" fmla="*/ 0 h 245"/>
              <a:gd name="T34" fmla="*/ 238 w 281"/>
              <a:gd name="T35" fmla="*/ 9 h 245"/>
              <a:gd name="T36" fmla="*/ 248 w 281"/>
              <a:gd name="T37" fmla="*/ 20 h 245"/>
              <a:gd name="T38" fmla="*/ 261 w 281"/>
              <a:gd name="T39" fmla="*/ 12 h 245"/>
              <a:gd name="T40" fmla="*/ 266 w 281"/>
              <a:gd name="T41" fmla="*/ 45 h 245"/>
              <a:gd name="T42" fmla="*/ 273 w 281"/>
              <a:gd name="T43" fmla="*/ 50 h 245"/>
              <a:gd name="T44" fmla="*/ 274 w 281"/>
              <a:gd name="T45" fmla="*/ 57 h 245"/>
              <a:gd name="T46" fmla="*/ 281 w 281"/>
              <a:gd name="T47" fmla="*/ 64 h 245"/>
              <a:gd name="T48" fmla="*/ 278 w 281"/>
              <a:gd name="T49" fmla="*/ 73 h 245"/>
              <a:gd name="T50" fmla="*/ 271 w 281"/>
              <a:gd name="T51" fmla="*/ 115 h 245"/>
              <a:gd name="T52" fmla="*/ 271 w 281"/>
              <a:gd name="T53" fmla="*/ 142 h 245"/>
              <a:gd name="T54" fmla="*/ 248 w 281"/>
              <a:gd name="T55" fmla="*/ 162 h 245"/>
              <a:gd name="T56" fmla="*/ 241 w 281"/>
              <a:gd name="T57" fmla="*/ 189 h 245"/>
              <a:gd name="T58" fmla="*/ 249 w 281"/>
              <a:gd name="T59" fmla="*/ 197 h 245"/>
              <a:gd name="T60" fmla="*/ 249 w 281"/>
              <a:gd name="T61" fmla="*/ 210 h 245"/>
              <a:gd name="T62" fmla="*/ 260 w 281"/>
              <a:gd name="T63" fmla="*/ 210 h 245"/>
              <a:gd name="T64" fmla="*/ 259 w 281"/>
              <a:gd name="T65" fmla="*/ 220 h 245"/>
              <a:gd name="T66" fmla="*/ 254 w 281"/>
              <a:gd name="T67" fmla="*/ 221 h 245"/>
              <a:gd name="T68" fmla="*/ 253 w 281"/>
              <a:gd name="T69" fmla="*/ 228 h 245"/>
              <a:gd name="T70" fmla="*/ 250 w 281"/>
              <a:gd name="T71" fmla="*/ 228 h 245"/>
              <a:gd name="T72" fmla="*/ 237 w 281"/>
              <a:gd name="T73" fmla="*/ 206 h 245"/>
              <a:gd name="T74" fmla="*/ 233 w 281"/>
              <a:gd name="T75" fmla="*/ 205 h 245"/>
              <a:gd name="T76" fmla="*/ 219 w 281"/>
              <a:gd name="T77" fmla="*/ 216 h 245"/>
              <a:gd name="T78" fmla="*/ 205 w 281"/>
              <a:gd name="T79" fmla="*/ 210 h 245"/>
              <a:gd name="T80" fmla="*/ 195 w 281"/>
              <a:gd name="T81" fmla="*/ 209 h 245"/>
              <a:gd name="T82" fmla="*/ 189 w 281"/>
              <a:gd name="T83" fmla="*/ 212 h 245"/>
              <a:gd name="T84" fmla="*/ 179 w 281"/>
              <a:gd name="T85" fmla="*/ 212 h 245"/>
              <a:gd name="T86" fmla="*/ 168 w 281"/>
              <a:gd name="T87" fmla="*/ 220 h 245"/>
              <a:gd name="T88" fmla="*/ 159 w 281"/>
              <a:gd name="T89" fmla="*/ 221 h 245"/>
              <a:gd name="T90" fmla="*/ 137 w 281"/>
              <a:gd name="T91" fmla="*/ 210 h 245"/>
              <a:gd name="T92" fmla="*/ 128 w 281"/>
              <a:gd name="T93" fmla="*/ 215 h 245"/>
              <a:gd name="T94" fmla="*/ 119 w 281"/>
              <a:gd name="T95" fmla="*/ 215 h 245"/>
              <a:gd name="T96" fmla="*/ 112 w 281"/>
              <a:gd name="T97" fmla="*/ 207 h 245"/>
              <a:gd name="T98" fmla="*/ 93 w 281"/>
              <a:gd name="T99" fmla="*/ 199 h 245"/>
              <a:gd name="T100" fmla="*/ 74 w 281"/>
              <a:gd name="T101" fmla="*/ 202 h 245"/>
              <a:gd name="T102" fmla="*/ 69 w 281"/>
              <a:gd name="T103" fmla="*/ 206 h 245"/>
              <a:gd name="T104" fmla="*/ 67 w 281"/>
              <a:gd name="T105" fmla="*/ 218 h 245"/>
              <a:gd name="T106" fmla="*/ 61 w 281"/>
              <a:gd name="T107" fmla="*/ 227 h 245"/>
              <a:gd name="T108" fmla="*/ 60 w 281"/>
              <a:gd name="T109" fmla="*/ 245 h 245"/>
              <a:gd name="T110" fmla="*/ 46 w 281"/>
              <a:gd name="T111" fmla="*/ 233 h 245"/>
              <a:gd name="T112" fmla="*/ 40 w 281"/>
              <a:gd name="T113" fmla="*/ 233 h 245"/>
              <a:gd name="T114" fmla="*/ 34 w 281"/>
              <a:gd name="T115" fmla="*/ 239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81" h="245">
                <a:moveTo>
                  <a:pt x="34" y="239"/>
                </a:moveTo>
                <a:lnTo>
                  <a:pt x="34" y="225"/>
                </a:lnTo>
                <a:lnTo>
                  <a:pt x="13" y="220"/>
                </a:lnTo>
                <a:lnTo>
                  <a:pt x="12" y="210"/>
                </a:lnTo>
                <a:lnTo>
                  <a:pt x="2" y="197"/>
                </a:lnTo>
                <a:lnTo>
                  <a:pt x="0" y="187"/>
                </a:lnTo>
                <a:lnTo>
                  <a:pt x="1" y="177"/>
                </a:lnTo>
                <a:lnTo>
                  <a:pt x="13" y="176"/>
                </a:lnTo>
                <a:lnTo>
                  <a:pt x="19" y="169"/>
                </a:lnTo>
                <a:lnTo>
                  <a:pt x="44" y="167"/>
                </a:lnTo>
                <a:lnTo>
                  <a:pt x="60" y="164"/>
                </a:lnTo>
                <a:lnTo>
                  <a:pt x="62" y="151"/>
                </a:lnTo>
                <a:lnTo>
                  <a:pt x="72" y="137"/>
                </a:lnTo>
                <a:lnTo>
                  <a:pt x="71" y="89"/>
                </a:lnTo>
                <a:lnTo>
                  <a:pt x="97" y="80"/>
                </a:lnTo>
                <a:lnTo>
                  <a:pt x="149" y="39"/>
                </a:lnTo>
                <a:lnTo>
                  <a:pt x="209" y="0"/>
                </a:lnTo>
                <a:lnTo>
                  <a:pt x="238" y="9"/>
                </a:lnTo>
                <a:lnTo>
                  <a:pt x="248" y="20"/>
                </a:lnTo>
                <a:lnTo>
                  <a:pt x="261" y="12"/>
                </a:lnTo>
                <a:lnTo>
                  <a:pt x="266" y="45"/>
                </a:lnTo>
                <a:lnTo>
                  <a:pt x="273" y="50"/>
                </a:lnTo>
                <a:lnTo>
                  <a:pt x="274" y="57"/>
                </a:lnTo>
                <a:lnTo>
                  <a:pt x="281" y="64"/>
                </a:lnTo>
                <a:lnTo>
                  <a:pt x="278" y="73"/>
                </a:lnTo>
                <a:lnTo>
                  <a:pt x="271" y="115"/>
                </a:lnTo>
                <a:lnTo>
                  <a:pt x="271" y="142"/>
                </a:lnTo>
                <a:lnTo>
                  <a:pt x="248" y="162"/>
                </a:lnTo>
                <a:lnTo>
                  <a:pt x="241" y="189"/>
                </a:lnTo>
                <a:lnTo>
                  <a:pt x="249" y="197"/>
                </a:lnTo>
                <a:lnTo>
                  <a:pt x="249" y="210"/>
                </a:lnTo>
                <a:lnTo>
                  <a:pt x="260" y="210"/>
                </a:lnTo>
                <a:lnTo>
                  <a:pt x="259" y="220"/>
                </a:lnTo>
                <a:lnTo>
                  <a:pt x="254" y="221"/>
                </a:lnTo>
                <a:lnTo>
                  <a:pt x="253" y="228"/>
                </a:lnTo>
                <a:lnTo>
                  <a:pt x="250" y="228"/>
                </a:lnTo>
                <a:lnTo>
                  <a:pt x="237" y="206"/>
                </a:lnTo>
                <a:lnTo>
                  <a:pt x="233" y="205"/>
                </a:lnTo>
                <a:lnTo>
                  <a:pt x="219" y="216"/>
                </a:lnTo>
                <a:lnTo>
                  <a:pt x="205" y="210"/>
                </a:lnTo>
                <a:lnTo>
                  <a:pt x="195" y="209"/>
                </a:lnTo>
                <a:lnTo>
                  <a:pt x="189" y="212"/>
                </a:lnTo>
                <a:lnTo>
                  <a:pt x="179" y="212"/>
                </a:lnTo>
                <a:lnTo>
                  <a:pt x="168" y="220"/>
                </a:lnTo>
                <a:lnTo>
                  <a:pt x="159" y="221"/>
                </a:lnTo>
                <a:lnTo>
                  <a:pt x="137" y="210"/>
                </a:lnTo>
                <a:lnTo>
                  <a:pt x="128" y="215"/>
                </a:lnTo>
                <a:lnTo>
                  <a:pt x="119" y="215"/>
                </a:lnTo>
                <a:lnTo>
                  <a:pt x="112" y="207"/>
                </a:lnTo>
                <a:lnTo>
                  <a:pt x="93" y="199"/>
                </a:lnTo>
                <a:lnTo>
                  <a:pt x="74" y="202"/>
                </a:lnTo>
                <a:lnTo>
                  <a:pt x="69" y="206"/>
                </a:lnTo>
                <a:lnTo>
                  <a:pt x="67" y="218"/>
                </a:lnTo>
                <a:lnTo>
                  <a:pt x="61" y="227"/>
                </a:lnTo>
                <a:lnTo>
                  <a:pt x="60" y="245"/>
                </a:lnTo>
                <a:lnTo>
                  <a:pt x="46" y="233"/>
                </a:lnTo>
                <a:lnTo>
                  <a:pt x="40" y="233"/>
                </a:lnTo>
                <a:lnTo>
                  <a:pt x="34" y="239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40" name="Freeform 135"/>
          <p:cNvSpPr>
            <a:spLocks/>
          </p:cNvSpPr>
          <p:nvPr/>
        </p:nvSpPr>
        <p:spPr bwMode="auto">
          <a:xfrm>
            <a:off x="868095" y="1914034"/>
            <a:ext cx="235322" cy="271468"/>
          </a:xfrm>
          <a:custGeom>
            <a:avLst/>
            <a:gdLst>
              <a:gd name="T0" fmla="*/ 42 w 58"/>
              <a:gd name="T1" fmla="*/ 0 h 54"/>
              <a:gd name="T2" fmla="*/ 55 w 58"/>
              <a:gd name="T3" fmla="*/ 0 h 54"/>
              <a:gd name="T4" fmla="*/ 58 w 58"/>
              <a:gd name="T5" fmla="*/ 7 h 54"/>
              <a:gd name="T6" fmla="*/ 55 w 58"/>
              <a:gd name="T7" fmla="*/ 25 h 54"/>
              <a:gd name="T8" fmla="*/ 51 w 58"/>
              <a:gd name="T9" fmla="*/ 33 h 54"/>
              <a:gd name="T10" fmla="*/ 42 w 58"/>
              <a:gd name="T11" fmla="*/ 33 h 54"/>
              <a:gd name="T12" fmla="*/ 45 w 58"/>
              <a:gd name="T13" fmla="*/ 54 h 54"/>
              <a:gd name="T14" fmla="*/ 36 w 58"/>
              <a:gd name="T15" fmla="*/ 49 h 54"/>
              <a:gd name="T16" fmla="*/ 26 w 58"/>
              <a:gd name="T17" fmla="*/ 40 h 54"/>
              <a:gd name="T18" fmla="*/ 11 w 58"/>
              <a:gd name="T19" fmla="*/ 44 h 54"/>
              <a:gd name="T20" fmla="*/ 0 w 58"/>
              <a:gd name="T21" fmla="*/ 43 h 54"/>
              <a:gd name="T22" fmla="*/ 8 w 58"/>
              <a:gd name="T23" fmla="*/ 37 h 54"/>
              <a:gd name="T24" fmla="*/ 21 w 58"/>
              <a:gd name="T25" fmla="*/ 8 h 54"/>
              <a:gd name="T26" fmla="*/ 42 w 58"/>
              <a:gd name="T27" fmla="*/ 0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8" h="54">
                <a:moveTo>
                  <a:pt x="42" y="0"/>
                </a:moveTo>
                <a:lnTo>
                  <a:pt x="55" y="0"/>
                </a:lnTo>
                <a:lnTo>
                  <a:pt x="58" y="7"/>
                </a:lnTo>
                <a:lnTo>
                  <a:pt x="55" y="25"/>
                </a:lnTo>
                <a:lnTo>
                  <a:pt x="51" y="33"/>
                </a:lnTo>
                <a:lnTo>
                  <a:pt x="42" y="33"/>
                </a:lnTo>
                <a:lnTo>
                  <a:pt x="45" y="54"/>
                </a:lnTo>
                <a:lnTo>
                  <a:pt x="36" y="49"/>
                </a:lnTo>
                <a:lnTo>
                  <a:pt x="26" y="40"/>
                </a:lnTo>
                <a:lnTo>
                  <a:pt x="11" y="44"/>
                </a:lnTo>
                <a:lnTo>
                  <a:pt x="0" y="43"/>
                </a:lnTo>
                <a:lnTo>
                  <a:pt x="8" y="37"/>
                </a:lnTo>
                <a:lnTo>
                  <a:pt x="21" y="8"/>
                </a:lnTo>
                <a:lnTo>
                  <a:pt x="42" y="0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41" name="Freeform 136"/>
          <p:cNvSpPr>
            <a:spLocks/>
          </p:cNvSpPr>
          <p:nvPr/>
        </p:nvSpPr>
        <p:spPr bwMode="auto">
          <a:xfrm>
            <a:off x="945184" y="245017"/>
            <a:ext cx="1379466" cy="1211548"/>
          </a:xfrm>
          <a:custGeom>
            <a:avLst/>
            <a:gdLst>
              <a:gd name="T0" fmla="*/ 294 w 340"/>
              <a:gd name="T1" fmla="*/ 0 h 241"/>
              <a:gd name="T2" fmla="*/ 338 w 340"/>
              <a:gd name="T3" fmla="*/ 13 h 241"/>
              <a:gd name="T4" fmla="*/ 322 w 340"/>
              <a:gd name="T5" fmla="*/ 17 h 241"/>
              <a:gd name="T6" fmla="*/ 340 w 340"/>
              <a:gd name="T7" fmla="*/ 28 h 241"/>
              <a:gd name="T8" fmla="*/ 319 w 340"/>
              <a:gd name="T9" fmla="*/ 35 h 241"/>
              <a:gd name="T10" fmla="*/ 309 w 340"/>
              <a:gd name="T11" fmla="*/ 37 h 241"/>
              <a:gd name="T12" fmla="*/ 311 w 340"/>
              <a:gd name="T13" fmla="*/ 24 h 241"/>
              <a:gd name="T14" fmla="*/ 293 w 340"/>
              <a:gd name="T15" fmla="*/ 18 h 241"/>
              <a:gd name="T16" fmla="*/ 274 w 340"/>
              <a:gd name="T17" fmla="*/ 23 h 241"/>
              <a:gd name="T18" fmla="*/ 270 w 340"/>
              <a:gd name="T19" fmla="*/ 36 h 241"/>
              <a:gd name="T20" fmla="*/ 259 w 340"/>
              <a:gd name="T21" fmla="*/ 44 h 241"/>
              <a:gd name="T22" fmla="*/ 244 w 340"/>
              <a:gd name="T23" fmla="*/ 40 h 241"/>
              <a:gd name="T24" fmla="*/ 227 w 340"/>
              <a:gd name="T25" fmla="*/ 40 h 241"/>
              <a:gd name="T26" fmla="*/ 210 w 340"/>
              <a:gd name="T27" fmla="*/ 31 h 241"/>
              <a:gd name="T28" fmla="*/ 203 w 340"/>
              <a:gd name="T29" fmla="*/ 36 h 241"/>
              <a:gd name="T30" fmla="*/ 195 w 340"/>
              <a:gd name="T31" fmla="*/ 37 h 241"/>
              <a:gd name="T32" fmla="*/ 195 w 340"/>
              <a:gd name="T33" fmla="*/ 48 h 241"/>
              <a:gd name="T34" fmla="*/ 170 w 340"/>
              <a:gd name="T35" fmla="*/ 45 h 241"/>
              <a:gd name="T36" fmla="*/ 168 w 340"/>
              <a:gd name="T37" fmla="*/ 55 h 241"/>
              <a:gd name="T38" fmla="*/ 155 w 340"/>
              <a:gd name="T39" fmla="*/ 55 h 241"/>
              <a:gd name="T40" fmla="*/ 148 w 340"/>
              <a:gd name="T41" fmla="*/ 68 h 241"/>
              <a:gd name="T42" fmla="*/ 137 w 340"/>
              <a:gd name="T43" fmla="*/ 88 h 241"/>
              <a:gd name="T44" fmla="*/ 118 w 340"/>
              <a:gd name="T45" fmla="*/ 114 h 241"/>
              <a:gd name="T46" fmla="*/ 124 w 340"/>
              <a:gd name="T47" fmla="*/ 120 h 241"/>
              <a:gd name="T48" fmla="*/ 120 w 340"/>
              <a:gd name="T49" fmla="*/ 127 h 241"/>
              <a:gd name="T50" fmla="*/ 106 w 340"/>
              <a:gd name="T51" fmla="*/ 127 h 241"/>
              <a:gd name="T52" fmla="*/ 98 w 340"/>
              <a:gd name="T53" fmla="*/ 145 h 241"/>
              <a:gd name="T54" fmla="*/ 102 w 340"/>
              <a:gd name="T55" fmla="*/ 170 h 241"/>
              <a:gd name="T56" fmla="*/ 112 w 340"/>
              <a:gd name="T57" fmla="*/ 179 h 241"/>
              <a:gd name="T58" fmla="*/ 109 w 340"/>
              <a:gd name="T59" fmla="*/ 202 h 241"/>
              <a:gd name="T60" fmla="*/ 98 w 340"/>
              <a:gd name="T61" fmla="*/ 215 h 241"/>
              <a:gd name="T62" fmla="*/ 92 w 340"/>
              <a:gd name="T63" fmla="*/ 226 h 241"/>
              <a:gd name="T64" fmla="*/ 81 w 340"/>
              <a:gd name="T65" fmla="*/ 214 h 241"/>
              <a:gd name="T66" fmla="*/ 54 w 340"/>
              <a:gd name="T67" fmla="*/ 237 h 241"/>
              <a:gd name="T68" fmla="*/ 34 w 340"/>
              <a:gd name="T69" fmla="*/ 241 h 241"/>
              <a:gd name="T70" fmla="*/ 13 w 340"/>
              <a:gd name="T71" fmla="*/ 231 h 241"/>
              <a:gd name="T72" fmla="*/ 7 w 340"/>
              <a:gd name="T73" fmla="*/ 211 h 241"/>
              <a:gd name="T74" fmla="*/ 0 w 340"/>
              <a:gd name="T75" fmla="*/ 166 h 241"/>
              <a:gd name="T76" fmla="*/ 13 w 340"/>
              <a:gd name="T77" fmla="*/ 154 h 241"/>
              <a:gd name="T78" fmla="*/ 50 w 340"/>
              <a:gd name="T79" fmla="*/ 139 h 241"/>
              <a:gd name="T80" fmla="*/ 76 w 340"/>
              <a:gd name="T81" fmla="*/ 119 h 241"/>
              <a:gd name="T82" fmla="*/ 99 w 340"/>
              <a:gd name="T83" fmla="*/ 94 h 241"/>
              <a:gd name="T84" fmla="*/ 128 w 340"/>
              <a:gd name="T85" fmla="*/ 59 h 241"/>
              <a:gd name="T86" fmla="*/ 149 w 340"/>
              <a:gd name="T87" fmla="*/ 45 h 241"/>
              <a:gd name="T88" fmla="*/ 182 w 340"/>
              <a:gd name="T89" fmla="*/ 24 h 241"/>
              <a:gd name="T90" fmla="*/ 209 w 340"/>
              <a:gd name="T91" fmla="*/ 16 h 241"/>
              <a:gd name="T92" fmla="*/ 231 w 340"/>
              <a:gd name="T93" fmla="*/ 17 h 241"/>
              <a:gd name="T94" fmla="*/ 247 w 340"/>
              <a:gd name="T95" fmla="*/ 3 h 241"/>
              <a:gd name="T96" fmla="*/ 271 w 340"/>
              <a:gd name="T97" fmla="*/ 3 h 241"/>
              <a:gd name="T98" fmla="*/ 294 w 340"/>
              <a:gd name="T99" fmla="*/ 0 h 2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40" h="241">
                <a:moveTo>
                  <a:pt x="294" y="0"/>
                </a:moveTo>
                <a:lnTo>
                  <a:pt x="338" y="13"/>
                </a:lnTo>
                <a:lnTo>
                  <a:pt x="322" y="17"/>
                </a:lnTo>
                <a:lnTo>
                  <a:pt x="340" y="28"/>
                </a:lnTo>
                <a:lnTo>
                  <a:pt x="319" y="35"/>
                </a:lnTo>
                <a:lnTo>
                  <a:pt x="309" y="37"/>
                </a:lnTo>
                <a:lnTo>
                  <a:pt x="311" y="24"/>
                </a:lnTo>
                <a:lnTo>
                  <a:pt x="293" y="18"/>
                </a:lnTo>
                <a:lnTo>
                  <a:pt x="274" y="23"/>
                </a:lnTo>
                <a:lnTo>
                  <a:pt x="270" y="36"/>
                </a:lnTo>
                <a:lnTo>
                  <a:pt x="259" y="44"/>
                </a:lnTo>
                <a:lnTo>
                  <a:pt x="244" y="40"/>
                </a:lnTo>
                <a:lnTo>
                  <a:pt x="227" y="40"/>
                </a:lnTo>
                <a:lnTo>
                  <a:pt x="210" y="31"/>
                </a:lnTo>
                <a:lnTo>
                  <a:pt x="203" y="36"/>
                </a:lnTo>
                <a:lnTo>
                  <a:pt x="195" y="37"/>
                </a:lnTo>
                <a:lnTo>
                  <a:pt x="195" y="48"/>
                </a:lnTo>
                <a:lnTo>
                  <a:pt x="170" y="45"/>
                </a:lnTo>
                <a:lnTo>
                  <a:pt x="168" y="55"/>
                </a:lnTo>
                <a:lnTo>
                  <a:pt x="155" y="55"/>
                </a:lnTo>
                <a:lnTo>
                  <a:pt x="148" y="68"/>
                </a:lnTo>
                <a:lnTo>
                  <a:pt x="137" y="88"/>
                </a:lnTo>
                <a:lnTo>
                  <a:pt x="118" y="114"/>
                </a:lnTo>
                <a:lnTo>
                  <a:pt x="124" y="120"/>
                </a:lnTo>
                <a:lnTo>
                  <a:pt x="120" y="127"/>
                </a:lnTo>
                <a:lnTo>
                  <a:pt x="106" y="127"/>
                </a:lnTo>
                <a:lnTo>
                  <a:pt x="98" y="145"/>
                </a:lnTo>
                <a:lnTo>
                  <a:pt x="102" y="170"/>
                </a:lnTo>
                <a:lnTo>
                  <a:pt x="112" y="179"/>
                </a:lnTo>
                <a:lnTo>
                  <a:pt x="109" y="202"/>
                </a:lnTo>
                <a:lnTo>
                  <a:pt x="98" y="215"/>
                </a:lnTo>
                <a:lnTo>
                  <a:pt x="92" y="226"/>
                </a:lnTo>
                <a:lnTo>
                  <a:pt x="81" y="214"/>
                </a:lnTo>
                <a:lnTo>
                  <a:pt x="54" y="237"/>
                </a:lnTo>
                <a:lnTo>
                  <a:pt x="34" y="241"/>
                </a:lnTo>
                <a:lnTo>
                  <a:pt x="13" y="231"/>
                </a:lnTo>
                <a:lnTo>
                  <a:pt x="7" y="211"/>
                </a:lnTo>
                <a:lnTo>
                  <a:pt x="0" y="166"/>
                </a:lnTo>
                <a:lnTo>
                  <a:pt x="13" y="154"/>
                </a:lnTo>
                <a:lnTo>
                  <a:pt x="50" y="139"/>
                </a:lnTo>
                <a:lnTo>
                  <a:pt x="76" y="119"/>
                </a:lnTo>
                <a:lnTo>
                  <a:pt x="99" y="94"/>
                </a:lnTo>
                <a:lnTo>
                  <a:pt x="128" y="59"/>
                </a:lnTo>
                <a:lnTo>
                  <a:pt x="149" y="45"/>
                </a:lnTo>
                <a:lnTo>
                  <a:pt x="182" y="24"/>
                </a:lnTo>
                <a:lnTo>
                  <a:pt x="209" y="16"/>
                </a:lnTo>
                <a:lnTo>
                  <a:pt x="231" y="17"/>
                </a:lnTo>
                <a:lnTo>
                  <a:pt x="247" y="3"/>
                </a:lnTo>
                <a:lnTo>
                  <a:pt x="271" y="3"/>
                </a:lnTo>
                <a:lnTo>
                  <a:pt x="294" y="0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42" name="Freeform 140"/>
          <p:cNvSpPr>
            <a:spLocks/>
          </p:cNvSpPr>
          <p:nvPr/>
        </p:nvSpPr>
        <p:spPr bwMode="auto">
          <a:xfrm>
            <a:off x="6398135" y="4291882"/>
            <a:ext cx="616703" cy="417258"/>
          </a:xfrm>
          <a:custGeom>
            <a:avLst/>
            <a:gdLst>
              <a:gd name="T0" fmla="*/ 146 w 152"/>
              <a:gd name="T1" fmla="*/ 52 h 83"/>
              <a:gd name="T2" fmla="*/ 146 w 152"/>
              <a:gd name="T3" fmla="*/ 61 h 83"/>
              <a:gd name="T4" fmla="*/ 152 w 152"/>
              <a:gd name="T5" fmla="*/ 75 h 83"/>
              <a:gd name="T6" fmla="*/ 151 w 152"/>
              <a:gd name="T7" fmla="*/ 83 h 83"/>
              <a:gd name="T8" fmla="*/ 136 w 152"/>
              <a:gd name="T9" fmla="*/ 83 h 83"/>
              <a:gd name="T10" fmla="*/ 114 w 152"/>
              <a:gd name="T11" fmla="*/ 78 h 83"/>
              <a:gd name="T12" fmla="*/ 100 w 152"/>
              <a:gd name="T13" fmla="*/ 76 h 83"/>
              <a:gd name="T14" fmla="*/ 88 w 152"/>
              <a:gd name="T15" fmla="*/ 66 h 83"/>
              <a:gd name="T16" fmla="*/ 63 w 152"/>
              <a:gd name="T17" fmla="*/ 63 h 83"/>
              <a:gd name="T18" fmla="*/ 37 w 152"/>
              <a:gd name="T19" fmla="*/ 51 h 83"/>
              <a:gd name="T20" fmla="*/ 18 w 152"/>
              <a:gd name="T21" fmla="*/ 41 h 83"/>
              <a:gd name="T22" fmla="*/ 0 w 152"/>
              <a:gd name="T23" fmla="*/ 33 h 83"/>
              <a:gd name="T24" fmla="*/ 3 w 152"/>
              <a:gd name="T25" fmla="*/ 14 h 83"/>
              <a:gd name="T26" fmla="*/ 12 w 152"/>
              <a:gd name="T27" fmla="*/ 4 h 83"/>
              <a:gd name="T28" fmla="*/ 18 w 152"/>
              <a:gd name="T29" fmla="*/ 0 h 83"/>
              <a:gd name="T30" fmla="*/ 34 w 152"/>
              <a:gd name="T31" fmla="*/ 6 h 83"/>
              <a:gd name="T32" fmla="*/ 54 w 152"/>
              <a:gd name="T33" fmla="*/ 19 h 83"/>
              <a:gd name="T34" fmla="*/ 65 w 152"/>
              <a:gd name="T35" fmla="*/ 22 h 83"/>
              <a:gd name="T36" fmla="*/ 73 w 152"/>
              <a:gd name="T37" fmla="*/ 32 h 83"/>
              <a:gd name="T38" fmla="*/ 88 w 152"/>
              <a:gd name="T39" fmla="*/ 36 h 83"/>
              <a:gd name="T40" fmla="*/ 104 w 152"/>
              <a:gd name="T41" fmla="*/ 45 h 83"/>
              <a:gd name="T42" fmla="*/ 125 w 152"/>
              <a:gd name="T43" fmla="*/ 50 h 83"/>
              <a:gd name="T44" fmla="*/ 146 w 152"/>
              <a:gd name="T45" fmla="*/ 52 h 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52" h="83">
                <a:moveTo>
                  <a:pt x="146" y="52"/>
                </a:moveTo>
                <a:lnTo>
                  <a:pt x="146" y="61"/>
                </a:lnTo>
                <a:lnTo>
                  <a:pt x="152" y="75"/>
                </a:lnTo>
                <a:lnTo>
                  <a:pt x="151" y="83"/>
                </a:lnTo>
                <a:lnTo>
                  <a:pt x="136" y="83"/>
                </a:lnTo>
                <a:lnTo>
                  <a:pt x="114" y="78"/>
                </a:lnTo>
                <a:lnTo>
                  <a:pt x="100" y="76"/>
                </a:lnTo>
                <a:lnTo>
                  <a:pt x="88" y="66"/>
                </a:lnTo>
                <a:lnTo>
                  <a:pt x="63" y="63"/>
                </a:lnTo>
                <a:lnTo>
                  <a:pt x="37" y="51"/>
                </a:lnTo>
                <a:lnTo>
                  <a:pt x="18" y="41"/>
                </a:lnTo>
                <a:lnTo>
                  <a:pt x="0" y="33"/>
                </a:lnTo>
                <a:lnTo>
                  <a:pt x="3" y="14"/>
                </a:lnTo>
                <a:lnTo>
                  <a:pt x="12" y="4"/>
                </a:lnTo>
                <a:lnTo>
                  <a:pt x="18" y="0"/>
                </a:lnTo>
                <a:lnTo>
                  <a:pt x="34" y="6"/>
                </a:lnTo>
                <a:lnTo>
                  <a:pt x="54" y="19"/>
                </a:lnTo>
                <a:lnTo>
                  <a:pt x="65" y="22"/>
                </a:lnTo>
                <a:lnTo>
                  <a:pt x="73" y="32"/>
                </a:lnTo>
                <a:lnTo>
                  <a:pt x="88" y="36"/>
                </a:lnTo>
                <a:lnTo>
                  <a:pt x="104" y="45"/>
                </a:lnTo>
                <a:lnTo>
                  <a:pt x="125" y="50"/>
                </a:lnTo>
                <a:lnTo>
                  <a:pt x="146" y="52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43" name="Freeform 142"/>
          <p:cNvSpPr>
            <a:spLocks/>
          </p:cNvSpPr>
          <p:nvPr/>
        </p:nvSpPr>
        <p:spPr bwMode="auto">
          <a:xfrm>
            <a:off x="4470937" y="4864981"/>
            <a:ext cx="543673" cy="864672"/>
          </a:xfrm>
          <a:custGeom>
            <a:avLst/>
            <a:gdLst>
              <a:gd name="T0" fmla="*/ 120 w 134"/>
              <a:gd name="T1" fmla="*/ 79 h 172"/>
              <a:gd name="T2" fmla="*/ 114 w 134"/>
              <a:gd name="T3" fmla="*/ 93 h 172"/>
              <a:gd name="T4" fmla="*/ 106 w 134"/>
              <a:gd name="T5" fmla="*/ 92 h 172"/>
              <a:gd name="T6" fmla="*/ 103 w 134"/>
              <a:gd name="T7" fmla="*/ 97 h 172"/>
              <a:gd name="T8" fmla="*/ 101 w 134"/>
              <a:gd name="T9" fmla="*/ 107 h 172"/>
              <a:gd name="T10" fmla="*/ 104 w 134"/>
              <a:gd name="T11" fmla="*/ 121 h 172"/>
              <a:gd name="T12" fmla="*/ 103 w 134"/>
              <a:gd name="T13" fmla="*/ 124 h 172"/>
              <a:gd name="T14" fmla="*/ 95 w 134"/>
              <a:gd name="T15" fmla="*/ 124 h 172"/>
              <a:gd name="T16" fmla="*/ 84 w 134"/>
              <a:gd name="T17" fmla="*/ 132 h 172"/>
              <a:gd name="T18" fmla="*/ 83 w 134"/>
              <a:gd name="T19" fmla="*/ 142 h 172"/>
              <a:gd name="T20" fmla="*/ 79 w 134"/>
              <a:gd name="T21" fmla="*/ 146 h 172"/>
              <a:gd name="T22" fmla="*/ 68 w 134"/>
              <a:gd name="T23" fmla="*/ 146 h 172"/>
              <a:gd name="T24" fmla="*/ 61 w 134"/>
              <a:gd name="T25" fmla="*/ 151 h 172"/>
              <a:gd name="T26" fmla="*/ 62 w 134"/>
              <a:gd name="T27" fmla="*/ 159 h 172"/>
              <a:gd name="T28" fmla="*/ 54 w 134"/>
              <a:gd name="T29" fmla="*/ 165 h 172"/>
              <a:gd name="T30" fmla="*/ 43 w 134"/>
              <a:gd name="T31" fmla="*/ 163 h 172"/>
              <a:gd name="T32" fmla="*/ 32 w 134"/>
              <a:gd name="T33" fmla="*/ 170 h 172"/>
              <a:gd name="T34" fmla="*/ 23 w 134"/>
              <a:gd name="T35" fmla="*/ 172 h 172"/>
              <a:gd name="T36" fmla="*/ 16 w 134"/>
              <a:gd name="T37" fmla="*/ 157 h 172"/>
              <a:gd name="T38" fmla="*/ 0 w 134"/>
              <a:gd name="T39" fmla="*/ 123 h 172"/>
              <a:gd name="T40" fmla="*/ 52 w 134"/>
              <a:gd name="T41" fmla="*/ 102 h 172"/>
              <a:gd name="T42" fmla="*/ 60 w 134"/>
              <a:gd name="T43" fmla="*/ 60 h 172"/>
              <a:gd name="T44" fmla="*/ 51 w 134"/>
              <a:gd name="T45" fmla="*/ 46 h 172"/>
              <a:gd name="T46" fmla="*/ 50 w 134"/>
              <a:gd name="T47" fmla="*/ 37 h 172"/>
              <a:gd name="T48" fmla="*/ 54 w 134"/>
              <a:gd name="T49" fmla="*/ 29 h 172"/>
              <a:gd name="T50" fmla="*/ 54 w 134"/>
              <a:gd name="T51" fmla="*/ 20 h 172"/>
              <a:gd name="T52" fmla="*/ 61 w 134"/>
              <a:gd name="T53" fmla="*/ 16 h 172"/>
              <a:gd name="T54" fmla="*/ 58 w 134"/>
              <a:gd name="T55" fmla="*/ 13 h 172"/>
              <a:gd name="T56" fmla="*/ 57 w 134"/>
              <a:gd name="T57" fmla="*/ 0 h 172"/>
              <a:gd name="T58" fmla="*/ 67 w 134"/>
              <a:gd name="T59" fmla="*/ 0 h 172"/>
              <a:gd name="T60" fmla="*/ 76 w 134"/>
              <a:gd name="T61" fmla="*/ 14 h 172"/>
              <a:gd name="T62" fmla="*/ 87 w 134"/>
              <a:gd name="T63" fmla="*/ 21 h 172"/>
              <a:gd name="T64" fmla="*/ 101 w 134"/>
              <a:gd name="T65" fmla="*/ 24 h 172"/>
              <a:gd name="T66" fmla="*/ 112 w 134"/>
              <a:gd name="T67" fmla="*/ 28 h 172"/>
              <a:gd name="T68" fmla="*/ 121 w 134"/>
              <a:gd name="T69" fmla="*/ 40 h 172"/>
              <a:gd name="T70" fmla="*/ 127 w 134"/>
              <a:gd name="T71" fmla="*/ 47 h 172"/>
              <a:gd name="T72" fmla="*/ 134 w 134"/>
              <a:gd name="T73" fmla="*/ 49 h 172"/>
              <a:gd name="T74" fmla="*/ 134 w 134"/>
              <a:gd name="T75" fmla="*/ 54 h 172"/>
              <a:gd name="T76" fmla="*/ 129 w 134"/>
              <a:gd name="T77" fmla="*/ 66 h 172"/>
              <a:gd name="T78" fmla="*/ 127 w 134"/>
              <a:gd name="T79" fmla="*/ 72 h 172"/>
              <a:gd name="T80" fmla="*/ 120 w 134"/>
              <a:gd name="T81" fmla="*/ 79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34" h="172">
                <a:moveTo>
                  <a:pt x="120" y="79"/>
                </a:moveTo>
                <a:lnTo>
                  <a:pt x="114" y="93"/>
                </a:lnTo>
                <a:lnTo>
                  <a:pt x="106" y="92"/>
                </a:lnTo>
                <a:lnTo>
                  <a:pt x="103" y="97"/>
                </a:lnTo>
                <a:lnTo>
                  <a:pt x="101" y="107"/>
                </a:lnTo>
                <a:lnTo>
                  <a:pt x="104" y="121"/>
                </a:lnTo>
                <a:lnTo>
                  <a:pt x="103" y="124"/>
                </a:lnTo>
                <a:lnTo>
                  <a:pt x="95" y="124"/>
                </a:lnTo>
                <a:lnTo>
                  <a:pt x="84" y="132"/>
                </a:lnTo>
                <a:lnTo>
                  <a:pt x="83" y="142"/>
                </a:lnTo>
                <a:lnTo>
                  <a:pt x="79" y="146"/>
                </a:lnTo>
                <a:lnTo>
                  <a:pt x="68" y="146"/>
                </a:lnTo>
                <a:lnTo>
                  <a:pt x="61" y="151"/>
                </a:lnTo>
                <a:lnTo>
                  <a:pt x="62" y="159"/>
                </a:lnTo>
                <a:lnTo>
                  <a:pt x="54" y="165"/>
                </a:lnTo>
                <a:lnTo>
                  <a:pt x="43" y="163"/>
                </a:lnTo>
                <a:lnTo>
                  <a:pt x="32" y="170"/>
                </a:lnTo>
                <a:lnTo>
                  <a:pt x="23" y="172"/>
                </a:lnTo>
                <a:lnTo>
                  <a:pt x="16" y="157"/>
                </a:lnTo>
                <a:lnTo>
                  <a:pt x="0" y="123"/>
                </a:lnTo>
                <a:lnTo>
                  <a:pt x="52" y="102"/>
                </a:lnTo>
                <a:lnTo>
                  <a:pt x="60" y="60"/>
                </a:lnTo>
                <a:lnTo>
                  <a:pt x="51" y="46"/>
                </a:lnTo>
                <a:lnTo>
                  <a:pt x="50" y="37"/>
                </a:lnTo>
                <a:lnTo>
                  <a:pt x="54" y="29"/>
                </a:lnTo>
                <a:lnTo>
                  <a:pt x="54" y="20"/>
                </a:lnTo>
                <a:lnTo>
                  <a:pt x="61" y="16"/>
                </a:lnTo>
                <a:lnTo>
                  <a:pt x="58" y="13"/>
                </a:lnTo>
                <a:lnTo>
                  <a:pt x="57" y="0"/>
                </a:lnTo>
                <a:lnTo>
                  <a:pt x="67" y="0"/>
                </a:lnTo>
                <a:lnTo>
                  <a:pt x="76" y="14"/>
                </a:lnTo>
                <a:lnTo>
                  <a:pt x="87" y="21"/>
                </a:lnTo>
                <a:lnTo>
                  <a:pt x="101" y="24"/>
                </a:lnTo>
                <a:lnTo>
                  <a:pt x="112" y="28"/>
                </a:lnTo>
                <a:lnTo>
                  <a:pt x="121" y="40"/>
                </a:lnTo>
                <a:lnTo>
                  <a:pt x="127" y="47"/>
                </a:lnTo>
                <a:lnTo>
                  <a:pt x="134" y="49"/>
                </a:lnTo>
                <a:lnTo>
                  <a:pt x="134" y="54"/>
                </a:lnTo>
                <a:lnTo>
                  <a:pt x="129" y="66"/>
                </a:lnTo>
                <a:lnTo>
                  <a:pt x="127" y="72"/>
                </a:lnTo>
                <a:lnTo>
                  <a:pt x="120" y="79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44" name="Freeform 143"/>
          <p:cNvSpPr>
            <a:spLocks/>
          </p:cNvSpPr>
          <p:nvPr/>
        </p:nvSpPr>
        <p:spPr bwMode="auto">
          <a:xfrm>
            <a:off x="5006495" y="3593109"/>
            <a:ext cx="1099517" cy="1397553"/>
          </a:xfrm>
          <a:custGeom>
            <a:avLst/>
            <a:gdLst>
              <a:gd name="T0" fmla="*/ 232 w 271"/>
              <a:gd name="T1" fmla="*/ 9 h 278"/>
              <a:gd name="T2" fmla="*/ 271 w 271"/>
              <a:gd name="T3" fmla="*/ 33 h 278"/>
              <a:gd name="T4" fmla="*/ 241 w 271"/>
              <a:gd name="T5" fmla="*/ 54 h 278"/>
              <a:gd name="T6" fmla="*/ 207 w 271"/>
              <a:gd name="T7" fmla="*/ 58 h 278"/>
              <a:gd name="T8" fmla="*/ 226 w 271"/>
              <a:gd name="T9" fmla="*/ 90 h 278"/>
              <a:gd name="T10" fmla="*/ 230 w 271"/>
              <a:gd name="T11" fmla="*/ 112 h 278"/>
              <a:gd name="T12" fmla="*/ 221 w 271"/>
              <a:gd name="T13" fmla="*/ 148 h 278"/>
              <a:gd name="T14" fmla="*/ 199 w 271"/>
              <a:gd name="T15" fmla="*/ 191 h 278"/>
              <a:gd name="T16" fmla="*/ 162 w 271"/>
              <a:gd name="T17" fmla="*/ 211 h 278"/>
              <a:gd name="T18" fmla="*/ 180 w 271"/>
              <a:gd name="T19" fmla="*/ 236 h 278"/>
              <a:gd name="T20" fmla="*/ 198 w 271"/>
              <a:gd name="T21" fmla="*/ 265 h 278"/>
              <a:gd name="T22" fmla="*/ 149 w 271"/>
              <a:gd name="T23" fmla="*/ 278 h 278"/>
              <a:gd name="T24" fmla="*/ 127 w 271"/>
              <a:gd name="T25" fmla="*/ 258 h 278"/>
              <a:gd name="T26" fmla="*/ 79 w 271"/>
              <a:gd name="T27" fmla="*/ 246 h 278"/>
              <a:gd name="T28" fmla="*/ 25 w 271"/>
              <a:gd name="T29" fmla="*/ 249 h 278"/>
              <a:gd name="T30" fmla="*/ 53 w 271"/>
              <a:gd name="T31" fmla="*/ 214 h 278"/>
              <a:gd name="T32" fmla="*/ 41 w 271"/>
              <a:gd name="T33" fmla="*/ 202 h 278"/>
              <a:gd name="T34" fmla="*/ 19 w 271"/>
              <a:gd name="T35" fmla="*/ 174 h 278"/>
              <a:gd name="T36" fmla="*/ 0 w 271"/>
              <a:gd name="T37" fmla="*/ 151 h 278"/>
              <a:gd name="T38" fmla="*/ 48 w 271"/>
              <a:gd name="T39" fmla="*/ 158 h 278"/>
              <a:gd name="T40" fmla="*/ 62 w 271"/>
              <a:gd name="T41" fmla="*/ 156 h 278"/>
              <a:gd name="T42" fmla="*/ 96 w 271"/>
              <a:gd name="T43" fmla="*/ 150 h 278"/>
              <a:gd name="T44" fmla="*/ 101 w 271"/>
              <a:gd name="T45" fmla="*/ 120 h 278"/>
              <a:gd name="T46" fmla="*/ 115 w 271"/>
              <a:gd name="T47" fmla="*/ 114 h 278"/>
              <a:gd name="T48" fmla="*/ 135 w 271"/>
              <a:gd name="T49" fmla="*/ 114 h 278"/>
              <a:gd name="T50" fmla="*/ 137 w 271"/>
              <a:gd name="T51" fmla="*/ 95 h 278"/>
              <a:gd name="T52" fmla="*/ 152 w 271"/>
              <a:gd name="T53" fmla="*/ 78 h 278"/>
              <a:gd name="T54" fmla="*/ 158 w 271"/>
              <a:gd name="T55" fmla="*/ 65 h 278"/>
              <a:gd name="T56" fmla="*/ 159 w 271"/>
              <a:gd name="T57" fmla="*/ 49 h 278"/>
              <a:gd name="T58" fmla="*/ 161 w 271"/>
              <a:gd name="T59" fmla="*/ 30 h 278"/>
              <a:gd name="T60" fmla="*/ 163 w 271"/>
              <a:gd name="T61" fmla="*/ 12 h 278"/>
              <a:gd name="T62" fmla="*/ 199 w 271"/>
              <a:gd name="T63" fmla="*/ 6 h 278"/>
              <a:gd name="T64" fmla="*/ 216 w 271"/>
              <a:gd name="T65" fmla="*/ 0 h 2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71" h="278">
                <a:moveTo>
                  <a:pt x="216" y="0"/>
                </a:moveTo>
                <a:lnTo>
                  <a:pt x="232" y="9"/>
                </a:lnTo>
                <a:lnTo>
                  <a:pt x="241" y="25"/>
                </a:lnTo>
                <a:lnTo>
                  <a:pt x="271" y="33"/>
                </a:lnTo>
                <a:lnTo>
                  <a:pt x="259" y="51"/>
                </a:lnTo>
                <a:lnTo>
                  <a:pt x="241" y="54"/>
                </a:lnTo>
                <a:lnTo>
                  <a:pt x="213" y="49"/>
                </a:lnTo>
                <a:lnTo>
                  <a:pt x="207" y="58"/>
                </a:lnTo>
                <a:lnTo>
                  <a:pt x="217" y="76"/>
                </a:lnTo>
                <a:lnTo>
                  <a:pt x="226" y="90"/>
                </a:lnTo>
                <a:lnTo>
                  <a:pt x="243" y="100"/>
                </a:lnTo>
                <a:lnTo>
                  <a:pt x="230" y="112"/>
                </a:lnTo>
                <a:lnTo>
                  <a:pt x="234" y="127"/>
                </a:lnTo>
                <a:lnTo>
                  <a:pt x="221" y="148"/>
                </a:lnTo>
                <a:lnTo>
                  <a:pt x="214" y="169"/>
                </a:lnTo>
                <a:lnTo>
                  <a:pt x="199" y="191"/>
                </a:lnTo>
                <a:lnTo>
                  <a:pt x="178" y="189"/>
                </a:lnTo>
                <a:lnTo>
                  <a:pt x="162" y="211"/>
                </a:lnTo>
                <a:lnTo>
                  <a:pt x="176" y="220"/>
                </a:lnTo>
                <a:lnTo>
                  <a:pt x="180" y="236"/>
                </a:lnTo>
                <a:lnTo>
                  <a:pt x="192" y="246"/>
                </a:lnTo>
                <a:lnTo>
                  <a:pt x="198" y="265"/>
                </a:lnTo>
                <a:lnTo>
                  <a:pt x="159" y="264"/>
                </a:lnTo>
                <a:lnTo>
                  <a:pt x="149" y="278"/>
                </a:lnTo>
                <a:lnTo>
                  <a:pt x="135" y="273"/>
                </a:lnTo>
                <a:lnTo>
                  <a:pt x="127" y="258"/>
                </a:lnTo>
                <a:lnTo>
                  <a:pt x="111" y="242"/>
                </a:lnTo>
                <a:lnTo>
                  <a:pt x="79" y="246"/>
                </a:lnTo>
                <a:lnTo>
                  <a:pt x="50" y="246"/>
                </a:lnTo>
                <a:lnTo>
                  <a:pt x="25" y="249"/>
                </a:lnTo>
                <a:lnTo>
                  <a:pt x="29" y="225"/>
                </a:lnTo>
                <a:lnTo>
                  <a:pt x="53" y="214"/>
                </a:lnTo>
                <a:lnTo>
                  <a:pt x="50" y="205"/>
                </a:lnTo>
                <a:lnTo>
                  <a:pt x="41" y="202"/>
                </a:lnTo>
                <a:lnTo>
                  <a:pt x="38" y="183"/>
                </a:lnTo>
                <a:lnTo>
                  <a:pt x="19" y="174"/>
                </a:lnTo>
                <a:lnTo>
                  <a:pt x="10" y="162"/>
                </a:lnTo>
                <a:lnTo>
                  <a:pt x="0" y="151"/>
                </a:lnTo>
                <a:lnTo>
                  <a:pt x="31" y="161"/>
                </a:lnTo>
                <a:lnTo>
                  <a:pt x="48" y="158"/>
                </a:lnTo>
                <a:lnTo>
                  <a:pt x="59" y="161"/>
                </a:lnTo>
                <a:lnTo>
                  <a:pt x="62" y="156"/>
                </a:lnTo>
                <a:lnTo>
                  <a:pt x="75" y="158"/>
                </a:lnTo>
                <a:lnTo>
                  <a:pt x="96" y="150"/>
                </a:lnTo>
                <a:lnTo>
                  <a:pt x="93" y="132"/>
                </a:lnTo>
                <a:lnTo>
                  <a:pt x="101" y="120"/>
                </a:lnTo>
                <a:lnTo>
                  <a:pt x="114" y="120"/>
                </a:lnTo>
                <a:lnTo>
                  <a:pt x="115" y="114"/>
                </a:lnTo>
                <a:lnTo>
                  <a:pt x="128" y="112"/>
                </a:lnTo>
                <a:lnTo>
                  <a:pt x="135" y="114"/>
                </a:lnTo>
                <a:lnTo>
                  <a:pt x="140" y="108"/>
                </a:lnTo>
                <a:lnTo>
                  <a:pt x="137" y="95"/>
                </a:lnTo>
                <a:lnTo>
                  <a:pt x="142" y="83"/>
                </a:lnTo>
                <a:lnTo>
                  <a:pt x="152" y="78"/>
                </a:lnTo>
                <a:lnTo>
                  <a:pt x="142" y="64"/>
                </a:lnTo>
                <a:lnTo>
                  <a:pt x="158" y="65"/>
                </a:lnTo>
                <a:lnTo>
                  <a:pt x="162" y="57"/>
                </a:lnTo>
                <a:lnTo>
                  <a:pt x="159" y="49"/>
                </a:lnTo>
                <a:lnTo>
                  <a:pt x="165" y="41"/>
                </a:lnTo>
                <a:lnTo>
                  <a:pt x="161" y="30"/>
                </a:lnTo>
                <a:lnTo>
                  <a:pt x="155" y="22"/>
                </a:lnTo>
                <a:lnTo>
                  <a:pt x="163" y="12"/>
                </a:lnTo>
                <a:lnTo>
                  <a:pt x="180" y="8"/>
                </a:lnTo>
                <a:lnTo>
                  <a:pt x="199" y="6"/>
                </a:lnTo>
                <a:lnTo>
                  <a:pt x="207" y="2"/>
                </a:lnTo>
                <a:lnTo>
                  <a:pt x="216" y="0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45" name="Freeform 146"/>
          <p:cNvSpPr>
            <a:spLocks noEditPoints="1"/>
          </p:cNvSpPr>
          <p:nvPr/>
        </p:nvSpPr>
        <p:spPr bwMode="auto">
          <a:xfrm>
            <a:off x="9363987" y="5533594"/>
            <a:ext cx="701906" cy="1347280"/>
          </a:xfrm>
          <a:custGeom>
            <a:avLst/>
            <a:gdLst>
              <a:gd name="T0" fmla="*/ 252 w 710"/>
              <a:gd name="T1" fmla="*/ 24 h 1100"/>
              <a:gd name="T2" fmla="*/ 282 w 710"/>
              <a:gd name="T3" fmla="*/ 24 h 1100"/>
              <a:gd name="T4" fmla="*/ 311 w 710"/>
              <a:gd name="T5" fmla="*/ 120 h 1100"/>
              <a:gd name="T6" fmla="*/ 264 w 710"/>
              <a:gd name="T7" fmla="*/ 219 h 1100"/>
              <a:gd name="T8" fmla="*/ 288 w 710"/>
              <a:gd name="T9" fmla="*/ 355 h 1100"/>
              <a:gd name="T10" fmla="*/ 361 w 710"/>
              <a:gd name="T11" fmla="*/ 355 h 1100"/>
              <a:gd name="T12" fmla="*/ 459 w 710"/>
              <a:gd name="T13" fmla="*/ 448 h 1100"/>
              <a:gd name="T14" fmla="*/ 483 w 710"/>
              <a:gd name="T15" fmla="*/ 508 h 1100"/>
              <a:gd name="T16" fmla="*/ 387 w 710"/>
              <a:gd name="T17" fmla="*/ 421 h 1100"/>
              <a:gd name="T18" fmla="*/ 317 w 710"/>
              <a:gd name="T19" fmla="*/ 402 h 1100"/>
              <a:gd name="T20" fmla="*/ 212 w 710"/>
              <a:gd name="T21" fmla="*/ 395 h 1100"/>
              <a:gd name="T22" fmla="*/ 231 w 710"/>
              <a:gd name="T23" fmla="*/ 339 h 1100"/>
              <a:gd name="T24" fmla="*/ 201 w 710"/>
              <a:gd name="T25" fmla="*/ 350 h 1100"/>
              <a:gd name="T26" fmla="*/ 141 w 710"/>
              <a:gd name="T27" fmla="*/ 264 h 1100"/>
              <a:gd name="T28" fmla="*/ 160 w 710"/>
              <a:gd name="T29" fmla="*/ 210 h 1100"/>
              <a:gd name="T30" fmla="*/ 157 w 710"/>
              <a:gd name="T31" fmla="*/ 0 h 1100"/>
              <a:gd name="T32" fmla="*/ 287 w 710"/>
              <a:gd name="T33" fmla="*/ 463 h 1100"/>
              <a:gd name="T34" fmla="*/ 239 w 710"/>
              <a:gd name="T35" fmla="*/ 494 h 1100"/>
              <a:gd name="T36" fmla="*/ 257 w 710"/>
              <a:gd name="T37" fmla="*/ 432 h 1100"/>
              <a:gd name="T38" fmla="*/ 594 w 710"/>
              <a:gd name="T39" fmla="*/ 540 h 1100"/>
              <a:gd name="T40" fmla="*/ 565 w 710"/>
              <a:gd name="T41" fmla="*/ 612 h 1100"/>
              <a:gd name="T42" fmla="*/ 593 w 710"/>
              <a:gd name="T43" fmla="*/ 693 h 1100"/>
              <a:gd name="T44" fmla="*/ 550 w 710"/>
              <a:gd name="T45" fmla="*/ 653 h 1100"/>
              <a:gd name="T46" fmla="*/ 510 w 710"/>
              <a:gd name="T47" fmla="*/ 597 h 1100"/>
              <a:gd name="T48" fmla="*/ 550 w 710"/>
              <a:gd name="T49" fmla="*/ 571 h 1100"/>
              <a:gd name="T50" fmla="*/ 569 w 710"/>
              <a:gd name="T51" fmla="*/ 508 h 1100"/>
              <a:gd name="T52" fmla="*/ 325 w 710"/>
              <a:gd name="T53" fmla="*/ 563 h 1100"/>
              <a:gd name="T54" fmla="*/ 421 w 710"/>
              <a:gd name="T55" fmla="*/ 589 h 1100"/>
              <a:gd name="T56" fmla="*/ 392 w 710"/>
              <a:gd name="T57" fmla="*/ 661 h 1100"/>
              <a:gd name="T58" fmla="*/ 341 w 710"/>
              <a:gd name="T59" fmla="*/ 647 h 1100"/>
              <a:gd name="T60" fmla="*/ 325 w 710"/>
              <a:gd name="T61" fmla="*/ 563 h 1100"/>
              <a:gd name="T62" fmla="*/ 0 w 710"/>
              <a:gd name="T63" fmla="*/ 863 h 1100"/>
              <a:gd name="T64" fmla="*/ 82 w 710"/>
              <a:gd name="T65" fmla="*/ 751 h 1100"/>
              <a:gd name="T66" fmla="*/ 153 w 710"/>
              <a:gd name="T67" fmla="*/ 607 h 1100"/>
              <a:gd name="T68" fmla="*/ 128 w 710"/>
              <a:gd name="T69" fmla="*/ 724 h 1100"/>
              <a:gd name="T70" fmla="*/ 497 w 710"/>
              <a:gd name="T71" fmla="*/ 700 h 1100"/>
              <a:gd name="T72" fmla="*/ 454 w 710"/>
              <a:gd name="T73" fmla="*/ 782 h 1100"/>
              <a:gd name="T74" fmla="*/ 381 w 710"/>
              <a:gd name="T75" fmla="*/ 748 h 1100"/>
              <a:gd name="T76" fmla="*/ 411 w 710"/>
              <a:gd name="T77" fmla="*/ 702 h 1100"/>
              <a:gd name="T78" fmla="*/ 455 w 710"/>
              <a:gd name="T79" fmla="*/ 644 h 1100"/>
              <a:gd name="T80" fmla="*/ 496 w 710"/>
              <a:gd name="T81" fmla="*/ 619 h 1100"/>
              <a:gd name="T82" fmla="*/ 690 w 710"/>
              <a:gd name="T83" fmla="*/ 859 h 1100"/>
              <a:gd name="T84" fmla="*/ 710 w 710"/>
              <a:gd name="T85" fmla="*/ 963 h 1100"/>
              <a:gd name="T86" fmla="*/ 657 w 710"/>
              <a:gd name="T87" fmla="*/ 954 h 1100"/>
              <a:gd name="T88" fmla="*/ 652 w 710"/>
              <a:gd name="T89" fmla="*/ 1060 h 1100"/>
              <a:gd name="T90" fmla="*/ 542 w 710"/>
              <a:gd name="T91" fmla="*/ 1051 h 1100"/>
              <a:gd name="T92" fmla="*/ 537 w 710"/>
              <a:gd name="T93" fmla="*/ 949 h 1100"/>
              <a:gd name="T94" fmla="*/ 466 w 710"/>
              <a:gd name="T95" fmla="*/ 944 h 1100"/>
              <a:gd name="T96" fmla="*/ 378 w 710"/>
              <a:gd name="T97" fmla="*/ 988 h 1100"/>
              <a:gd name="T98" fmla="*/ 388 w 710"/>
              <a:gd name="T99" fmla="*/ 891 h 1100"/>
              <a:gd name="T100" fmla="*/ 472 w 710"/>
              <a:gd name="T101" fmla="*/ 835 h 1100"/>
              <a:gd name="T102" fmla="*/ 557 w 710"/>
              <a:gd name="T103" fmla="*/ 850 h 1100"/>
              <a:gd name="T104" fmla="*/ 619 w 710"/>
              <a:gd name="T105" fmla="*/ 810 h 1100"/>
              <a:gd name="T106" fmla="*/ 673 w 710"/>
              <a:gd name="T107" fmla="*/ 785 h 1100"/>
              <a:gd name="T108" fmla="*/ 690 w 710"/>
              <a:gd name="T109" fmla="*/ 859 h 1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710" h="1100">
                <a:moveTo>
                  <a:pt x="202" y="0"/>
                </a:moveTo>
                <a:lnTo>
                  <a:pt x="252" y="24"/>
                </a:lnTo>
                <a:lnTo>
                  <a:pt x="271" y="2"/>
                </a:lnTo>
                <a:lnTo>
                  <a:pt x="282" y="24"/>
                </a:lnTo>
                <a:lnTo>
                  <a:pt x="276" y="59"/>
                </a:lnTo>
                <a:lnTo>
                  <a:pt x="311" y="120"/>
                </a:lnTo>
                <a:lnTo>
                  <a:pt x="303" y="191"/>
                </a:lnTo>
                <a:lnTo>
                  <a:pt x="264" y="219"/>
                </a:lnTo>
                <a:lnTo>
                  <a:pt x="262" y="288"/>
                </a:lnTo>
                <a:lnTo>
                  <a:pt x="288" y="355"/>
                </a:lnTo>
                <a:lnTo>
                  <a:pt x="329" y="365"/>
                </a:lnTo>
                <a:lnTo>
                  <a:pt x="361" y="355"/>
                </a:lnTo>
                <a:lnTo>
                  <a:pt x="460" y="402"/>
                </a:lnTo>
                <a:lnTo>
                  <a:pt x="459" y="448"/>
                </a:lnTo>
                <a:lnTo>
                  <a:pt x="486" y="469"/>
                </a:lnTo>
                <a:lnTo>
                  <a:pt x="483" y="508"/>
                </a:lnTo>
                <a:lnTo>
                  <a:pt x="420" y="466"/>
                </a:lnTo>
                <a:lnTo>
                  <a:pt x="387" y="421"/>
                </a:lnTo>
                <a:lnTo>
                  <a:pt x="371" y="453"/>
                </a:lnTo>
                <a:lnTo>
                  <a:pt x="317" y="402"/>
                </a:lnTo>
                <a:lnTo>
                  <a:pt x="251" y="414"/>
                </a:lnTo>
                <a:lnTo>
                  <a:pt x="212" y="395"/>
                </a:lnTo>
                <a:lnTo>
                  <a:pt x="211" y="360"/>
                </a:lnTo>
                <a:lnTo>
                  <a:pt x="231" y="339"/>
                </a:lnTo>
                <a:lnTo>
                  <a:pt x="206" y="319"/>
                </a:lnTo>
                <a:lnTo>
                  <a:pt x="201" y="350"/>
                </a:lnTo>
                <a:lnTo>
                  <a:pt x="157" y="301"/>
                </a:lnTo>
                <a:lnTo>
                  <a:pt x="141" y="264"/>
                </a:lnTo>
                <a:lnTo>
                  <a:pt x="126" y="182"/>
                </a:lnTo>
                <a:lnTo>
                  <a:pt x="160" y="210"/>
                </a:lnTo>
                <a:lnTo>
                  <a:pt x="146" y="77"/>
                </a:lnTo>
                <a:lnTo>
                  <a:pt x="157" y="0"/>
                </a:lnTo>
                <a:lnTo>
                  <a:pt x="202" y="0"/>
                </a:lnTo>
                <a:moveTo>
                  <a:pt x="287" y="463"/>
                </a:moveTo>
                <a:lnTo>
                  <a:pt x="276" y="536"/>
                </a:lnTo>
                <a:lnTo>
                  <a:pt x="239" y="494"/>
                </a:lnTo>
                <a:lnTo>
                  <a:pt x="193" y="429"/>
                </a:lnTo>
                <a:lnTo>
                  <a:pt x="257" y="432"/>
                </a:lnTo>
                <a:lnTo>
                  <a:pt x="287" y="463"/>
                </a:lnTo>
                <a:moveTo>
                  <a:pt x="594" y="540"/>
                </a:moveTo>
                <a:lnTo>
                  <a:pt x="625" y="635"/>
                </a:lnTo>
                <a:lnTo>
                  <a:pt x="565" y="612"/>
                </a:lnTo>
                <a:lnTo>
                  <a:pt x="570" y="641"/>
                </a:lnTo>
                <a:lnTo>
                  <a:pt x="593" y="693"/>
                </a:lnTo>
                <a:lnTo>
                  <a:pt x="559" y="712"/>
                </a:lnTo>
                <a:lnTo>
                  <a:pt x="550" y="653"/>
                </a:lnTo>
                <a:lnTo>
                  <a:pt x="527" y="648"/>
                </a:lnTo>
                <a:lnTo>
                  <a:pt x="510" y="597"/>
                </a:lnTo>
                <a:lnTo>
                  <a:pt x="555" y="603"/>
                </a:lnTo>
                <a:lnTo>
                  <a:pt x="550" y="571"/>
                </a:lnTo>
                <a:lnTo>
                  <a:pt x="497" y="506"/>
                </a:lnTo>
                <a:lnTo>
                  <a:pt x="569" y="508"/>
                </a:lnTo>
                <a:lnTo>
                  <a:pt x="594" y="540"/>
                </a:lnTo>
                <a:moveTo>
                  <a:pt x="325" y="563"/>
                </a:moveTo>
                <a:lnTo>
                  <a:pt x="373" y="589"/>
                </a:lnTo>
                <a:lnTo>
                  <a:pt x="421" y="589"/>
                </a:lnTo>
                <a:lnTo>
                  <a:pt x="423" y="625"/>
                </a:lnTo>
                <a:lnTo>
                  <a:pt x="392" y="661"/>
                </a:lnTo>
                <a:lnTo>
                  <a:pt x="347" y="686"/>
                </a:lnTo>
                <a:lnTo>
                  <a:pt x="341" y="647"/>
                </a:lnTo>
                <a:lnTo>
                  <a:pt x="341" y="603"/>
                </a:lnTo>
                <a:lnTo>
                  <a:pt x="325" y="563"/>
                </a:lnTo>
                <a:moveTo>
                  <a:pt x="94" y="782"/>
                </a:moveTo>
                <a:lnTo>
                  <a:pt x="0" y="863"/>
                </a:lnTo>
                <a:lnTo>
                  <a:pt x="32" y="803"/>
                </a:lnTo>
                <a:lnTo>
                  <a:pt x="82" y="751"/>
                </a:lnTo>
                <a:lnTo>
                  <a:pt x="122" y="692"/>
                </a:lnTo>
                <a:lnTo>
                  <a:pt x="153" y="607"/>
                </a:lnTo>
                <a:lnTo>
                  <a:pt x="173" y="677"/>
                </a:lnTo>
                <a:lnTo>
                  <a:pt x="128" y="724"/>
                </a:lnTo>
                <a:lnTo>
                  <a:pt x="94" y="782"/>
                </a:lnTo>
                <a:moveTo>
                  <a:pt x="497" y="700"/>
                </a:moveTo>
                <a:lnTo>
                  <a:pt x="473" y="728"/>
                </a:lnTo>
                <a:lnTo>
                  <a:pt x="454" y="782"/>
                </a:lnTo>
                <a:lnTo>
                  <a:pt x="433" y="807"/>
                </a:lnTo>
                <a:lnTo>
                  <a:pt x="381" y="748"/>
                </a:lnTo>
                <a:lnTo>
                  <a:pt x="395" y="726"/>
                </a:lnTo>
                <a:lnTo>
                  <a:pt x="411" y="702"/>
                </a:lnTo>
                <a:lnTo>
                  <a:pt x="414" y="649"/>
                </a:lnTo>
                <a:lnTo>
                  <a:pt x="455" y="644"/>
                </a:lnTo>
                <a:lnTo>
                  <a:pt x="449" y="701"/>
                </a:lnTo>
                <a:lnTo>
                  <a:pt x="496" y="619"/>
                </a:lnTo>
                <a:lnTo>
                  <a:pt x="497" y="700"/>
                </a:lnTo>
                <a:moveTo>
                  <a:pt x="690" y="859"/>
                </a:moveTo>
                <a:lnTo>
                  <a:pt x="702" y="916"/>
                </a:lnTo>
                <a:lnTo>
                  <a:pt x="710" y="963"/>
                </a:lnTo>
                <a:lnTo>
                  <a:pt x="690" y="1041"/>
                </a:lnTo>
                <a:lnTo>
                  <a:pt x="657" y="954"/>
                </a:lnTo>
                <a:lnTo>
                  <a:pt x="624" y="998"/>
                </a:lnTo>
                <a:lnTo>
                  <a:pt x="652" y="1060"/>
                </a:lnTo>
                <a:lnTo>
                  <a:pt x="633" y="1100"/>
                </a:lnTo>
                <a:lnTo>
                  <a:pt x="542" y="1051"/>
                </a:lnTo>
                <a:lnTo>
                  <a:pt x="517" y="989"/>
                </a:lnTo>
                <a:lnTo>
                  <a:pt x="537" y="949"/>
                </a:lnTo>
                <a:lnTo>
                  <a:pt x="487" y="908"/>
                </a:lnTo>
                <a:lnTo>
                  <a:pt x="466" y="944"/>
                </a:lnTo>
                <a:lnTo>
                  <a:pt x="430" y="940"/>
                </a:lnTo>
                <a:lnTo>
                  <a:pt x="378" y="988"/>
                </a:lnTo>
                <a:lnTo>
                  <a:pt x="364" y="963"/>
                </a:lnTo>
                <a:lnTo>
                  <a:pt x="388" y="891"/>
                </a:lnTo>
                <a:lnTo>
                  <a:pt x="433" y="867"/>
                </a:lnTo>
                <a:lnTo>
                  <a:pt x="472" y="835"/>
                </a:lnTo>
                <a:lnTo>
                  <a:pt x="501" y="874"/>
                </a:lnTo>
                <a:lnTo>
                  <a:pt x="557" y="850"/>
                </a:lnTo>
                <a:lnTo>
                  <a:pt x="566" y="812"/>
                </a:lnTo>
                <a:lnTo>
                  <a:pt x="619" y="810"/>
                </a:lnTo>
                <a:lnTo>
                  <a:pt x="608" y="744"/>
                </a:lnTo>
                <a:lnTo>
                  <a:pt x="673" y="785"/>
                </a:lnTo>
                <a:lnTo>
                  <a:pt x="683" y="828"/>
                </a:lnTo>
                <a:lnTo>
                  <a:pt x="690" y="859"/>
                </a:lnTo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46" name="Freeform 151"/>
          <p:cNvSpPr>
            <a:spLocks/>
          </p:cNvSpPr>
          <p:nvPr/>
        </p:nvSpPr>
        <p:spPr bwMode="auto">
          <a:xfrm>
            <a:off x="1545658" y="1778302"/>
            <a:ext cx="657274" cy="588179"/>
          </a:xfrm>
          <a:custGeom>
            <a:avLst/>
            <a:gdLst>
              <a:gd name="T0" fmla="*/ 18 w 162"/>
              <a:gd name="T1" fmla="*/ 75 h 117"/>
              <a:gd name="T2" fmla="*/ 11 w 162"/>
              <a:gd name="T3" fmla="*/ 62 h 117"/>
              <a:gd name="T4" fmla="*/ 11 w 162"/>
              <a:gd name="T5" fmla="*/ 55 h 117"/>
              <a:gd name="T6" fmla="*/ 6 w 162"/>
              <a:gd name="T7" fmla="*/ 44 h 117"/>
              <a:gd name="T8" fmla="*/ 0 w 162"/>
              <a:gd name="T9" fmla="*/ 37 h 117"/>
              <a:gd name="T10" fmla="*/ 4 w 162"/>
              <a:gd name="T11" fmla="*/ 32 h 117"/>
              <a:gd name="T12" fmla="*/ 0 w 162"/>
              <a:gd name="T13" fmla="*/ 22 h 117"/>
              <a:gd name="T14" fmla="*/ 10 w 162"/>
              <a:gd name="T15" fmla="*/ 16 h 117"/>
              <a:gd name="T16" fmla="*/ 33 w 162"/>
              <a:gd name="T17" fmla="*/ 7 h 117"/>
              <a:gd name="T18" fmla="*/ 52 w 162"/>
              <a:gd name="T19" fmla="*/ 0 h 117"/>
              <a:gd name="T20" fmla="*/ 67 w 162"/>
              <a:gd name="T21" fmla="*/ 3 h 117"/>
              <a:gd name="T22" fmla="*/ 69 w 162"/>
              <a:gd name="T23" fmla="*/ 8 h 117"/>
              <a:gd name="T24" fmla="*/ 84 w 162"/>
              <a:gd name="T25" fmla="*/ 8 h 117"/>
              <a:gd name="T26" fmla="*/ 103 w 162"/>
              <a:gd name="T27" fmla="*/ 10 h 117"/>
              <a:gd name="T28" fmla="*/ 132 w 162"/>
              <a:gd name="T29" fmla="*/ 10 h 117"/>
              <a:gd name="T30" fmla="*/ 140 w 162"/>
              <a:gd name="T31" fmla="*/ 12 h 117"/>
              <a:gd name="T32" fmla="*/ 145 w 162"/>
              <a:gd name="T33" fmla="*/ 18 h 117"/>
              <a:gd name="T34" fmla="*/ 147 w 162"/>
              <a:gd name="T35" fmla="*/ 27 h 117"/>
              <a:gd name="T36" fmla="*/ 152 w 162"/>
              <a:gd name="T37" fmla="*/ 35 h 117"/>
              <a:gd name="T38" fmla="*/ 153 w 162"/>
              <a:gd name="T39" fmla="*/ 43 h 117"/>
              <a:gd name="T40" fmla="*/ 144 w 162"/>
              <a:gd name="T41" fmla="*/ 47 h 117"/>
              <a:gd name="T42" fmla="*/ 150 w 162"/>
              <a:gd name="T43" fmla="*/ 56 h 117"/>
              <a:gd name="T44" fmla="*/ 152 w 162"/>
              <a:gd name="T45" fmla="*/ 65 h 117"/>
              <a:gd name="T46" fmla="*/ 162 w 162"/>
              <a:gd name="T47" fmla="*/ 83 h 117"/>
              <a:gd name="T48" fmla="*/ 161 w 162"/>
              <a:gd name="T49" fmla="*/ 89 h 117"/>
              <a:gd name="T50" fmla="*/ 154 w 162"/>
              <a:gd name="T51" fmla="*/ 91 h 117"/>
              <a:gd name="T52" fmla="*/ 141 w 162"/>
              <a:gd name="T53" fmla="*/ 108 h 117"/>
              <a:gd name="T54" fmla="*/ 146 w 162"/>
              <a:gd name="T55" fmla="*/ 117 h 117"/>
              <a:gd name="T56" fmla="*/ 143 w 162"/>
              <a:gd name="T57" fmla="*/ 116 h 117"/>
              <a:gd name="T58" fmla="*/ 127 w 162"/>
              <a:gd name="T59" fmla="*/ 108 h 117"/>
              <a:gd name="T60" fmla="*/ 115 w 162"/>
              <a:gd name="T61" fmla="*/ 110 h 117"/>
              <a:gd name="T62" fmla="*/ 107 w 162"/>
              <a:gd name="T63" fmla="*/ 109 h 117"/>
              <a:gd name="T64" fmla="*/ 98 w 162"/>
              <a:gd name="T65" fmla="*/ 113 h 117"/>
              <a:gd name="T66" fmla="*/ 90 w 162"/>
              <a:gd name="T67" fmla="*/ 106 h 117"/>
              <a:gd name="T68" fmla="*/ 83 w 162"/>
              <a:gd name="T69" fmla="*/ 109 h 117"/>
              <a:gd name="T70" fmla="*/ 82 w 162"/>
              <a:gd name="T71" fmla="*/ 107 h 117"/>
              <a:gd name="T72" fmla="*/ 74 w 162"/>
              <a:gd name="T73" fmla="*/ 97 h 117"/>
              <a:gd name="T74" fmla="*/ 62 w 162"/>
              <a:gd name="T75" fmla="*/ 96 h 117"/>
              <a:gd name="T76" fmla="*/ 60 w 162"/>
              <a:gd name="T77" fmla="*/ 90 h 117"/>
              <a:gd name="T78" fmla="*/ 49 w 162"/>
              <a:gd name="T79" fmla="*/ 88 h 117"/>
              <a:gd name="T80" fmla="*/ 47 w 162"/>
              <a:gd name="T81" fmla="*/ 93 h 117"/>
              <a:gd name="T82" fmla="*/ 38 w 162"/>
              <a:gd name="T83" fmla="*/ 89 h 117"/>
              <a:gd name="T84" fmla="*/ 38 w 162"/>
              <a:gd name="T85" fmla="*/ 83 h 117"/>
              <a:gd name="T86" fmla="*/ 26 w 162"/>
              <a:gd name="T87" fmla="*/ 81 h 117"/>
              <a:gd name="T88" fmla="*/ 18 w 162"/>
              <a:gd name="T89" fmla="*/ 75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62" h="117">
                <a:moveTo>
                  <a:pt x="18" y="75"/>
                </a:moveTo>
                <a:lnTo>
                  <a:pt x="11" y="62"/>
                </a:lnTo>
                <a:lnTo>
                  <a:pt x="11" y="55"/>
                </a:lnTo>
                <a:lnTo>
                  <a:pt x="6" y="44"/>
                </a:lnTo>
                <a:lnTo>
                  <a:pt x="0" y="37"/>
                </a:lnTo>
                <a:lnTo>
                  <a:pt x="4" y="32"/>
                </a:lnTo>
                <a:lnTo>
                  <a:pt x="0" y="22"/>
                </a:lnTo>
                <a:lnTo>
                  <a:pt x="10" y="16"/>
                </a:lnTo>
                <a:lnTo>
                  <a:pt x="33" y="7"/>
                </a:lnTo>
                <a:lnTo>
                  <a:pt x="52" y="0"/>
                </a:lnTo>
                <a:lnTo>
                  <a:pt x="67" y="3"/>
                </a:lnTo>
                <a:lnTo>
                  <a:pt x="69" y="8"/>
                </a:lnTo>
                <a:lnTo>
                  <a:pt x="84" y="8"/>
                </a:lnTo>
                <a:lnTo>
                  <a:pt x="103" y="10"/>
                </a:lnTo>
                <a:lnTo>
                  <a:pt x="132" y="10"/>
                </a:lnTo>
                <a:lnTo>
                  <a:pt x="140" y="12"/>
                </a:lnTo>
                <a:lnTo>
                  <a:pt x="145" y="18"/>
                </a:lnTo>
                <a:lnTo>
                  <a:pt x="147" y="27"/>
                </a:lnTo>
                <a:lnTo>
                  <a:pt x="152" y="35"/>
                </a:lnTo>
                <a:lnTo>
                  <a:pt x="153" y="43"/>
                </a:lnTo>
                <a:lnTo>
                  <a:pt x="144" y="47"/>
                </a:lnTo>
                <a:lnTo>
                  <a:pt x="150" y="56"/>
                </a:lnTo>
                <a:lnTo>
                  <a:pt x="152" y="65"/>
                </a:lnTo>
                <a:lnTo>
                  <a:pt x="162" y="83"/>
                </a:lnTo>
                <a:lnTo>
                  <a:pt x="161" y="89"/>
                </a:lnTo>
                <a:lnTo>
                  <a:pt x="154" y="91"/>
                </a:lnTo>
                <a:lnTo>
                  <a:pt x="141" y="108"/>
                </a:lnTo>
                <a:lnTo>
                  <a:pt x="146" y="117"/>
                </a:lnTo>
                <a:lnTo>
                  <a:pt x="143" y="116"/>
                </a:lnTo>
                <a:lnTo>
                  <a:pt x="127" y="108"/>
                </a:lnTo>
                <a:lnTo>
                  <a:pt x="115" y="110"/>
                </a:lnTo>
                <a:lnTo>
                  <a:pt x="107" y="109"/>
                </a:lnTo>
                <a:lnTo>
                  <a:pt x="98" y="113"/>
                </a:lnTo>
                <a:lnTo>
                  <a:pt x="90" y="106"/>
                </a:lnTo>
                <a:lnTo>
                  <a:pt x="83" y="109"/>
                </a:lnTo>
                <a:lnTo>
                  <a:pt x="82" y="107"/>
                </a:lnTo>
                <a:lnTo>
                  <a:pt x="74" y="97"/>
                </a:lnTo>
                <a:lnTo>
                  <a:pt x="62" y="96"/>
                </a:lnTo>
                <a:lnTo>
                  <a:pt x="60" y="90"/>
                </a:lnTo>
                <a:lnTo>
                  <a:pt x="49" y="88"/>
                </a:lnTo>
                <a:lnTo>
                  <a:pt x="47" y="93"/>
                </a:lnTo>
                <a:lnTo>
                  <a:pt x="38" y="89"/>
                </a:lnTo>
                <a:lnTo>
                  <a:pt x="38" y="83"/>
                </a:lnTo>
                <a:lnTo>
                  <a:pt x="26" y="81"/>
                </a:lnTo>
                <a:lnTo>
                  <a:pt x="18" y="75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47" name="Freeform 153"/>
          <p:cNvSpPr>
            <a:spLocks/>
          </p:cNvSpPr>
          <p:nvPr/>
        </p:nvSpPr>
        <p:spPr bwMode="auto">
          <a:xfrm>
            <a:off x="9189525" y="2984821"/>
            <a:ext cx="344866" cy="552990"/>
          </a:xfrm>
          <a:custGeom>
            <a:avLst/>
            <a:gdLst>
              <a:gd name="T0" fmla="*/ 81 w 85"/>
              <a:gd name="T1" fmla="*/ 12 h 110"/>
              <a:gd name="T2" fmla="*/ 85 w 85"/>
              <a:gd name="T3" fmla="*/ 16 h 110"/>
              <a:gd name="T4" fmla="*/ 78 w 85"/>
              <a:gd name="T5" fmla="*/ 14 h 110"/>
              <a:gd name="T6" fmla="*/ 75 w 85"/>
              <a:gd name="T7" fmla="*/ 21 h 110"/>
              <a:gd name="T8" fmla="*/ 74 w 85"/>
              <a:gd name="T9" fmla="*/ 28 h 110"/>
              <a:gd name="T10" fmla="*/ 82 w 85"/>
              <a:gd name="T11" fmla="*/ 43 h 110"/>
              <a:gd name="T12" fmla="*/ 76 w 85"/>
              <a:gd name="T13" fmla="*/ 48 h 110"/>
              <a:gd name="T14" fmla="*/ 75 w 85"/>
              <a:gd name="T15" fmla="*/ 52 h 110"/>
              <a:gd name="T16" fmla="*/ 72 w 85"/>
              <a:gd name="T17" fmla="*/ 58 h 110"/>
              <a:gd name="T18" fmla="*/ 62 w 85"/>
              <a:gd name="T19" fmla="*/ 61 h 110"/>
              <a:gd name="T20" fmla="*/ 58 w 85"/>
              <a:gd name="T21" fmla="*/ 66 h 110"/>
              <a:gd name="T22" fmla="*/ 61 w 85"/>
              <a:gd name="T23" fmla="*/ 75 h 110"/>
              <a:gd name="T24" fmla="*/ 61 w 85"/>
              <a:gd name="T25" fmla="*/ 78 h 110"/>
              <a:gd name="T26" fmla="*/ 69 w 85"/>
              <a:gd name="T27" fmla="*/ 81 h 110"/>
              <a:gd name="T28" fmla="*/ 83 w 85"/>
              <a:gd name="T29" fmla="*/ 90 h 110"/>
              <a:gd name="T30" fmla="*/ 83 w 85"/>
              <a:gd name="T31" fmla="*/ 95 h 110"/>
              <a:gd name="T32" fmla="*/ 76 w 85"/>
              <a:gd name="T33" fmla="*/ 96 h 110"/>
              <a:gd name="T34" fmla="*/ 65 w 85"/>
              <a:gd name="T35" fmla="*/ 97 h 110"/>
              <a:gd name="T36" fmla="*/ 62 w 85"/>
              <a:gd name="T37" fmla="*/ 107 h 110"/>
              <a:gd name="T38" fmla="*/ 55 w 85"/>
              <a:gd name="T39" fmla="*/ 106 h 110"/>
              <a:gd name="T40" fmla="*/ 54 w 85"/>
              <a:gd name="T41" fmla="*/ 108 h 110"/>
              <a:gd name="T42" fmla="*/ 44 w 85"/>
              <a:gd name="T43" fmla="*/ 104 h 110"/>
              <a:gd name="T44" fmla="*/ 44 w 85"/>
              <a:gd name="T45" fmla="*/ 108 h 110"/>
              <a:gd name="T46" fmla="*/ 40 w 85"/>
              <a:gd name="T47" fmla="*/ 110 h 110"/>
              <a:gd name="T48" fmla="*/ 37 w 85"/>
              <a:gd name="T49" fmla="*/ 106 h 110"/>
              <a:gd name="T50" fmla="*/ 32 w 85"/>
              <a:gd name="T51" fmla="*/ 104 h 110"/>
              <a:gd name="T52" fmla="*/ 26 w 85"/>
              <a:gd name="T53" fmla="*/ 100 h 110"/>
              <a:gd name="T54" fmla="*/ 26 w 85"/>
              <a:gd name="T55" fmla="*/ 91 h 110"/>
              <a:gd name="T56" fmla="*/ 29 w 85"/>
              <a:gd name="T57" fmla="*/ 89 h 110"/>
              <a:gd name="T58" fmla="*/ 26 w 85"/>
              <a:gd name="T59" fmla="*/ 85 h 110"/>
              <a:gd name="T60" fmla="*/ 25 w 85"/>
              <a:gd name="T61" fmla="*/ 74 h 110"/>
              <a:gd name="T62" fmla="*/ 22 w 85"/>
              <a:gd name="T63" fmla="*/ 71 h 110"/>
              <a:gd name="T64" fmla="*/ 11 w 85"/>
              <a:gd name="T65" fmla="*/ 68 h 110"/>
              <a:gd name="T66" fmla="*/ 0 w 85"/>
              <a:gd name="T67" fmla="*/ 63 h 110"/>
              <a:gd name="T68" fmla="*/ 8 w 85"/>
              <a:gd name="T69" fmla="*/ 50 h 110"/>
              <a:gd name="T70" fmla="*/ 20 w 85"/>
              <a:gd name="T71" fmla="*/ 39 h 110"/>
              <a:gd name="T72" fmla="*/ 24 w 85"/>
              <a:gd name="T73" fmla="*/ 24 h 110"/>
              <a:gd name="T74" fmla="*/ 36 w 85"/>
              <a:gd name="T75" fmla="*/ 31 h 110"/>
              <a:gd name="T76" fmla="*/ 51 w 85"/>
              <a:gd name="T77" fmla="*/ 31 h 110"/>
              <a:gd name="T78" fmla="*/ 42 w 85"/>
              <a:gd name="T79" fmla="*/ 20 h 110"/>
              <a:gd name="T80" fmla="*/ 63 w 85"/>
              <a:gd name="T81" fmla="*/ 11 h 110"/>
              <a:gd name="T82" fmla="*/ 63 w 85"/>
              <a:gd name="T83" fmla="*/ 0 h 110"/>
              <a:gd name="T84" fmla="*/ 81 w 85"/>
              <a:gd name="T85" fmla="*/ 12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85" h="110">
                <a:moveTo>
                  <a:pt x="81" y="12"/>
                </a:moveTo>
                <a:lnTo>
                  <a:pt x="85" y="16"/>
                </a:lnTo>
                <a:lnTo>
                  <a:pt x="78" y="14"/>
                </a:lnTo>
                <a:lnTo>
                  <a:pt x="75" y="21"/>
                </a:lnTo>
                <a:lnTo>
                  <a:pt x="74" y="28"/>
                </a:lnTo>
                <a:lnTo>
                  <a:pt x="82" y="43"/>
                </a:lnTo>
                <a:lnTo>
                  <a:pt x="76" y="48"/>
                </a:lnTo>
                <a:lnTo>
                  <a:pt x="75" y="52"/>
                </a:lnTo>
                <a:lnTo>
                  <a:pt x="72" y="58"/>
                </a:lnTo>
                <a:lnTo>
                  <a:pt x="62" y="61"/>
                </a:lnTo>
                <a:lnTo>
                  <a:pt x="58" y="66"/>
                </a:lnTo>
                <a:lnTo>
                  <a:pt x="61" y="75"/>
                </a:lnTo>
                <a:lnTo>
                  <a:pt x="61" y="78"/>
                </a:lnTo>
                <a:lnTo>
                  <a:pt x="69" y="81"/>
                </a:lnTo>
                <a:lnTo>
                  <a:pt x="83" y="90"/>
                </a:lnTo>
                <a:lnTo>
                  <a:pt x="83" y="95"/>
                </a:lnTo>
                <a:lnTo>
                  <a:pt x="76" y="96"/>
                </a:lnTo>
                <a:lnTo>
                  <a:pt x="65" y="97"/>
                </a:lnTo>
                <a:lnTo>
                  <a:pt x="62" y="107"/>
                </a:lnTo>
                <a:lnTo>
                  <a:pt x="55" y="106"/>
                </a:lnTo>
                <a:lnTo>
                  <a:pt x="54" y="108"/>
                </a:lnTo>
                <a:lnTo>
                  <a:pt x="44" y="104"/>
                </a:lnTo>
                <a:lnTo>
                  <a:pt x="44" y="108"/>
                </a:lnTo>
                <a:lnTo>
                  <a:pt x="40" y="110"/>
                </a:lnTo>
                <a:lnTo>
                  <a:pt x="37" y="106"/>
                </a:lnTo>
                <a:lnTo>
                  <a:pt x="32" y="104"/>
                </a:lnTo>
                <a:lnTo>
                  <a:pt x="26" y="100"/>
                </a:lnTo>
                <a:lnTo>
                  <a:pt x="26" y="91"/>
                </a:lnTo>
                <a:lnTo>
                  <a:pt x="29" y="89"/>
                </a:lnTo>
                <a:lnTo>
                  <a:pt x="26" y="85"/>
                </a:lnTo>
                <a:lnTo>
                  <a:pt x="25" y="74"/>
                </a:lnTo>
                <a:lnTo>
                  <a:pt x="22" y="71"/>
                </a:lnTo>
                <a:lnTo>
                  <a:pt x="11" y="68"/>
                </a:lnTo>
                <a:lnTo>
                  <a:pt x="0" y="63"/>
                </a:lnTo>
                <a:lnTo>
                  <a:pt x="8" y="50"/>
                </a:lnTo>
                <a:lnTo>
                  <a:pt x="20" y="39"/>
                </a:lnTo>
                <a:lnTo>
                  <a:pt x="24" y="24"/>
                </a:lnTo>
                <a:lnTo>
                  <a:pt x="36" y="31"/>
                </a:lnTo>
                <a:lnTo>
                  <a:pt x="51" y="31"/>
                </a:lnTo>
                <a:lnTo>
                  <a:pt x="42" y="20"/>
                </a:lnTo>
                <a:lnTo>
                  <a:pt x="63" y="11"/>
                </a:lnTo>
                <a:lnTo>
                  <a:pt x="63" y="0"/>
                </a:lnTo>
                <a:lnTo>
                  <a:pt x="81" y="12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48" name="Freeform 154"/>
          <p:cNvSpPr>
            <a:spLocks/>
          </p:cNvSpPr>
          <p:nvPr/>
        </p:nvSpPr>
        <p:spPr bwMode="auto">
          <a:xfrm>
            <a:off x="-4215" y="3055199"/>
            <a:ext cx="223151" cy="568070"/>
          </a:xfrm>
          <a:custGeom>
            <a:avLst/>
            <a:gdLst>
              <a:gd name="T0" fmla="*/ 11 w 55"/>
              <a:gd name="T1" fmla="*/ 9 h 113"/>
              <a:gd name="T2" fmla="*/ 17 w 55"/>
              <a:gd name="T3" fmla="*/ 3 h 113"/>
              <a:gd name="T4" fmla="*/ 24 w 55"/>
              <a:gd name="T5" fmla="*/ 0 h 113"/>
              <a:gd name="T6" fmla="*/ 28 w 55"/>
              <a:gd name="T7" fmla="*/ 10 h 113"/>
              <a:gd name="T8" fmla="*/ 38 w 55"/>
              <a:gd name="T9" fmla="*/ 10 h 113"/>
              <a:gd name="T10" fmla="*/ 41 w 55"/>
              <a:gd name="T11" fmla="*/ 8 h 113"/>
              <a:gd name="T12" fmla="*/ 50 w 55"/>
              <a:gd name="T13" fmla="*/ 9 h 113"/>
              <a:gd name="T14" fmla="*/ 55 w 55"/>
              <a:gd name="T15" fmla="*/ 19 h 113"/>
              <a:gd name="T16" fmla="*/ 47 w 55"/>
              <a:gd name="T17" fmla="*/ 25 h 113"/>
              <a:gd name="T18" fmla="*/ 46 w 55"/>
              <a:gd name="T19" fmla="*/ 41 h 113"/>
              <a:gd name="T20" fmla="*/ 43 w 55"/>
              <a:gd name="T21" fmla="*/ 44 h 113"/>
              <a:gd name="T22" fmla="*/ 43 w 55"/>
              <a:gd name="T23" fmla="*/ 53 h 113"/>
              <a:gd name="T24" fmla="*/ 35 w 55"/>
              <a:gd name="T25" fmla="*/ 55 h 113"/>
              <a:gd name="T26" fmla="*/ 42 w 55"/>
              <a:gd name="T27" fmla="*/ 67 h 113"/>
              <a:gd name="T28" fmla="*/ 37 w 55"/>
              <a:gd name="T29" fmla="*/ 81 h 113"/>
              <a:gd name="T30" fmla="*/ 42 w 55"/>
              <a:gd name="T31" fmla="*/ 87 h 113"/>
              <a:gd name="T32" fmla="*/ 40 w 55"/>
              <a:gd name="T33" fmla="*/ 93 h 113"/>
              <a:gd name="T34" fmla="*/ 33 w 55"/>
              <a:gd name="T35" fmla="*/ 100 h 113"/>
              <a:gd name="T36" fmla="*/ 35 w 55"/>
              <a:gd name="T37" fmla="*/ 107 h 113"/>
              <a:gd name="T38" fmla="*/ 28 w 55"/>
              <a:gd name="T39" fmla="*/ 113 h 113"/>
              <a:gd name="T40" fmla="*/ 19 w 55"/>
              <a:gd name="T41" fmla="*/ 110 h 113"/>
              <a:gd name="T42" fmla="*/ 9 w 55"/>
              <a:gd name="T43" fmla="*/ 112 h 113"/>
              <a:gd name="T44" fmla="*/ 13 w 55"/>
              <a:gd name="T45" fmla="*/ 96 h 113"/>
              <a:gd name="T46" fmla="*/ 11 w 55"/>
              <a:gd name="T47" fmla="*/ 83 h 113"/>
              <a:gd name="T48" fmla="*/ 4 w 55"/>
              <a:gd name="T49" fmla="*/ 81 h 113"/>
              <a:gd name="T50" fmla="*/ 0 w 55"/>
              <a:gd name="T51" fmla="*/ 73 h 113"/>
              <a:gd name="T52" fmla="*/ 2 w 55"/>
              <a:gd name="T53" fmla="*/ 60 h 113"/>
              <a:gd name="T54" fmla="*/ 9 w 55"/>
              <a:gd name="T55" fmla="*/ 52 h 113"/>
              <a:gd name="T56" fmla="*/ 10 w 55"/>
              <a:gd name="T57" fmla="*/ 44 h 113"/>
              <a:gd name="T58" fmla="*/ 14 w 55"/>
              <a:gd name="T59" fmla="*/ 32 h 113"/>
              <a:gd name="T60" fmla="*/ 14 w 55"/>
              <a:gd name="T61" fmla="*/ 23 h 113"/>
              <a:gd name="T62" fmla="*/ 11 w 55"/>
              <a:gd name="T63" fmla="*/ 16 h 113"/>
              <a:gd name="T64" fmla="*/ 11 w 55"/>
              <a:gd name="T65" fmla="*/ 9 h 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5" h="113">
                <a:moveTo>
                  <a:pt x="11" y="9"/>
                </a:moveTo>
                <a:lnTo>
                  <a:pt x="17" y="3"/>
                </a:lnTo>
                <a:lnTo>
                  <a:pt x="24" y="0"/>
                </a:lnTo>
                <a:lnTo>
                  <a:pt x="28" y="10"/>
                </a:lnTo>
                <a:lnTo>
                  <a:pt x="38" y="10"/>
                </a:lnTo>
                <a:lnTo>
                  <a:pt x="41" y="8"/>
                </a:lnTo>
                <a:lnTo>
                  <a:pt x="50" y="9"/>
                </a:lnTo>
                <a:lnTo>
                  <a:pt x="55" y="19"/>
                </a:lnTo>
                <a:lnTo>
                  <a:pt x="47" y="25"/>
                </a:lnTo>
                <a:lnTo>
                  <a:pt x="46" y="41"/>
                </a:lnTo>
                <a:lnTo>
                  <a:pt x="43" y="44"/>
                </a:lnTo>
                <a:lnTo>
                  <a:pt x="43" y="53"/>
                </a:lnTo>
                <a:lnTo>
                  <a:pt x="35" y="55"/>
                </a:lnTo>
                <a:lnTo>
                  <a:pt x="42" y="67"/>
                </a:lnTo>
                <a:lnTo>
                  <a:pt x="37" y="81"/>
                </a:lnTo>
                <a:lnTo>
                  <a:pt x="42" y="87"/>
                </a:lnTo>
                <a:lnTo>
                  <a:pt x="40" y="93"/>
                </a:lnTo>
                <a:lnTo>
                  <a:pt x="33" y="100"/>
                </a:lnTo>
                <a:lnTo>
                  <a:pt x="35" y="107"/>
                </a:lnTo>
                <a:lnTo>
                  <a:pt x="28" y="113"/>
                </a:lnTo>
                <a:lnTo>
                  <a:pt x="19" y="110"/>
                </a:lnTo>
                <a:lnTo>
                  <a:pt x="9" y="112"/>
                </a:lnTo>
                <a:lnTo>
                  <a:pt x="13" y="96"/>
                </a:lnTo>
                <a:lnTo>
                  <a:pt x="11" y="83"/>
                </a:lnTo>
                <a:lnTo>
                  <a:pt x="4" y="81"/>
                </a:lnTo>
                <a:lnTo>
                  <a:pt x="0" y="73"/>
                </a:lnTo>
                <a:lnTo>
                  <a:pt x="2" y="60"/>
                </a:lnTo>
                <a:lnTo>
                  <a:pt x="9" y="52"/>
                </a:lnTo>
                <a:lnTo>
                  <a:pt x="10" y="44"/>
                </a:lnTo>
                <a:lnTo>
                  <a:pt x="14" y="32"/>
                </a:lnTo>
                <a:lnTo>
                  <a:pt x="14" y="23"/>
                </a:lnTo>
                <a:lnTo>
                  <a:pt x="11" y="16"/>
                </a:lnTo>
                <a:lnTo>
                  <a:pt x="11" y="9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49" name="Freeform 156"/>
          <p:cNvSpPr>
            <a:spLocks/>
          </p:cNvSpPr>
          <p:nvPr/>
        </p:nvSpPr>
        <p:spPr bwMode="auto">
          <a:xfrm>
            <a:off x="3136101" y="4070687"/>
            <a:ext cx="44630" cy="120652"/>
          </a:xfrm>
          <a:custGeom>
            <a:avLst/>
            <a:gdLst>
              <a:gd name="T0" fmla="*/ 9 w 11"/>
              <a:gd name="T1" fmla="*/ 3 h 24"/>
              <a:gd name="T2" fmla="*/ 11 w 11"/>
              <a:gd name="T3" fmla="*/ 15 h 24"/>
              <a:gd name="T4" fmla="*/ 9 w 11"/>
              <a:gd name="T5" fmla="*/ 21 h 24"/>
              <a:gd name="T6" fmla="*/ 1 w 11"/>
              <a:gd name="T7" fmla="*/ 24 h 24"/>
              <a:gd name="T8" fmla="*/ 1 w 11"/>
              <a:gd name="T9" fmla="*/ 19 h 24"/>
              <a:gd name="T10" fmla="*/ 5 w 11"/>
              <a:gd name="T11" fmla="*/ 16 h 24"/>
              <a:gd name="T12" fmla="*/ 0 w 11"/>
              <a:gd name="T13" fmla="*/ 14 h 24"/>
              <a:gd name="T14" fmla="*/ 3 w 11"/>
              <a:gd name="T15" fmla="*/ 0 h 24"/>
              <a:gd name="T16" fmla="*/ 9 w 11"/>
              <a:gd name="T17" fmla="*/ 3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" h="24">
                <a:moveTo>
                  <a:pt x="9" y="3"/>
                </a:moveTo>
                <a:lnTo>
                  <a:pt x="11" y="15"/>
                </a:lnTo>
                <a:lnTo>
                  <a:pt x="9" y="21"/>
                </a:lnTo>
                <a:lnTo>
                  <a:pt x="1" y="24"/>
                </a:lnTo>
                <a:lnTo>
                  <a:pt x="1" y="19"/>
                </a:lnTo>
                <a:lnTo>
                  <a:pt x="5" y="16"/>
                </a:lnTo>
                <a:lnTo>
                  <a:pt x="0" y="14"/>
                </a:lnTo>
                <a:lnTo>
                  <a:pt x="3" y="0"/>
                </a:lnTo>
                <a:lnTo>
                  <a:pt x="9" y="3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50" name="Freeform 157"/>
          <p:cNvSpPr>
            <a:spLocks/>
          </p:cNvSpPr>
          <p:nvPr/>
        </p:nvSpPr>
        <p:spPr bwMode="auto">
          <a:xfrm>
            <a:off x="4324874" y="4739304"/>
            <a:ext cx="68974" cy="160870"/>
          </a:xfrm>
          <a:custGeom>
            <a:avLst/>
            <a:gdLst>
              <a:gd name="T0" fmla="*/ 3 w 17"/>
              <a:gd name="T1" fmla="*/ 28 h 32"/>
              <a:gd name="T2" fmla="*/ 0 w 17"/>
              <a:gd name="T3" fmla="*/ 13 h 32"/>
              <a:gd name="T4" fmla="*/ 4 w 17"/>
              <a:gd name="T5" fmla="*/ 2 h 32"/>
              <a:gd name="T6" fmla="*/ 9 w 17"/>
              <a:gd name="T7" fmla="*/ 0 h 32"/>
              <a:gd name="T8" fmla="*/ 15 w 17"/>
              <a:gd name="T9" fmla="*/ 7 h 32"/>
              <a:gd name="T10" fmla="*/ 17 w 17"/>
              <a:gd name="T11" fmla="*/ 18 h 32"/>
              <a:gd name="T12" fmla="*/ 14 w 17"/>
              <a:gd name="T13" fmla="*/ 31 h 32"/>
              <a:gd name="T14" fmla="*/ 9 w 17"/>
              <a:gd name="T15" fmla="*/ 32 h 32"/>
              <a:gd name="T16" fmla="*/ 3 w 17"/>
              <a:gd name="T17" fmla="*/ 28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7" h="32">
                <a:moveTo>
                  <a:pt x="3" y="28"/>
                </a:moveTo>
                <a:lnTo>
                  <a:pt x="0" y="13"/>
                </a:lnTo>
                <a:lnTo>
                  <a:pt x="4" y="2"/>
                </a:lnTo>
                <a:lnTo>
                  <a:pt x="9" y="0"/>
                </a:lnTo>
                <a:lnTo>
                  <a:pt x="15" y="7"/>
                </a:lnTo>
                <a:lnTo>
                  <a:pt x="17" y="18"/>
                </a:lnTo>
                <a:lnTo>
                  <a:pt x="14" y="31"/>
                </a:lnTo>
                <a:lnTo>
                  <a:pt x="9" y="32"/>
                </a:lnTo>
                <a:lnTo>
                  <a:pt x="3" y="28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51" name="Freeform 158"/>
          <p:cNvSpPr>
            <a:spLocks/>
          </p:cNvSpPr>
          <p:nvPr/>
        </p:nvSpPr>
        <p:spPr bwMode="auto">
          <a:xfrm>
            <a:off x="1996010" y="2446915"/>
            <a:ext cx="641047" cy="467527"/>
          </a:xfrm>
          <a:custGeom>
            <a:avLst/>
            <a:gdLst>
              <a:gd name="T0" fmla="*/ 37 w 158"/>
              <a:gd name="T1" fmla="*/ 7 h 93"/>
              <a:gd name="T2" fmla="*/ 44 w 158"/>
              <a:gd name="T3" fmla="*/ 3 h 93"/>
              <a:gd name="T4" fmla="*/ 54 w 158"/>
              <a:gd name="T5" fmla="*/ 5 h 93"/>
              <a:gd name="T6" fmla="*/ 64 w 158"/>
              <a:gd name="T7" fmla="*/ 5 h 93"/>
              <a:gd name="T8" fmla="*/ 72 w 158"/>
              <a:gd name="T9" fmla="*/ 10 h 93"/>
              <a:gd name="T10" fmla="*/ 78 w 158"/>
              <a:gd name="T11" fmla="*/ 7 h 93"/>
              <a:gd name="T12" fmla="*/ 89 w 158"/>
              <a:gd name="T13" fmla="*/ 5 h 93"/>
              <a:gd name="T14" fmla="*/ 93 w 158"/>
              <a:gd name="T15" fmla="*/ 0 h 93"/>
              <a:gd name="T16" fmla="*/ 100 w 158"/>
              <a:gd name="T17" fmla="*/ 0 h 93"/>
              <a:gd name="T18" fmla="*/ 105 w 158"/>
              <a:gd name="T19" fmla="*/ 2 h 93"/>
              <a:gd name="T20" fmla="*/ 110 w 158"/>
              <a:gd name="T21" fmla="*/ 8 h 93"/>
              <a:gd name="T22" fmla="*/ 117 w 158"/>
              <a:gd name="T23" fmla="*/ 17 h 93"/>
              <a:gd name="T24" fmla="*/ 128 w 158"/>
              <a:gd name="T25" fmla="*/ 29 h 93"/>
              <a:gd name="T26" fmla="*/ 130 w 158"/>
              <a:gd name="T27" fmla="*/ 38 h 93"/>
              <a:gd name="T28" fmla="*/ 129 w 158"/>
              <a:gd name="T29" fmla="*/ 47 h 93"/>
              <a:gd name="T30" fmla="*/ 133 w 158"/>
              <a:gd name="T31" fmla="*/ 56 h 93"/>
              <a:gd name="T32" fmla="*/ 141 w 158"/>
              <a:gd name="T33" fmla="*/ 59 h 93"/>
              <a:gd name="T34" fmla="*/ 149 w 158"/>
              <a:gd name="T35" fmla="*/ 56 h 93"/>
              <a:gd name="T36" fmla="*/ 156 w 158"/>
              <a:gd name="T37" fmla="*/ 60 h 93"/>
              <a:gd name="T38" fmla="*/ 158 w 158"/>
              <a:gd name="T39" fmla="*/ 65 h 93"/>
              <a:gd name="T40" fmla="*/ 150 w 158"/>
              <a:gd name="T41" fmla="*/ 69 h 93"/>
              <a:gd name="T42" fmla="*/ 145 w 158"/>
              <a:gd name="T43" fmla="*/ 67 h 93"/>
              <a:gd name="T44" fmla="*/ 143 w 158"/>
              <a:gd name="T45" fmla="*/ 92 h 93"/>
              <a:gd name="T46" fmla="*/ 133 w 158"/>
              <a:gd name="T47" fmla="*/ 90 h 93"/>
              <a:gd name="T48" fmla="*/ 121 w 158"/>
              <a:gd name="T49" fmla="*/ 83 h 93"/>
              <a:gd name="T50" fmla="*/ 101 w 158"/>
              <a:gd name="T51" fmla="*/ 87 h 93"/>
              <a:gd name="T52" fmla="*/ 94 w 158"/>
              <a:gd name="T53" fmla="*/ 93 h 93"/>
              <a:gd name="T54" fmla="*/ 69 w 158"/>
              <a:gd name="T55" fmla="*/ 91 h 93"/>
              <a:gd name="T56" fmla="*/ 56 w 158"/>
              <a:gd name="T57" fmla="*/ 88 h 93"/>
              <a:gd name="T58" fmla="*/ 50 w 158"/>
              <a:gd name="T59" fmla="*/ 90 h 93"/>
              <a:gd name="T60" fmla="*/ 44 w 158"/>
              <a:gd name="T61" fmla="*/ 81 h 93"/>
              <a:gd name="T62" fmla="*/ 41 w 158"/>
              <a:gd name="T63" fmla="*/ 78 h 93"/>
              <a:gd name="T64" fmla="*/ 45 w 158"/>
              <a:gd name="T65" fmla="*/ 74 h 93"/>
              <a:gd name="T66" fmla="*/ 40 w 158"/>
              <a:gd name="T67" fmla="*/ 72 h 93"/>
              <a:gd name="T68" fmla="*/ 36 w 158"/>
              <a:gd name="T69" fmla="*/ 76 h 93"/>
              <a:gd name="T70" fmla="*/ 25 w 158"/>
              <a:gd name="T71" fmla="*/ 70 h 93"/>
              <a:gd name="T72" fmla="*/ 23 w 158"/>
              <a:gd name="T73" fmla="*/ 62 h 93"/>
              <a:gd name="T74" fmla="*/ 13 w 158"/>
              <a:gd name="T75" fmla="*/ 57 h 93"/>
              <a:gd name="T76" fmla="*/ 10 w 158"/>
              <a:gd name="T77" fmla="*/ 51 h 93"/>
              <a:gd name="T78" fmla="*/ 0 w 158"/>
              <a:gd name="T79" fmla="*/ 43 h 93"/>
              <a:gd name="T80" fmla="*/ 13 w 158"/>
              <a:gd name="T81" fmla="*/ 39 h 93"/>
              <a:gd name="T82" fmla="*/ 22 w 158"/>
              <a:gd name="T83" fmla="*/ 25 h 93"/>
              <a:gd name="T84" fmla="*/ 28 w 158"/>
              <a:gd name="T85" fmla="*/ 11 h 93"/>
              <a:gd name="T86" fmla="*/ 37 w 158"/>
              <a:gd name="T87" fmla="*/ 7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58" h="93">
                <a:moveTo>
                  <a:pt x="37" y="7"/>
                </a:moveTo>
                <a:lnTo>
                  <a:pt x="44" y="3"/>
                </a:lnTo>
                <a:lnTo>
                  <a:pt x="54" y="5"/>
                </a:lnTo>
                <a:lnTo>
                  <a:pt x="64" y="5"/>
                </a:lnTo>
                <a:lnTo>
                  <a:pt x="72" y="10"/>
                </a:lnTo>
                <a:lnTo>
                  <a:pt x="78" y="7"/>
                </a:lnTo>
                <a:lnTo>
                  <a:pt x="89" y="5"/>
                </a:lnTo>
                <a:lnTo>
                  <a:pt x="93" y="0"/>
                </a:lnTo>
                <a:lnTo>
                  <a:pt x="100" y="0"/>
                </a:lnTo>
                <a:lnTo>
                  <a:pt x="105" y="2"/>
                </a:lnTo>
                <a:lnTo>
                  <a:pt x="110" y="8"/>
                </a:lnTo>
                <a:lnTo>
                  <a:pt x="117" y="17"/>
                </a:lnTo>
                <a:lnTo>
                  <a:pt x="128" y="29"/>
                </a:lnTo>
                <a:lnTo>
                  <a:pt x="130" y="38"/>
                </a:lnTo>
                <a:lnTo>
                  <a:pt x="129" y="47"/>
                </a:lnTo>
                <a:lnTo>
                  <a:pt x="133" y="56"/>
                </a:lnTo>
                <a:lnTo>
                  <a:pt x="141" y="59"/>
                </a:lnTo>
                <a:lnTo>
                  <a:pt x="149" y="56"/>
                </a:lnTo>
                <a:lnTo>
                  <a:pt x="156" y="60"/>
                </a:lnTo>
                <a:lnTo>
                  <a:pt x="158" y="65"/>
                </a:lnTo>
                <a:lnTo>
                  <a:pt x="150" y="69"/>
                </a:lnTo>
                <a:lnTo>
                  <a:pt x="145" y="67"/>
                </a:lnTo>
                <a:lnTo>
                  <a:pt x="143" y="92"/>
                </a:lnTo>
                <a:lnTo>
                  <a:pt x="133" y="90"/>
                </a:lnTo>
                <a:lnTo>
                  <a:pt x="121" y="83"/>
                </a:lnTo>
                <a:lnTo>
                  <a:pt x="101" y="87"/>
                </a:lnTo>
                <a:lnTo>
                  <a:pt x="94" y="93"/>
                </a:lnTo>
                <a:lnTo>
                  <a:pt x="69" y="91"/>
                </a:lnTo>
                <a:lnTo>
                  <a:pt x="56" y="88"/>
                </a:lnTo>
                <a:lnTo>
                  <a:pt x="50" y="90"/>
                </a:lnTo>
                <a:lnTo>
                  <a:pt x="44" y="81"/>
                </a:lnTo>
                <a:lnTo>
                  <a:pt x="41" y="78"/>
                </a:lnTo>
                <a:lnTo>
                  <a:pt x="45" y="74"/>
                </a:lnTo>
                <a:lnTo>
                  <a:pt x="40" y="72"/>
                </a:lnTo>
                <a:lnTo>
                  <a:pt x="36" y="76"/>
                </a:lnTo>
                <a:lnTo>
                  <a:pt x="25" y="70"/>
                </a:lnTo>
                <a:lnTo>
                  <a:pt x="23" y="62"/>
                </a:lnTo>
                <a:lnTo>
                  <a:pt x="13" y="57"/>
                </a:lnTo>
                <a:lnTo>
                  <a:pt x="10" y="51"/>
                </a:lnTo>
                <a:lnTo>
                  <a:pt x="0" y="43"/>
                </a:lnTo>
                <a:lnTo>
                  <a:pt x="13" y="39"/>
                </a:lnTo>
                <a:lnTo>
                  <a:pt x="22" y="25"/>
                </a:lnTo>
                <a:lnTo>
                  <a:pt x="28" y="11"/>
                </a:lnTo>
                <a:lnTo>
                  <a:pt x="37" y="7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52" name="Freeform 159"/>
          <p:cNvSpPr>
            <a:spLocks/>
          </p:cNvSpPr>
          <p:nvPr/>
        </p:nvSpPr>
        <p:spPr bwMode="auto">
          <a:xfrm>
            <a:off x="9579021" y="1823546"/>
            <a:ext cx="608588" cy="854618"/>
          </a:xfrm>
          <a:custGeom>
            <a:avLst/>
            <a:gdLst>
              <a:gd name="T0" fmla="*/ 81 w 150"/>
              <a:gd name="T1" fmla="*/ 73 h 170"/>
              <a:gd name="T2" fmla="*/ 126 w 150"/>
              <a:gd name="T3" fmla="*/ 109 h 170"/>
              <a:gd name="T4" fmla="*/ 97 w 150"/>
              <a:gd name="T5" fmla="*/ 102 h 170"/>
              <a:gd name="T6" fmla="*/ 109 w 150"/>
              <a:gd name="T7" fmla="*/ 131 h 170"/>
              <a:gd name="T8" fmla="*/ 140 w 150"/>
              <a:gd name="T9" fmla="*/ 152 h 170"/>
              <a:gd name="T10" fmla="*/ 150 w 150"/>
              <a:gd name="T11" fmla="*/ 166 h 170"/>
              <a:gd name="T12" fmla="*/ 129 w 150"/>
              <a:gd name="T13" fmla="*/ 154 h 170"/>
              <a:gd name="T14" fmla="*/ 129 w 150"/>
              <a:gd name="T15" fmla="*/ 170 h 170"/>
              <a:gd name="T16" fmla="*/ 114 w 150"/>
              <a:gd name="T17" fmla="*/ 153 h 170"/>
              <a:gd name="T18" fmla="*/ 101 w 150"/>
              <a:gd name="T19" fmla="*/ 133 h 170"/>
              <a:gd name="T20" fmla="*/ 83 w 150"/>
              <a:gd name="T21" fmla="*/ 111 h 170"/>
              <a:gd name="T22" fmla="*/ 76 w 150"/>
              <a:gd name="T23" fmla="*/ 96 h 170"/>
              <a:gd name="T24" fmla="*/ 55 w 150"/>
              <a:gd name="T25" fmla="*/ 69 h 170"/>
              <a:gd name="T26" fmla="*/ 29 w 150"/>
              <a:gd name="T27" fmla="*/ 49 h 170"/>
              <a:gd name="T28" fmla="*/ 8 w 150"/>
              <a:gd name="T29" fmla="*/ 22 h 170"/>
              <a:gd name="T30" fmla="*/ 14 w 150"/>
              <a:gd name="T31" fmla="*/ 12 h 170"/>
              <a:gd name="T32" fmla="*/ 0 w 150"/>
              <a:gd name="T33" fmla="*/ 3 h 170"/>
              <a:gd name="T34" fmla="*/ 4 w 150"/>
              <a:gd name="T35" fmla="*/ 0 h 170"/>
              <a:gd name="T36" fmla="*/ 20 w 150"/>
              <a:gd name="T37" fmla="*/ 14 h 170"/>
              <a:gd name="T38" fmla="*/ 42 w 150"/>
              <a:gd name="T39" fmla="*/ 33 h 170"/>
              <a:gd name="T40" fmla="*/ 58 w 150"/>
              <a:gd name="T41" fmla="*/ 53 h 170"/>
              <a:gd name="T42" fmla="*/ 81 w 150"/>
              <a:gd name="T43" fmla="*/ 73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50" h="170">
                <a:moveTo>
                  <a:pt x="81" y="73"/>
                </a:moveTo>
                <a:lnTo>
                  <a:pt x="126" y="109"/>
                </a:lnTo>
                <a:lnTo>
                  <a:pt x="97" y="102"/>
                </a:lnTo>
                <a:lnTo>
                  <a:pt x="109" y="131"/>
                </a:lnTo>
                <a:lnTo>
                  <a:pt x="140" y="152"/>
                </a:lnTo>
                <a:lnTo>
                  <a:pt x="150" y="166"/>
                </a:lnTo>
                <a:lnTo>
                  <a:pt x="129" y="154"/>
                </a:lnTo>
                <a:lnTo>
                  <a:pt x="129" y="170"/>
                </a:lnTo>
                <a:lnTo>
                  <a:pt x="114" y="153"/>
                </a:lnTo>
                <a:lnTo>
                  <a:pt x="101" y="133"/>
                </a:lnTo>
                <a:lnTo>
                  <a:pt x="83" y="111"/>
                </a:lnTo>
                <a:lnTo>
                  <a:pt x="76" y="96"/>
                </a:lnTo>
                <a:lnTo>
                  <a:pt x="55" y="69"/>
                </a:lnTo>
                <a:lnTo>
                  <a:pt x="29" y="49"/>
                </a:lnTo>
                <a:lnTo>
                  <a:pt x="8" y="22"/>
                </a:lnTo>
                <a:lnTo>
                  <a:pt x="14" y="12"/>
                </a:lnTo>
                <a:lnTo>
                  <a:pt x="0" y="3"/>
                </a:lnTo>
                <a:lnTo>
                  <a:pt x="4" y="0"/>
                </a:lnTo>
                <a:lnTo>
                  <a:pt x="20" y="14"/>
                </a:lnTo>
                <a:lnTo>
                  <a:pt x="42" y="33"/>
                </a:lnTo>
                <a:lnTo>
                  <a:pt x="58" y="53"/>
                </a:lnTo>
                <a:lnTo>
                  <a:pt x="81" y="73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53" name="Freeform 160"/>
          <p:cNvSpPr>
            <a:spLocks/>
          </p:cNvSpPr>
          <p:nvPr/>
        </p:nvSpPr>
        <p:spPr bwMode="auto">
          <a:xfrm>
            <a:off x="1886465" y="1743113"/>
            <a:ext cx="194748" cy="85463"/>
          </a:xfrm>
          <a:custGeom>
            <a:avLst/>
            <a:gdLst>
              <a:gd name="T0" fmla="*/ 48 w 48"/>
              <a:gd name="T1" fmla="*/ 17 h 17"/>
              <a:gd name="T2" fmla="*/ 19 w 48"/>
              <a:gd name="T3" fmla="*/ 17 h 17"/>
              <a:gd name="T4" fmla="*/ 0 w 48"/>
              <a:gd name="T5" fmla="*/ 15 h 17"/>
              <a:gd name="T6" fmla="*/ 2 w 48"/>
              <a:gd name="T7" fmla="*/ 6 h 17"/>
              <a:gd name="T8" fmla="*/ 23 w 48"/>
              <a:gd name="T9" fmla="*/ 0 h 17"/>
              <a:gd name="T10" fmla="*/ 39 w 48"/>
              <a:gd name="T11" fmla="*/ 4 h 17"/>
              <a:gd name="T12" fmla="*/ 47 w 48"/>
              <a:gd name="T13" fmla="*/ 7 h 17"/>
              <a:gd name="T14" fmla="*/ 46 w 48"/>
              <a:gd name="T15" fmla="*/ 12 h 17"/>
              <a:gd name="T16" fmla="*/ 48 w 48"/>
              <a:gd name="T17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8" h="17">
                <a:moveTo>
                  <a:pt x="48" y="17"/>
                </a:moveTo>
                <a:lnTo>
                  <a:pt x="19" y="17"/>
                </a:lnTo>
                <a:lnTo>
                  <a:pt x="0" y="15"/>
                </a:lnTo>
                <a:lnTo>
                  <a:pt x="2" y="6"/>
                </a:lnTo>
                <a:lnTo>
                  <a:pt x="23" y="0"/>
                </a:lnTo>
                <a:lnTo>
                  <a:pt x="39" y="4"/>
                </a:lnTo>
                <a:lnTo>
                  <a:pt x="47" y="7"/>
                </a:lnTo>
                <a:lnTo>
                  <a:pt x="46" y="12"/>
                </a:lnTo>
                <a:lnTo>
                  <a:pt x="48" y="17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54" name="Freeform 161"/>
          <p:cNvSpPr>
            <a:spLocks/>
          </p:cNvSpPr>
          <p:nvPr/>
        </p:nvSpPr>
        <p:spPr bwMode="auto">
          <a:xfrm>
            <a:off x="7806000" y="23819"/>
            <a:ext cx="206922" cy="55299"/>
          </a:xfrm>
          <a:custGeom>
            <a:avLst/>
            <a:gdLst>
              <a:gd name="T0" fmla="*/ 51 w 51"/>
              <a:gd name="T1" fmla="*/ 10 h 11"/>
              <a:gd name="T2" fmla="*/ 32 w 51"/>
              <a:gd name="T3" fmla="*/ 11 h 11"/>
              <a:gd name="T4" fmla="*/ 3 w 51"/>
              <a:gd name="T5" fmla="*/ 9 h 11"/>
              <a:gd name="T6" fmla="*/ 0 w 51"/>
              <a:gd name="T7" fmla="*/ 8 h 11"/>
              <a:gd name="T8" fmla="*/ 2 w 51"/>
              <a:gd name="T9" fmla="*/ 2 h 11"/>
              <a:gd name="T10" fmla="*/ 15 w 51"/>
              <a:gd name="T11" fmla="*/ 0 h 11"/>
              <a:gd name="T12" fmla="*/ 43 w 51"/>
              <a:gd name="T13" fmla="*/ 6 h 11"/>
              <a:gd name="T14" fmla="*/ 51 w 51"/>
              <a:gd name="T15" fmla="*/ 10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1" h="11">
                <a:moveTo>
                  <a:pt x="51" y="10"/>
                </a:moveTo>
                <a:lnTo>
                  <a:pt x="32" y="11"/>
                </a:lnTo>
                <a:lnTo>
                  <a:pt x="3" y="9"/>
                </a:lnTo>
                <a:lnTo>
                  <a:pt x="0" y="8"/>
                </a:lnTo>
                <a:lnTo>
                  <a:pt x="2" y="2"/>
                </a:lnTo>
                <a:lnTo>
                  <a:pt x="15" y="0"/>
                </a:lnTo>
                <a:lnTo>
                  <a:pt x="43" y="6"/>
                </a:lnTo>
                <a:lnTo>
                  <a:pt x="51" y="10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55" name="Freeform 162"/>
          <p:cNvSpPr>
            <a:spLocks/>
          </p:cNvSpPr>
          <p:nvPr/>
        </p:nvSpPr>
        <p:spPr bwMode="auto">
          <a:xfrm>
            <a:off x="7919604" y="-106887"/>
            <a:ext cx="259663" cy="65353"/>
          </a:xfrm>
          <a:custGeom>
            <a:avLst/>
            <a:gdLst>
              <a:gd name="T0" fmla="*/ 64 w 64"/>
              <a:gd name="T1" fmla="*/ 7 h 13"/>
              <a:gd name="T2" fmla="*/ 60 w 64"/>
              <a:gd name="T3" fmla="*/ 13 h 13"/>
              <a:gd name="T4" fmla="*/ 38 w 64"/>
              <a:gd name="T5" fmla="*/ 11 h 13"/>
              <a:gd name="T6" fmla="*/ 5 w 64"/>
              <a:gd name="T7" fmla="*/ 5 h 13"/>
              <a:gd name="T8" fmla="*/ 0 w 64"/>
              <a:gd name="T9" fmla="*/ 0 h 13"/>
              <a:gd name="T10" fmla="*/ 27 w 64"/>
              <a:gd name="T11" fmla="*/ 2 h 13"/>
              <a:gd name="T12" fmla="*/ 64 w 64"/>
              <a:gd name="T13" fmla="*/ 7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4" h="13">
                <a:moveTo>
                  <a:pt x="64" y="7"/>
                </a:moveTo>
                <a:lnTo>
                  <a:pt x="60" y="13"/>
                </a:lnTo>
                <a:lnTo>
                  <a:pt x="38" y="11"/>
                </a:lnTo>
                <a:lnTo>
                  <a:pt x="5" y="5"/>
                </a:lnTo>
                <a:lnTo>
                  <a:pt x="0" y="0"/>
                </a:lnTo>
                <a:lnTo>
                  <a:pt x="27" y="2"/>
                </a:lnTo>
                <a:lnTo>
                  <a:pt x="64" y="7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56" name="Freeform 163"/>
          <p:cNvSpPr>
            <a:spLocks/>
          </p:cNvSpPr>
          <p:nvPr/>
        </p:nvSpPr>
        <p:spPr bwMode="auto">
          <a:xfrm>
            <a:off x="7436793" y="-157157"/>
            <a:ext cx="450355" cy="120652"/>
          </a:xfrm>
          <a:custGeom>
            <a:avLst/>
            <a:gdLst>
              <a:gd name="T0" fmla="*/ 102 w 111"/>
              <a:gd name="T1" fmla="*/ 9 h 24"/>
              <a:gd name="T2" fmla="*/ 111 w 111"/>
              <a:gd name="T3" fmla="*/ 21 h 24"/>
              <a:gd name="T4" fmla="*/ 64 w 111"/>
              <a:gd name="T5" fmla="*/ 20 h 24"/>
              <a:gd name="T6" fmla="*/ 50 w 111"/>
              <a:gd name="T7" fmla="*/ 24 h 24"/>
              <a:gd name="T8" fmla="*/ 10 w 111"/>
              <a:gd name="T9" fmla="*/ 14 h 24"/>
              <a:gd name="T10" fmla="*/ 0 w 111"/>
              <a:gd name="T11" fmla="*/ 3 h 24"/>
              <a:gd name="T12" fmla="*/ 12 w 111"/>
              <a:gd name="T13" fmla="*/ 0 h 24"/>
              <a:gd name="T14" fmla="*/ 45 w 111"/>
              <a:gd name="T15" fmla="*/ 1 h 24"/>
              <a:gd name="T16" fmla="*/ 102 w 111"/>
              <a:gd name="T17" fmla="*/ 9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1" h="24">
                <a:moveTo>
                  <a:pt x="102" y="9"/>
                </a:moveTo>
                <a:lnTo>
                  <a:pt x="111" y="21"/>
                </a:lnTo>
                <a:lnTo>
                  <a:pt x="64" y="20"/>
                </a:lnTo>
                <a:lnTo>
                  <a:pt x="50" y="24"/>
                </a:lnTo>
                <a:lnTo>
                  <a:pt x="10" y="14"/>
                </a:lnTo>
                <a:lnTo>
                  <a:pt x="0" y="3"/>
                </a:lnTo>
                <a:lnTo>
                  <a:pt x="12" y="0"/>
                </a:lnTo>
                <a:lnTo>
                  <a:pt x="45" y="1"/>
                </a:lnTo>
                <a:lnTo>
                  <a:pt x="102" y="9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57" name="Freeform 166"/>
          <p:cNvSpPr>
            <a:spLocks/>
          </p:cNvSpPr>
          <p:nvPr/>
        </p:nvSpPr>
        <p:spPr bwMode="auto">
          <a:xfrm>
            <a:off x="2718202" y="-499003"/>
            <a:ext cx="304296" cy="60328"/>
          </a:xfrm>
          <a:custGeom>
            <a:avLst/>
            <a:gdLst>
              <a:gd name="T0" fmla="*/ 72 w 75"/>
              <a:gd name="T1" fmla="*/ 5 h 12"/>
              <a:gd name="T2" fmla="*/ 58 w 75"/>
              <a:gd name="T3" fmla="*/ 7 h 12"/>
              <a:gd name="T4" fmla="*/ 48 w 75"/>
              <a:gd name="T5" fmla="*/ 8 h 12"/>
              <a:gd name="T6" fmla="*/ 48 w 75"/>
              <a:gd name="T7" fmla="*/ 10 h 12"/>
              <a:gd name="T8" fmla="*/ 36 w 75"/>
              <a:gd name="T9" fmla="*/ 12 h 12"/>
              <a:gd name="T10" fmla="*/ 22 w 75"/>
              <a:gd name="T11" fmla="*/ 9 h 12"/>
              <a:gd name="T12" fmla="*/ 26 w 75"/>
              <a:gd name="T13" fmla="*/ 5 h 12"/>
              <a:gd name="T14" fmla="*/ 0 w 75"/>
              <a:gd name="T15" fmla="*/ 5 h 12"/>
              <a:gd name="T16" fmla="*/ 21 w 75"/>
              <a:gd name="T17" fmla="*/ 2 h 12"/>
              <a:gd name="T18" fmla="*/ 38 w 75"/>
              <a:gd name="T19" fmla="*/ 2 h 12"/>
              <a:gd name="T20" fmla="*/ 43 w 75"/>
              <a:gd name="T21" fmla="*/ 5 h 12"/>
              <a:gd name="T22" fmla="*/ 47 w 75"/>
              <a:gd name="T23" fmla="*/ 2 h 12"/>
              <a:gd name="T24" fmla="*/ 56 w 75"/>
              <a:gd name="T25" fmla="*/ 0 h 12"/>
              <a:gd name="T26" fmla="*/ 75 w 75"/>
              <a:gd name="T27" fmla="*/ 3 h 12"/>
              <a:gd name="T28" fmla="*/ 72 w 75"/>
              <a:gd name="T29" fmla="*/ 5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75" h="12">
                <a:moveTo>
                  <a:pt x="72" y="5"/>
                </a:moveTo>
                <a:lnTo>
                  <a:pt x="58" y="7"/>
                </a:lnTo>
                <a:lnTo>
                  <a:pt x="48" y="8"/>
                </a:lnTo>
                <a:lnTo>
                  <a:pt x="48" y="10"/>
                </a:lnTo>
                <a:lnTo>
                  <a:pt x="36" y="12"/>
                </a:lnTo>
                <a:lnTo>
                  <a:pt x="22" y="9"/>
                </a:lnTo>
                <a:lnTo>
                  <a:pt x="26" y="5"/>
                </a:lnTo>
                <a:lnTo>
                  <a:pt x="0" y="5"/>
                </a:lnTo>
                <a:lnTo>
                  <a:pt x="21" y="2"/>
                </a:lnTo>
                <a:lnTo>
                  <a:pt x="38" y="2"/>
                </a:lnTo>
                <a:lnTo>
                  <a:pt x="43" y="5"/>
                </a:lnTo>
                <a:lnTo>
                  <a:pt x="47" y="2"/>
                </a:lnTo>
                <a:lnTo>
                  <a:pt x="56" y="0"/>
                </a:lnTo>
                <a:lnTo>
                  <a:pt x="75" y="3"/>
                </a:lnTo>
                <a:lnTo>
                  <a:pt x="72" y="5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58" name="Freeform 169"/>
          <p:cNvSpPr>
            <a:spLocks/>
          </p:cNvSpPr>
          <p:nvPr/>
        </p:nvSpPr>
        <p:spPr bwMode="auto">
          <a:xfrm>
            <a:off x="-592518" y="4578433"/>
            <a:ext cx="624818" cy="693747"/>
          </a:xfrm>
          <a:custGeom>
            <a:avLst/>
            <a:gdLst>
              <a:gd name="T0" fmla="*/ 151 w 154"/>
              <a:gd name="T1" fmla="*/ 11 h 138"/>
              <a:gd name="T2" fmla="*/ 151 w 154"/>
              <a:gd name="T3" fmla="*/ 0 h 138"/>
              <a:gd name="T4" fmla="*/ 154 w 154"/>
              <a:gd name="T5" fmla="*/ 0 h 138"/>
              <a:gd name="T6" fmla="*/ 154 w 154"/>
              <a:gd name="T7" fmla="*/ 1 h 138"/>
              <a:gd name="T8" fmla="*/ 153 w 154"/>
              <a:gd name="T9" fmla="*/ 5 h 138"/>
              <a:gd name="T10" fmla="*/ 153 w 154"/>
              <a:gd name="T11" fmla="*/ 37 h 138"/>
              <a:gd name="T12" fmla="*/ 94 w 154"/>
              <a:gd name="T13" fmla="*/ 36 h 138"/>
              <a:gd name="T14" fmla="*/ 93 w 154"/>
              <a:gd name="T15" fmla="*/ 89 h 138"/>
              <a:gd name="T16" fmla="*/ 77 w 154"/>
              <a:gd name="T17" fmla="*/ 91 h 138"/>
              <a:gd name="T18" fmla="*/ 72 w 154"/>
              <a:gd name="T19" fmla="*/ 101 h 138"/>
              <a:gd name="T20" fmla="*/ 75 w 154"/>
              <a:gd name="T21" fmla="*/ 131 h 138"/>
              <a:gd name="T22" fmla="*/ 4 w 154"/>
              <a:gd name="T23" fmla="*/ 131 h 138"/>
              <a:gd name="T24" fmla="*/ 0 w 154"/>
              <a:gd name="T25" fmla="*/ 138 h 138"/>
              <a:gd name="T26" fmla="*/ 1 w 154"/>
              <a:gd name="T27" fmla="*/ 129 h 138"/>
              <a:gd name="T28" fmla="*/ 1 w 154"/>
              <a:gd name="T29" fmla="*/ 129 h 138"/>
              <a:gd name="T30" fmla="*/ 42 w 154"/>
              <a:gd name="T31" fmla="*/ 128 h 138"/>
              <a:gd name="T32" fmla="*/ 44 w 154"/>
              <a:gd name="T33" fmla="*/ 120 h 138"/>
              <a:gd name="T34" fmla="*/ 52 w 154"/>
              <a:gd name="T35" fmla="*/ 111 h 138"/>
              <a:gd name="T36" fmla="*/ 59 w 154"/>
              <a:gd name="T37" fmla="*/ 82 h 138"/>
              <a:gd name="T38" fmla="*/ 84 w 154"/>
              <a:gd name="T39" fmla="*/ 60 h 138"/>
              <a:gd name="T40" fmla="*/ 93 w 154"/>
              <a:gd name="T41" fmla="*/ 34 h 138"/>
              <a:gd name="T42" fmla="*/ 99 w 154"/>
              <a:gd name="T43" fmla="*/ 32 h 138"/>
              <a:gd name="T44" fmla="*/ 105 w 154"/>
              <a:gd name="T45" fmla="*/ 16 h 138"/>
              <a:gd name="T46" fmla="*/ 120 w 154"/>
              <a:gd name="T47" fmla="*/ 14 h 138"/>
              <a:gd name="T48" fmla="*/ 126 w 154"/>
              <a:gd name="T49" fmla="*/ 16 h 138"/>
              <a:gd name="T50" fmla="*/ 134 w 154"/>
              <a:gd name="T51" fmla="*/ 16 h 138"/>
              <a:gd name="T52" fmla="*/ 140 w 154"/>
              <a:gd name="T53" fmla="*/ 12 h 138"/>
              <a:gd name="T54" fmla="*/ 151 w 154"/>
              <a:gd name="T55" fmla="*/ 11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54" h="138">
                <a:moveTo>
                  <a:pt x="151" y="11"/>
                </a:moveTo>
                <a:lnTo>
                  <a:pt x="151" y="0"/>
                </a:lnTo>
                <a:lnTo>
                  <a:pt x="154" y="0"/>
                </a:lnTo>
                <a:lnTo>
                  <a:pt x="154" y="1"/>
                </a:lnTo>
                <a:lnTo>
                  <a:pt x="153" y="5"/>
                </a:lnTo>
                <a:lnTo>
                  <a:pt x="153" y="37"/>
                </a:lnTo>
                <a:lnTo>
                  <a:pt x="94" y="36"/>
                </a:lnTo>
                <a:lnTo>
                  <a:pt x="93" y="89"/>
                </a:lnTo>
                <a:lnTo>
                  <a:pt x="77" y="91"/>
                </a:lnTo>
                <a:lnTo>
                  <a:pt x="72" y="101"/>
                </a:lnTo>
                <a:lnTo>
                  <a:pt x="75" y="131"/>
                </a:lnTo>
                <a:lnTo>
                  <a:pt x="4" y="131"/>
                </a:lnTo>
                <a:lnTo>
                  <a:pt x="0" y="138"/>
                </a:lnTo>
                <a:lnTo>
                  <a:pt x="1" y="129"/>
                </a:lnTo>
                <a:lnTo>
                  <a:pt x="1" y="129"/>
                </a:lnTo>
                <a:lnTo>
                  <a:pt x="42" y="128"/>
                </a:lnTo>
                <a:lnTo>
                  <a:pt x="44" y="120"/>
                </a:lnTo>
                <a:lnTo>
                  <a:pt x="52" y="111"/>
                </a:lnTo>
                <a:lnTo>
                  <a:pt x="59" y="82"/>
                </a:lnTo>
                <a:lnTo>
                  <a:pt x="84" y="60"/>
                </a:lnTo>
                <a:lnTo>
                  <a:pt x="93" y="34"/>
                </a:lnTo>
                <a:lnTo>
                  <a:pt x="99" y="32"/>
                </a:lnTo>
                <a:lnTo>
                  <a:pt x="105" y="16"/>
                </a:lnTo>
                <a:lnTo>
                  <a:pt x="120" y="14"/>
                </a:lnTo>
                <a:lnTo>
                  <a:pt x="126" y="16"/>
                </a:lnTo>
                <a:lnTo>
                  <a:pt x="134" y="16"/>
                </a:lnTo>
                <a:lnTo>
                  <a:pt x="140" y="12"/>
                </a:lnTo>
                <a:lnTo>
                  <a:pt x="151" y="11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59" name="Freeform 170"/>
          <p:cNvSpPr>
            <a:spLocks/>
          </p:cNvSpPr>
          <p:nvPr/>
        </p:nvSpPr>
        <p:spPr bwMode="auto">
          <a:xfrm>
            <a:off x="3144216" y="4110906"/>
            <a:ext cx="1570158" cy="1648911"/>
          </a:xfrm>
          <a:custGeom>
            <a:avLst/>
            <a:gdLst>
              <a:gd name="T0" fmla="*/ 161 w 387"/>
              <a:gd name="T1" fmla="*/ 319 h 328"/>
              <a:gd name="T2" fmla="*/ 153 w 387"/>
              <a:gd name="T3" fmla="*/ 304 h 328"/>
              <a:gd name="T4" fmla="*/ 132 w 387"/>
              <a:gd name="T5" fmla="*/ 280 h 328"/>
              <a:gd name="T6" fmla="*/ 113 w 387"/>
              <a:gd name="T7" fmla="*/ 248 h 328"/>
              <a:gd name="T8" fmla="*/ 91 w 387"/>
              <a:gd name="T9" fmla="*/ 225 h 328"/>
              <a:gd name="T10" fmla="*/ 88 w 387"/>
              <a:gd name="T11" fmla="*/ 198 h 328"/>
              <a:gd name="T12" fmla="*/ 67 w 387"/>
              <a:gd name="T13" fmla="*/ 167 h 328"/>
              <a:gd name="T14" fmla="*/ 50 w 387"/>
              <a:gd name="T15" fmla="*/ 151 h 328"/>
              <a:gd name="T16" fmla="*/ 45 w 387"/>
              <a:gd name="T17" fmla="*/ 135 h 328"/>
              <a:gd name="T18" fmla="*/ 31 w 387"/>
              <a:gd name="T19" fmla="*/ 115 h 328"/>
              <a:gd name="T20" fmla="*/ 9 w 387"/>
              <a:gd name="T21" fmla="*/ 84 h 328"/>
              <a:gd name="T22" fmla="*/ 2 w 387"/>
              <a:gd name="T23" fmla="*/ 73 h 328"/>
              <a:gd name="T24" fmla="*/ 3 w 387"/>
              <a:gd name="T25" fmla="*/ 58 h 328"/>
              <a:gd name="T26" fmla="*/ 30 w 387"/>
              <a:gd name="T27" fmla="*/ 55 h 328"/>
              <a:gd name="T28" fmla="*/ 47 w 387"/>
              <a:gd name="T29" fmla="*/ 44 h 328"/>
              <a:gd name="T30" fmla="*/ 54 w 387"/>
              <a:gd name="T31" fmla="*/ 34 h 328"/>
              <a:gd name="T32" fmla="*/ 69 w 387"/>
              <a:gd name="T33" fmla="*/ 3 h 328"/>
              <a:gd name="T34" fmla="*/ 93 w 387"/>
              <a:gd name="T35" fmla="*/ 5 h 328"/>
              <a:gd name="T36" fmla="*/ 176 w 387"/>
              <a:gd name="T37" fmla="*/ 61 h 328"/>
              <a:gd name="T38" fmla="*/ 225 w 387"/>
              <a:gd name="T39" fmla="*/ 65 h 328"/>
              <a:gd name="T40" fmla="*/ 243 w 387"/>
              <a:gd name="T41" fmla="*/ 74 h 328"/>
              <a:gd name="T42" fmla="*/ 261 w 387"/>
              <a:gd name="T43" fmla="*/ 97 h 328"/>
              <a:gd name="T44" fmla="*/ 278 w 387"/>
              <a:gd name="T45" fmla="*/ 113 h 328"/>
              <a:gd name="T46" fmla="*/ 279 w 387"/>
              <a:gd name="T47" fmla="*/ 128 h 328"/>
              <a:gd name="T48" fmla="*/ 288 w 387"/>
              <a:gd name="T49" fmla="*/ 141 h 328"/>
              <a:gd name="T50" fmla="*/ 294 w 387"/>
              <a:gd name="T51" fmla="*/ 153 h 328"/>
              <a:gd name="T52" fmla="*/ 305 w 387"/>
              <a:gd name="T53" fmla="*/ 156 h 328"/>
              <a:gd name="T54" fmla="*/ 310 w 387"/>
              <a:gd name="T55" fmla="*/ 169 h 328"/>
              <a:gd name="T56" fmla="*/ 374 w 387"/>
              <a:gd name="T57" fmla="*/ 200 h 328"/>
              <a:gd name="T58" fmla="*/ 387 w 387"/>
              <a:gd name="T59" fmla="*/ 210 h 328"/>
              <a:gd name="T60" fmla="*/ 327 w 387"/>
              <a:gd name="T61" fmla="*/ 273 h 328"/>
              <a:gd name="T62" fmla="*/ 259 w 387"/>
              <a:gd name="T63" fmla="*/ 290 h 328"/>
              <a:gd name="T64" fmla="*/ 239 w 387"/>
              <a:gd name="T65" fmla="*/ 315 h 328"/>
              <a:gd name="T66" fmla="*/ 227 w 387"/>
              <a:gd name="T67" fmla="*/ 309 h 328"/>
              <a:gd name="T68" fmla="*/ 206 w 387"/>
              <a:gd name="T69" fmla="*/ 305 h 328"/>
              <a:gd name="T70" fmla="*/ 181 w 387"/>
              <a:gd name="T71" fmla="*/ 308 h 328"/>
              <a:gd name="T72" fmla="*/ 169 w 387"/>
              <a:gd name="T73" fmla="*/ 312 h 328"/>
              <a:gd name="T74" fmla="*/ 163 w 387"/>
              <a:gd name="T75" fmla="*/ 328 h 3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87" h="328">
                <a:moveTo>
                  <a:pt x="163" y="328"/>
                </a:moveTo>
                <a:lnTo>
                  <a:pt x="161" y="319"/>
                </a:lnTo>
                <a:lnTo>
                  <a:pt x="155" y="313"/>
                </a:lnTo>
                <a:lnTo>
                  <a:pt x="153" y="304"/>
                </a:lnTo>
                <a:lnTo>
                  <a:pt x="143" y="297"/>
                </a:lnTo>
                <a:lnTo>
                  <a:pt x="132" y="280"/>
                </a:lnTo>
                <a:lnTo>
                  <a:pt x="126" y="263"/>
                </a:lnTo>
                <a:lnTo>
                  <a:pt x="113" y="248"/>
                </a:lnTo>
                <a:lnTo>
                  <a:pt x="104" y="245"/>
                </a:lnTo>
                <a:lnTo>
                  <a:pt x="91" y="225"/>
                </a:lnTo>
                <a:lnTo>
                  <a:pt x="88" y="211"/>
                </a:lnTo>
                <a:lnTo>
                  <a:pt x="88" y="198"/>
                </a:lnTo>
                <a:lnTo>
                  <a:pt x="76" y="175"/>
                </a:lnTo>
                <a:lnTo>
                  <a:pt x="67" y="167"/>
                </a:lnTo>
                <a:lnTo>
                  <a:pt x="57" y="163"/>
                </a:lnTo>
                <a:lnTo>
                  <a:pt x="50" y="151"/>
                </a:lnTo>
                <a:lnTo>
                  <a:pt x="51" y="146"/>
                </a:lnTo>
                <a:lnTo>
                  <a:pt x="45" y="135"/>
                </a:lnTo>
                <a:lnTo>
                  <a:pt x="39" y="131"/>
                </a:lnTo>
                <a:lnTo>
                  <a:pt x="31" y="115"/>
                </a:lnTo>
                <a:lnTo>
                  <a:pt x="19" y="99"/>
                </a:lnTo>
                <a:lnTo>
                  <a:pt x="9" y="84"/>
                </a:lnTo>
                <a:lnTo>
                  <a:pt x="0" y="85"/>
                </a:lnTo>
                <a:lnTo>
                  <a:pt x="2" y="73"/>
                </a:lnTo>
                <a:lnTo>
                  <a:pt x="2" y="66"/>
                </a:lnTo>
                <a:lnTo>
                  <a:pt x="3" y="58"/>
                </a:lnTo>
                <a:lnTo>
                  <a:pt x="23" y="61"/>
                </a:lnTo>
                <a:lnTo>
                  <a:pt x="30" y="55"/>
                </a:lnTo>
                <a:lnTo>
                  <a:pt x="34" y="47"/>
                </a:lnTo>
                <a:lnTo>
                  <a:pt x="47" y="44"/>
                </a:lnTo>
                <a:lnTo>
                  <a:pt x="49" y="37"/>
                </a:lnTo>
                <a:lnTo>
                  <a:pt x="54" y="34"/>
                </a:lnTo>
                <a:lnTo>
                  <a:pt x="35" y="13"/>
                </a:lnTo>
                <a:lnTo>
                  <a:pt x="69" y="3"/>
                </a:lnTo>
                <a:lnTo>
                  <a:pt x="72" y="0"/>
                </a:lnTo>
                <a:lnTo>
                  <a:pt x="93" y="5"/>
                </a:lnTo>
                <a:lnTo>
                  <a:pt x="121" y="20"/>
                </a:lnTo>
                <a:lnTo>
                  <a:pt x="176" y="61"/>
                </a:lnTo>
                <a:lnTo>
                  <a:pt x="209" y="63"/>
                </a:lnTo>
                <a:lnTo>
                  <a:pt x="225" y="65"/>
                </a:lnTo>
                <a:lnTo>
                  <a:pt x="230" y="75"/>
                </a:lnTo>
                <a:lnTo>
                  <a:pt x="243" y="74"/>
                </a:lnTo>
                <a:lnTo>
                  <a:pt x="252" y="92"/>
                </a:lnTo>
                <a:lnTo>
                  <a:pt x="261" y="97"/>
                </a:lnTo>
                <a:lnTo>
                  <a:pt x="265" y="104"/>
                </a:lnTo>
                <a:lnTo>
                  <a:pt x="278" y="113"/>
                </a:lnTo>
                <a:lnTo>
                  <a:pt x="280" y="121"/>
                </a:lnTo>
                <a:lnTo>
                  <a:pt x="279" y="128"/>
                </a:lnTo>
                <a:lnTo>
                  <a:pt x="282" y="135"/>
                </a:lnTo>
                <a:lnTo>
                  <a:pt x="288" y="141"/>
                </a:lnTo>
                <a:lnTo>
                  <a:pt x="291" y="148"/>
                </a:lnTo>
                <a:lnTo>
                  <a:pt x="294" y="153"/>
                </a:lnTo>
                <a:lnTo>
                  <a:pt x="300" y="157"/>
                </a:lnTo>
                <a:lnTo>
                  <a:pt x="305" y="156"/>
                </a:lnTo>
                <a:lnTo>
                  <a:pt x="309" y="164"/>
                </a:lnTo>
                <a:lnTo>
                  <a:pt x="310" y="169"/>
                </a:lnTo>
                <a:lnTo>
                  <a:pt x="319" y="190"/>
                </a:lnTo>
                <a:lnTo>
                  <a:pt x="374" y="200"/>
                </a:lnTo>
                <a:lnTo>
                  <a:pt x="378" y="196"/>
                </a:lnTo>
                <a:lnTo>
                  <a:pt x="387" y="210"/>
                </a:lnTo>
                <a:lnTo>
                  <a:pt x="379" y="252"/>
                </a:lnTo>
                <a:lnTo>
                  <a:pt x="327" y="273"/>
                </a:lnTo>
                <a:lnTo>
                  <a:pt x="275" y="281"/>
                </a:lnTo>
                <a:lnTo>
                  <a:pt x="259" y="290"/>
                </a:lnTo>
                <a:lnTo>
                  <a:pt x="247" y="312"/>
                </a:lnTo>
                <a:lnTo>
                  <a:pt x="239" y="315"/>
                </a:lnTo>
                <a:lnTo>
                  <a:pt x="234" y="308"/>
                </a:lnTo>
                <a:lnTo>
                  <a:pt x="227" y="309"/>
                </a:lnTo>
                <a:lnTo>
                  <a:pt x="210" y="307"/>
                </a:lnTo>
                <a:lnTo>
                  <a:pt x="206" y="305"/>
                </a:lnTo>
                <a:lnTo>
                  <a:pt x="185" y="306"/>
                </a:lnTo>
                <a:lnTo>
                  <a:pt x="181" y="308"/>
                </a:lnTo>
                <a:lnTo>
                  <a:pt x="173" y="302"/>
                </a:lnTo>
                <a:lnTo>
                  <a:pt x="169" y="312"/>
                </a:lnTo>
                <a:lnTo>
                  <a:pt x="171" y="321"/>
                </a:lnTo>
                <a:lnTo>
                  <a:pt x="163" y="328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60" name="Freeform 171"/>
          <p:cNvSpPr>
            <a:spLocks/>
          </p:cNvSpPr>
          <p:nvPr/>
        </p:nvSpPr>
        <p:spPr bwMode="auto">
          <a:xfrm>
            <a:off x="2280020" y="5166609"/>
            <a:ext cx="1196891" cy="1397553"/>
          </a:xfrm>
          <a:custGeom>
            <a:avLst/>
            <a:gdLst>
              <a:gd name="T0" fmla="*/ 218 w 295"/>
              <a:gd name="T1" fmla="*/ 260 h 278"/>
              <a:gd name="T2" fmla="*/ 216 w 295"/>
              <a:gd name="T3" fmla="*/ 243 h 278"/>
              <a:gd name="T4" fmla="*/ 204 w 295"/>
              <a:gd name="T5" fmla="*/ 220 h 278"/>
              <a:gd name="T6" fmla="*/ 197 w 295"/>
              <a:gd name="T7" fmla="*/ 203 h 278"/>
              <a:gd name="T8" fmla="*/ 185 w 295"/>
              <a:gd name="T9" fmla="*/ 209 h 278"/>
              <a:gd name="T10" fmla="*/ 192 w 295"/>
              <a:gd name="T11" fmla="*/ 227 h 278"/>
              <a:gd name="T12" fmla="*/ 173 w 295"/>
              <a:gd name="T13" fmla="*/ 254 h 278"/>
              <a:gd name="T14" fmla="*/ 148 w 295"/>
              <a:gd name="T15" fmla="*/ 244 h 278"/>
              <a:gd name="T16" fmla="*/ 139 w 295"/>
              <a:gd name="T17" fmla="*/ 254 h 278"/>
              <a:gd name="T18" fmla="*/ 130 w 295"/>
              <a:gd name="T19" fmla="*/ 262 h 278"/>
              <a:gd name="T20" fmla="*/ 109 w 295"/>
              <a:gd name="T21" fmla="*/ 258 h 278"/>
              <a:gd name="T22" fmla="*/ 89 w 295"/>
              <a:gd name="T23" fmla="*/ 261 h 278"/>
              <a:gd name="T24" fmla="*/ 74 w 295"/>
              <a:gd name="T25" fmla="*/ 247 h 278"/>
              <a:gd name="T26" fmla="*/ 58 w 295"/>
              <a:gd name="T27" fmla="*/ 244 h 278"/>
              <a:gd name="T28" fmla="*/ 49 w 295"/>
              <a:gd name="T29" fmla="*/ 272 h 278"/>
              <a:gd name="T30" fmla="*/ 37 w 295"/>
              <a:gd name="T31" fmla="*/ 278 h 278"/>
              <a:gd name="T32" fmla="*/ 29 w 295"/>
              <a:gd name="T33" fmla="*/ 271 h 278"/>
              <a:gd name="T34" fmla="*/ 30 w 295"/>
              <a:gd name="T35" fmla="*/ 256 h 278"/>
              <a:gd name="T36" fmla="*/ 20 w 295"/>
              <a:gd name="T37" fmla="*/ 235 h 278"/>
              <a:gd name="T38" fmla="*/ 17 w 295"/>
              <a:gd name="T39" fmla="*/ 221 h 278"/>
              <a:gd name="T40" fmla="*/ 10 w 295"/>
              <a:gd name="T41" fmla="*/ 203 h 278"/>
              <a:gd name="T42" fmla="*/ 0 w 295"/>
              <a:gd name="T43" fmla="*/ 196 h 278"/>
              <a:gd name="T44" fmla="*/ 6 w 295"/>
              <a:gd name="T45" fmla="*/ 180 h 278"/>
              <a:gd name="T46" fmla="*/ 9 w 295"/>
              <a:gd name="T47" fmla="*/ 165 h 278"/>
              <a:gd name="T48" fmla="*/ 10 w 295"/>
              <a:gd name="T49" fmla="*/ 147 h 278"/>
              <a:gd name="T50" fmla="*/ 34 w 295"/>
              <a:gd name="T51" fmla="*/ 133 h 278"/>
              <a:gd name="T52" fmla="*/ 30 w 295"/>
              <a:gd name="T53" fmla="*/ 42 h 278"/>
              <a:gd name="T54" fmla="*/ 49 w 295"/>
              <a:gd name="T55" fmla="*/ 0 h 278"/>
              <a:gd name="T56" fmla="*/ 191 w 295"/>
              <a:gd name="T57" fmla="*/ 0 h 278"/>
              <a:gd name="T58" fmla="*/ 269 w 295"/>
              <a:gd name="T59" fmla="*/ 21 h 278"/>
              <a:gd name="T60" fmla="*/ 270 w 295"/>
              <a:gd name="T61" fmla="*/ 46 h 278"/>
              <a:gd name="T62" fmla="*/ 285 w 295"/>
              <a:gd name="T63" fmla="*/ 76 h 278"/>
              <a:gd name="T64" fmla="*/ 287 w 295"/>
              <a:gd name="T65" fmla="*/ 95 h 278"/>
              <a:gd name="T66" fmla="*/ 268 w 295"/>
              <a:gd name="T67" fmla="*/ 105 h 278"/>
              <a:gd name="T68" fmla="*/ 260 w 295"/>
              <a:gd name="T69" fmla="*/ 149 h 278"/>
              <a:gd name="T70" fmla="*/ 260 w 295"/>
              <a:gd name="T71" fmla="*/ 175 h 278"/>
              <a:gd name="T72" fmla="*/ 243 w 295"/>
              <a:gd name="T73" fmla="*/ 206 h 278"/>
              <a:gd name="T74" fmla="*/ 234 w 295"/>
              <a:gd name="T75" fmla="*/ 231 h 278"/>
              <a:gd name="T76" fmla="*/ 221 w 295"/>
              <a:gd name="T77" fmla="*/ 258 h 2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95" h="278">
                <a:moveTo>
                  <a:pt x="221" y="261"/>
                </a:moveTo>
                <a:lnTo>
                  <a:pt x="218" y="260"/>
                </a:lnTo>
                <a:lnTo>
                  <a:pt x="218" y="250"/>
                </a:lnTo>
                <a:lnTo>
                  <a:pt x="216" y="243"/>
                </a:lnTo>
                <a:lnTo>
                  <a:pt x="207" y="235"/>
                </a:lnTo>
                <a:lnTo>
                  <a:pt x="204" y="220"/>
                </a:lnTo>
                <a:lnTo>
                  <a:pt x="206" y="204"/>
                </a:lnTo>
                <a:lnTo>
                  <a:pt x="197" y="203"/>
                </a:lnTo>
                <a:lnTo>
                  <a:pt x="196" y="208"/>
                </a:lnTo>
                <a:lnTo>
                  <a:pt x="185" y="209"/>
                </a:lnTo>
                <a:lnTo>
                  <a:pt x="190" y="215"/>
                </a:lnTo>
                <a:lnTo>
                  <a:pt x="192" y="227"/>
                </a:lnTo>
                <a:lnTo>
                  <a:pt x="182" y="239"/>
                </a:lnTo>
                <a:lnTo>
                  <a:pt x="173" y="254"/>
                </a:lnTo>
                <a:lnTo>
                  <a:pt x="164" y="256"/>
                </a:lnTo>
                <a:lnTo>
                  <a:pt x="148" y="244"/>
                </a:lnTo>
                <a:lnTo>
                  <a:pt x="141" y="248"/>
                </a:lnTo>
                <a:lnTo>
                  <a:pt x="139" y="254"/>
                </a:lnTo>
                <a:lnTo>
                  <a:pt x="130" y="258"/>
                </a:lnTo>
                <a:lnTo>
                  <a:pt x="130" y="262"/>
                </a:lnTo>
                <a:lnTo>
                  <a:pt x="111" y="262"/>
                </a:lnTo>
                <a:lnTo>
                  <a:pt x="109" y="258"/>
                </a:lnTo>
                <a:lnTo>
                  <a:pt x="95" y="257"/>
                </a:lnTo>
                <a:lnTo>
                  <a:pt x="89" y="261"/>
                </a:lnTo>
                <a:lnTo>
                  <a:pt x="84" y="259"/>
                </a:lnTo>
                <a:lnTo>
                  <a:pt x="74" y="247"/>
                </a:lnTo>
                <a:lnTo>
                  <a:pt x="71" y="241"/>
                </a:lnTo>
                <a:lnTo>
                  <a:pt x="58" y="244"/>
                </a:lnTo>
                <a:lnTo>
                  <a:pt x="53" y="254"/>
                </a:lnTo>
                <a:lnTo>
                  <a:pt x="49" y="272"/>
                </a:lnTo>
                <a:lnTo>
                  <a:pt x="42" y="276"/>
                </a:lnTo>
                <a:lnTo>
                  <a:pt x="37" y="278"/>
                </a:lnTo>
                <a:lnTo>
                  <a:pt x="35" y="277"/>
                </a:lnTo>
                <a:lnTo>
                  <a:pt x="29" y="271"/>
                </a:lnTo>
                <a:lnTo>
                  <a:pt x="28" y="265"/>
                </a:lnTo>
                <a:lnTo>
                  <a:pt x="30" y="256"/>
                </a:lnTo>
                <a:lnTo>
                  <a:pt x="30" y="248"/>
                </a:lnTo>
                <a:lnTo>
                  <a:pt x="20" y="235"/>
                </a:lnTo>
                <a:lnTo>
                  <a:pt x="17" y="226"/>
                </a:lnTo>
                <a:lnTo>
                  <a:pt x="17" y="221"/>
                </a:lnTo>
                <a:lnTo>
                  <a:pt x="10" y="215"/>
                </a:lnTo>
                <a:lnTo>
                  <a:pt x="10" y="203"/>
                </a:lnTo>
                <a:lnTo>
                  <a:pt x="6" y="195"/>
                </a:lnTo>
                <a:lnTo>
                  <a:pt x="0" y="196"/>
                </a:lnTo>
                <a:lnTo>
                  <a:pt x="1" y="188"/>
                </a:lnTo>
                <a:lnTo>
                  <a:pt x="6" y="180"/>
                </a:lnTo>
                <a:lnTo>
                  <a:pt x="4" y="171"/>
                </a:lnTo>
                <a:lnTo>
                  <a:pt x="9" y="165"/>
                </a:lnTo>
                <a:lnTo>
                  <a:pt x="6" y="160"/>
                </a:lnTo>
                <a:lnTo>
                  <a:pt x="10" y="147"/>
                </a:lnTo>
                <a:lnTo>
                  <a:pt x="18" y="132"/>
                </a:lnTo>
                <a:lnTo>
                  <a:pt x="34" y="133"/>
                </a:lnTo>
                <a:lnTo>
                  <a:pt x="30" y="51"/>
                </a:lnTo>
                <a:lnTo>
                  <a:pt x="30" y="42"/>
                </a:lnTo>
                <a:lnTo>
                  <a:pt x="51" y="42"/>
                </a:lnTo>
                <a:lnTo>
                  <a:pt x="49" y="0"/>
                </a:lnTo>
                <a:lnTo>
                  <a:pt x="121" y="0"/>
                </a:lnTo>
                <a:lnTo>
                  <a:pt x="191" y="0"/>
                </a:lnTo>
                <a:lnTo>
                  <a:pt x="262" y="0"/>
                </a:lnTo>
                <a:lnTo>
                  <a:pt x="269" y="21"/>
                </a:lnTo>
                <a:lnTo>
                  <a:pt x="266" y="24"/>
                </a:lnTo>
                <a:lnTo>
                  <a:pt x="270" y="46"/>
                </a:lnTo>
                <a:lnTo>
                  <a:pt x="278" y="71"/>
                </a:lnTo>
                <a:lnTo>
                  <a:pt x="285" y="76"/>
                </a:lnTo>
                <a:lnTo>
                  <a:pt x="295" y="84"/>
                </a:lnTo>
                <a:lnTo>
                  <a:pt x="287" y="95"/>
                </a:lnTo>
                <a:lnTo>
                  <a:pt x="273" y="99"/>
                </a:lnTo>
                <a:lnTo>
                  <a:pt x="268" y="105"/>
                </a:lnTo>
                <a:lnTo>
                  <a:pt x="267" y="119"/>
                </a:lnTo>
                <a:lnTo>
                  <a:pt x="260" y="149"/>
                </a:lnTo>
                <a:lnTo>
                  <a:pt x="263" y="158"/>
                </a:lnTo>
                <a:lnTo>
                  <a:pt x="260" y="175"/>
                </a:lnTo>
                <a:lnTo>
                  <a:pt x="254" y="196"/>
                </a:lnTo>
                <a:lnTo>
                  <a:pt x="243" y="206"/>
                </a:lnTo>
                <a:lnTo>
                  <a:pt x="236" y="222"/>
                </a:lnTo>
                <a:lnTo>
                  <a:pt x="234" y="231"/>
                </a:lnTo>
                <a:lnTo>
                  <a:pt x="226" y="236"/>
                </a:lnTo>
                <a:lnTo>
                  <a:pt x="221" y="258"/>
                </a:lnTo>
                <a:lnTo>
                  <a:pt x="221" y="261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61" name="Freeform 173"/>
          <p:cNvSpPr>
            <a:spLocks/>
          </p:cNvSpPr>
          <p:nvPr/>
        </p:nvSpPr>
        <p:spPr bwMode="auto">
          <a:xfrm>
            <a:off x="-649318" y="5734683"/>
            <a:ext cx="454414" cy="442389"/>
          </a:xfrm>
          <a:custGeom>
            <a:avLst/>
            <a:gdLst>
              <a:gd name="T0" fmla="*/ 17 w 112"/>
              <a:gd name="T1" fmla="*/ 62 h 88"/>
              <a:gd name="T2" fmla="*/ 10 w 112"/>
              <a:gd name="T3" fmla="*/ 46 h 88"/>
              <a:gd name="T4" fmla="*/ 0 w 112"/>
              <a:gd name="T5" fmla="*/ 38 h 88"/>
              <a:gd name="T6" fmla="*/ 9 w 112"/>
              <a:gd name="T7" fmla="*/ 34 h 88"/>
              <a:gd name="T8" fmla="*/ 18 w 112"/>
              <a:gd name="T9" fmla="*/ 20 h 88"/>
              <a:gd name="T10" fmla="*/ 22 w 112"/>
              <a:gd name="T11" fmla="*/ 9 h 88"/>
              <a:gd name="T12" fmla="*/ 29 w 112"/>
              <a:gd name="T13" fmla="*/ 2 h 88"/>
              <a:gd name="T14" fmla="*/ 38 w 112"/>
              <a:gd name="T15" fmla="*/ 4 h 88"/>
              <a:gd name="T16" fmla="*/ 47 w 112"/>
              <a:gd name="T17" fmla="*/ 0 h 88"/>
              <a:gd name="T18" fmla="*/ 57 w 112"/>
              <a:gd name="T19" fmla="*/ 0 h 88"/>
              <a:gd name="T20" fmla="*/ 65 w 112"/>
              <a:gd name="T21" fmla="*/ 6 h 88"/>
              <a:gd name="T22" fmla="*/ 77 w 112"/>
              <a:gd name="T23" fmla="*/ 11 h 88"/>
              <a:gd name="T24" fmla="*/ 88 w 112"/>
              <a:gd name="T25" fmla="*/ 26 h 88"/>
              <a:gd name="T26" fmla="*/ 100 w 112"/>
              <a:gd name="T27" fmla="*/ 41 h 88"/>
              <a:gd name="T28" fmla="*/ 100 w 112"/>
              <a:gd name="T29" fmla="*/ 54 h 88"/>
              <a:gd name="T30" fmla="*/ 104 w 112"/>
              <a:gd name="T31" fmla="*/ 66 h 88"/>
              <a:gd name="T32" fmla="*/ 111 w 112"/>
              <a:gd name="T33" fmla="*/ 71 h 88"/>
              <a:gd name="T34" fmla="*/ 112 w 112"/>
              <a:gd name="T35" fmla="*/ 79 h 88"/>
              <a:gd name="T36" fmla="*/ 111 w 112"/>
              <a:gd name="T37" fmla="*/ 86 h 88"/>
              <a:gd name="T38" fmla="*/ 109 w 112"/>
              <a:gd name="T39" fmla="*/ 87 h 88"/>
              <a:gd name="T40" fmla="*/ 99 w 112"/>
              <a:gd name="T41" fmla="*/ 85 h 88"/>
              <a:gd name="T42" fmla="*/ 97 w 112"/>
              <a:gd name="T43" fmla="*/ 88 h 88"/>
              <a:gd name="T44" fmla="*/ 93 w 112"/>
              <a:gd name="T45" fmla="*/ 88 h 88"/>
              <a:gd name="T46" fmla="*/ 80 w 112"/>
              <a:gd name="T47" fmla="*/ 83 h 88"/>
              <a:gd name="T48" fmla="*/ 71 w 112"/>
              <a:gd name="T49" fmla="*/ 83 h 88"/>
              <a:gd name="T50" fmla="*/ 38 w 112"/>
              <a:gd name="T51" fmla="*/ 82 h 88"/>
              <a:gd name="T52" fmla="*/ 33 w 112"/>
              <a:gd name="T53" fmla="*/ 84 h 88"/>
              <a:gd name="T54" fmla="*/ 27 w 112"/>
              <a:gd name="T55" fmla="*/ 84 h 88"/>
              <a:gd name="T56" fmla="*/ 17 w 112"/>
              <a:gd name="T57" fmla="*/ 87 h 88"/>
              <a:gd name="T58" fmla="*/ 14 w 112"/>
              <a:gd name="T59" fmla="*/ 71 h 88"/>
              <a:gd name="T60" fmla="*/ 31 w 112"/>
              <a:gd name="T61" fmla="*/ 72 h 88"/>
              <a:gd name="T62" fmla="*/ 35 w 112"/>
              <a:gd name="T63" fmla="*/ 69 h 88"/>
              <a:gd name="T64" fmla="*/ 39 w 112"/>
              <a:gd name="T65" fmla="*/ 69 h 88"/>
              <a:gd name="T66" fmla="*/ 45 w 112"/>
              <a:gd name="T67" fmla="*/ 64 h 88"/>
              <a:gd name="T68" fmla="*/ 53 w 112"/>
              <a:gd name="T69" fmla="*/ 68 h 88"/>
              <a:gd name="T70" fmla="*/ 61 w 112"/>
              <a:gd name="T71" fmla="*/ 69 h 88"/>
              <a:gd name="T72" fmla="*/ 69 w 112"/>
              <a:gd name="T73" fmla="*/ 64 h 88"/>
              <a:gd name="T74" fmla="*/ 65 w 112"/>
              <a:gd name="T75" fmla="*/ 58 h 88"/>
              <a:gd name="T76" fmla="*/ 59 w 112"/>
              <a:gd name="T77" fmla="*/ 61 h 88"/>
              <a:gd name="T78" fmla="*/ 54 w 112"/>
              <a:gd name="T79" fmla="*/ 61 h 88"/>
              <a:gd name="T80" fmla="*/ 47 w 112"/>
              <a:gd name="T81" fmla="*/ 56 h 88"/>
              <a:gd name="T82" fmla="*/ 41 w 112"/>
              <a:gd name="T83" fmla="*/ 56 h 88"/>
              <a:gd name="T84" fmla="*/ 37 w 112"/>
              <a:gd name="T85" fmla="*/ 61 h 88"/>
              <a:gd name="T86" fmla="*/ 17 w 112"/>
              <a:gd name="T87" fmla="*/ 62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12" h="88">
                <a:moveTo>
                  <a:pt x="17" y="62"/>
                </a:moveTo>
                <a:lnTo>
                  <a:pt x="10" y="46"/>
                </a:lnTo>
                <a:lnTo>
                  <a:pt x="0" y="38"/>
                </a:lnTo>
                <a:lnTo>
                  <a:pt x="9" y="34"/>
                </a:lnTo>
                <a:lnTo>
                  <a:pt x="18" y="20"/>
                </a:lnTo>
                <a:lnTo>
                  <a:pt x="22" y="9"/>
                </a:lnTo>
                <a:lnTo>
                  <a:pt x="29" y="2"/>
                </a:lnTo>
                <a:lnTo>
                  <a:pt x="38" y="4"/>
                </a:lnTo>
                <a:lnTo>
                  <a:pt x="47" y="0"/>
                </a:lnTo>
                <a:lnTo>
                  <a:pt x="57" y="0"/>
                </a:lnTo>
                <a:lnTo>
                  <a:pt x="65" y="6"/>
                </a:lnTo>
                <a:lnTo>
                  <a:pt x="77" y="11"/>
                </a:lnTo>
                <a:lnTo>
                  <a:pt x="88" y="26"/>
                </a:lnTo>
                <a:lnTo>
                  <a:pt x="100" y="41"/>
                </a:lnTo>
                <a:lnTo>
                  <a:pt x="100" y="54"/>
                </a:lnTo>
                <a:lnTo>
                  <a:pt x="104" y="66"/>
                </a:lnTo>
                <a:lnTo>
                  <a:pt x="111" y="71"/>
                </a:lnTo>
                <a:lnTo>
                  <a:pt x="112" y="79"/>
                </a:lnTo>
                <a:lnTo>
                  <a:pt x="111" y="86"/>
                </a:lnTo>
                <a:lnTo>
                  <a:pt x="109" y="87"/>
                </a:lnTo>
                <a:lnTo>
                  <a:pt x="99" y="85"/>
                </a:lnTo>
                <a:lnTo>
                  <a:pt x="97" y="88"/>
                </a:lnTo>
                <a:lnTo>
                  <a:pt x="93" y="88"/>
                </a:lnTo>
                <a:lnTo>
                  <a:pt x="80" y="83"/>
                </a:lnTo>
                <a:lnTo>
                  <a:pt x="71" y="83"/>
                </a:lnTo>
                <a:lnTo>
                  <a:pt x="38" y="82"/>
                </a:lnTo>
                <a:lnTo>
                  <a:pt x="33" y="84"/>
                </a:lnTo>
                <a:lnTo>
                  <a:pt x="27" y="84"/>
                </a:lnTo>
                <a:lnTo>
                  <a:pt x="17" y="87"/>
                </a:lnTo>
                <a:lnTo>
                  <a:pt x="14" y="71"/>
                </a:lnTo>
                <a:lnTo>
                  <a:pt x="31" y="72"/>
                </a:lnTo>
                <a:lnTo>
                  <a:pt x="35" y="69"/>
                </a:lnTo>
                <a:lnTo>
                  <a:pt x="39" y="69"/>
                </a:lnTo>
                <a:lnTo>
                  <a:pt x="45" y="64"/>
                </a:lnTo>
                <a:lnTo>
                  <a:pt x="53" y="68"/>
                </a:lnTo>
                <a:lnTo>
                  <a:pt x="61" y="69"/>
                </a:lnTo>
                <a:lnTo>
                  <a:pt x="69" y="64"/>
                </a:lnTo>
                <a:lnTo>
                  <a:pt x="65" y="58"/>
                </a:lnTo>
                <a:lnTo>
                  <a:pt x="59" y="61"/>
                </a:lnTo>
                <a:lnTo>
                  <a:pt x="54" y="61"/>
                </a:lnTo>
                <a:lnTo>
                  <a:pt x="47" y="56"/>
                </a:lnTo>
                <a:lnTo>
                  <a:pt x="41" y="56"/>
                </a:lnTo>
                <a:lnTo>
                  <a:pt x="37" y="61"/>
                </a:lnTo>
                <a:lnTo>
                  <a:pt x="17" y="62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62" name="Freeform 179"/>
          <p:cNvSpPr>
            <a:spLocks/>
          </p:cNvSpPr>
          <p:nvPr/>
        </p:nvSpPr>
        <p:spPr bwMode="auto">
          <a:xfrm>
            <a:off x="-328796" y="6418375"/>
            <a:ext cx="223151" cy="341846"/>
          </a:xfrm>
          <a:custGeom>
            <a:avLst/>
            <a:gdLst>
              <a:gd name="T0" fmla="*/ 33 w 55"/>
              <a:gd name="T1" fmla="*/ 68 h 68"/>
              <a:gd name="T2" fmla="*/ 28 w 55"/>
              <a:gd name="T3" fmla="*/ 66 h 68"/>
              <a:gd name="T4" fmla="*/ 15 w 55"/>
              <a:gd name="T5" fmla="*/ 58 h 68"/>
              <a:gd name="T6" fmla="*/ 5 w 55"/>
              <a:gd name="T7" fmla="*/ 46 h 68"/>
              <a:gd name="T8" fmla="*/ 2 w 55"/>
              <a:gd name="T9" fmla="*/ 39 h 68"/>
              <a:gd name="T10" fmla="*/ 0 w 55"/>
              <a:gd name="T11" fmla="*/ 23 h 68"/>
              <a:gd name="T12" fmla="*/ 10 w 55"/>
              <a:gd name="T13" fmla="*/ 14 h 68"/>
              <a:gd name="T14" fmla="*/ 12 w 55"/>
              <a:gd name="T15" fmla="*/ 8 h 68"/>
              <a:gd name="T16" fmla="*/ 15 w 55"/>
              <a:gd name="T17" fmla="*/ 4 h 68"/>
              <a:gd name="T18" fmla="*/ 20 w 55"/>
              <a:gd name="T19" fmla="*/ 4 h 68"/>
              <a:gd name="T20" fmla="*/ 24 w 55"/>
              <a:gd name="T21" fmla="*/ 0 h 68"/>
              <a:gd name="T22" fmla="*/ 39 w 55"/>
              <a:gd name="T23" fmla="*/ 0 h 68"/>
              <a:gd name="T24" fmla="*/ 44 w 55"/>
              <a:gd name="T25" fmla="*/ 7 h 68"/>
              <a:gd name="T26" fmla="*/ 48 w 55"/>
              <a:gd name="T27" fmla="*/ 16 h 68"/>
              <a:gd name="T28" fmla="*/ 47 w 55"/>
              <a:gd name="T29" fmla="*/ 22 h 68"/>
              <a:gd name="T30" fmla="*/ 50 w 55"/>
              <a:gd name="T31" fmla="*/ 27 h 68"/>
              <a:gd name="T32" fmla="*/ 50 w 55"/>
              <a:gd name="T33" fmla="*/ 35 h 68"/>
              <a:gd name="T34" fmla="*/ 55 w 55"/>
              <a:gd name="T35" fmla="*/ 34 h 68"/>
              <a:gd name="T36" fmla="*/ 46 w 55"/>
              <a:gd name="T37" fmla="*/ 43 h 68"/>
              <a:gd name="T38" fmla="*/ 38 w 55"/>
              <a:gd name="T39" fmla="*/ 55 h 68"/>
              <a:gd name="T40" fmla="*/ 37 w 55"/>
              <a:gd name="T41" fmla="*/ 61 h 68"/>
              <a:gd name="T42" fmla="*/ 33 w 55"/>
              <a:gd name="T43" fmla="*/ 68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5" h="68">
                <a:moveTo>
                  <a:pt x="33" y="68"/>
                </a:moveTo>
                <a:lnTo>
                  <a:pt x="28" y="66"/>
                </a:lnTo>
                <a:lnTo>
                  <a:pt x="15" y="58"/>
                </a:lnTo>
                <a:lnTo>
                  <a:pt x="5" y="46"/>
                </a:lnTo>
                <a:lnTo>
                  <a:pt x="2" y="39"/>
                </a:lnTo>
                <a:lnTo>
                  <a:pt x="0" y="23"/>
                </a:lnTo>
                <a:lnTo>
                  <a:pt x="10" y="14"/>
                </a:lnTo>
                <a:lnTo>
                  <a:pt x="12" y="8"/>
                </a:lnTo>
                <a:lnTo>
                  <a:pt x="15" y="4"/>
                </a:lnTo>
                <a:lnTo>
                  <a:pt x="20" y="4"/>
                </a:lnTo>
                <a:lnTo>
                  <a:pt x="24" y="0"/>
                </a:lnTo>
                <a:lnTo>
                  <a:pt x="39" y="0"/>
                </a:lnTo>
                <a:lnTo>
                  <a:pt x="44" y="7"/>
                </a:lnTo>
                <a:lnTo>
                  <a:pt x="48" y="16"/>
                </a:lnTo>
                <a:lnTo>
                  <a:pt x="47" y="22"/>
                </a:lnTo>
                <a:lnTo>
                  <a:pt x="50" y="27"/>
                </a:lnTo>
                <a:lnTo>
                  <a:pt x="50" y="35"/>
                </a:lnTo>
                <a:lnTo>
                  <a:pt x="55" y="34"/>
                </a:lnTo>
                <a:lnTo>
                  <a:pt x="46" y="43"/>
                </a:lnTo>
                <a:lnTo>
                  <a:pt x="38" y="55"/>
                </a:lnTo>
                <a:lnTo>
                  <a:pt x="37" y="61"/>
                </a:lnTo>
                <a:lnTo>
                  <a:pt x="33" y="68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63" name="Freeform 181"/>
          <p:cNvSpPr>
            <a:spLocks/>
          </p:cNvSpPr>
          <p:nvPr/>
        </p:nvSpPr>
        <p:spPr bwMode="auto">
          <a:xfrm>
            <a:off x="3813660" y="6267563"/>
            <a:ext cx="474699" cy="361956"/>
          </a:xfrm>
          <a:custGeom>
            <a:avLst/>
            <a:gdLst>
              <a:gd name="T0" fmla="*/ 117 w 117"/>
              <a:gd name="T1" fmla="*/ 42 h 72"/>
              <a:gd name="T2" fmla="*/ 109 w 117"/>
              <a:gd name="T3" fmla="*/ 55 h 72"/>
              <a:gd name="T4" fmla="*/ 97 w 117"/>
              <a:gd name="T5" fmla="*/ 72 h 72"/>
              <a:gd name="T6" fmla="*/ 82 w 117"/>
              <a:gd name="T7" fmla="*/ 72 h 72"/>
              <a:gd name="T8" fmla="*/ 21 w 117"/>
              <a:gd name="T9" fmla="*/ 47 h 72"/>
              <a:gd name="T10" fmla="*/ 14 w 117"/>
              <a:gd name="T11" fmla="*/ 40 h 72"/>
              <a:gd name="T12" fmla="*/ 7 w 117"/>
              <a:gd name="T13" fmla="*/ 30 h 72"/>
              <a:gd name="T14" fmla="*/ 0 w 117"/>
              <a:gd name="T15" fmla="*/ 19 h 72"/>
              <a:gd name="T16" fmla="*/ 3 w 117"/>
              <a:gd name="T17" fmla="*/ 11 h 72"/>
              <a:gd name="T18" fmla="*/ 10 w 117"/>
              <a:gd name="T19" fmla="*/ 0 h 72"/>
              <a:gd name="T20" fmla="*/ 16 w 117"/>
              <a:gd name="T21" fmla="*/ 4 h 72"/>
              <a:gd name="T22" fmla="*/ 20 w 117"/>
              <a:gd name="T23" fmla="*/ 13 h 72"/>
              <a:gd name="T24" fmla="*/ 28 w 117"/>
              <a:gd name="T25" fmla="*/ 21 h 72"/>
              <a:gd name="T26" fmla="*/ 37 w 117"/>
              <a:gd name="T27" fmla="*/ 21 h 72"/>
              <a:gd name="T28" fmla="*/ 54 w 117"/>
              <a:gd name="T29" fmla="*/ 16 h 72"/>
              <a:gd name="T30" fmla="*/ 74 w 117"/>
              <a:gd name="T31" fmla="*/ 14 h 72"/>
              <a:gd name="T32" fmla="*/ 90 w 117"/>
              <a:gd name="T33" fmla="*/ 7 h 72"/>
              <a:gd name="T34" fmla="*/ 99 w 117"/>
              <a:gd name="T35" fmla="*/ 6 h 72"/>
              <a:gd name="T36" fmla="*/ 105 w 117"/>
              <a:gd name="T37" fmla="*/ 2 h 72"/>
              <a:gd name="T38" fmla="*/ 116 w 117"/>
              <a:gd name="T39" fmla="*/ 1 h 72"/>
              <a:gd name="T40" fmla="*/ 116 w 117"/>
              <a:gd name="T41" fmla="*/ 2 h 72"/>
              <a:gd name="T42" fmla="*/ 116 w 117"/>
              <a:gd name="T43" fmla="*/ 10 h 72"/>
              <a:gd name="T44" fmla="*/ 117 w 117"/>
              <a:gd name="T45" fmla="*/ 31 h 72"/>
              <a:gd name="T46" fmla="*/ 117 w 117"/>
              <a:gd name="T47" fmla="*/ 4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17" h="72">
                <a:moveTo>
                  <a:pt x="117" y="42"/>
                </a:moveTo>
                <a:lnTo>
                  <a:pt x="109" y="55"/>
                </a:lnTo>
                <a:lnTo>
                  <a:pt x="97" y="72"/>
                </a:lnTo>
                <a:lnTo>
                  <a:pt x="82" y="72"/>
                </a:lnTo>
                <a:lnTo>
                  <a:pt x="21" y="47"/>
                </a:lnTo>
                <a:lnTo>
                  <a:pt x="14" y="40"/>
                </a:lnTo>
                <a:lnTo>
                  <a:pt x="7" y="30"/>
                </a:lnTo>
                <a:lnTo>
                  <a:pt x="0" y="19"/>
                </a:lnTo>
                <a:lnTo>
                  <a:pt x="3" y="11"/>
                </a:lnTo>
                <a:lnTo>
                  <a:pt x="10" y="0"/>
                </a:lnTo>
                <a:lnTo>
                  <a:pt x="16" y="4"/>
                </a:lnTo>
                <a:lnTo>
                  <a:pt x="20" y="13"/>
                </a:lnTo>
                <a:lnTo>
                  <a:pt x="28" y="21"/>
                </a:lnTo>
                <a:lnTo>
                  <a:pt x="37" y="21"/>
                </a:lnTo>
                <a:lnTo>
                  <a:pt x="54" y="16"/>
                </a:lnTo>
                <a:lnTo>
                  <a:pt x="74" y="14"/>
                </a:lnTo>
                <a:lnTo>
                  <a:pt x="90" y="7"/>
                </a:lnTo>
                <a:lnTo>
                  <a:pt x="99" y="6"/>
                </a:lnTo>
                <a:lnTo>
                  <a:pt x="105" y="2"/>
                </a:lnTo>
                <a:lnTo>
                  <a:pt x="116" y="1"/>
                </a:lnTo>
                <a:lnTo>
                  <a:pt x="116" y="2"/>
                </a:lnTo>
                <a:lnTo>
                  <a:pt x="116" y="10"/>
                </a:lnTo>
                <a:lnTo>
                  <a:pt x="117" y="31"/>
                </a:lnTo>
                <a:lnTo>
                  <a:pt x="117" y="42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64" name="Freeform 183"/>
          <p:cNvSpPr>
            <a:spLocks/>
          </p:cNvSpPr>
          <p:nvPr/>
        </p:nvSpPr>
        <p:spPr bwMode="auto">
          <a:xfrm>
            <a:off x="1906750" y="2658054"/>
            <a:ext cx="300237" cy="402174"/>
          </a:xfrm>
          <a:custGeom>
            <a:avLst/>
            <a:gdLst>
              <a:gd name="T0" fmla="*/ 35 w 74"/>
              <a:gd name="T1" fmla="*/ 15 h 80"/>
              <a:gd name="T2" fmla="*/ 45 w 74"/>
              <a:gd name="T3" fmla="*/ 20 h 80"/>
              <a:gd name="T4" fmla="*/ 47 w 74"/>
              <a:gd name="T5" fmla="*/ 28 h 80"/>
              <a:gd name="T6" fmla="*/ 58 w 74"/>
              <a:gd name="T7" fmla="*/ 34 h 80"/>
              <a:gd name="T8" fmla="*/ 62 w 74"/>
              <a:gd name="T9" fmla="*/ 30 h 80"/>
              <a:gd name="T10" fmla="*/ 67 w 74"/>
              <a:gd name="T11" fmla="*/ 32 h 80"/>
              <a:gd name="T12" fmla="*/ 63 w 74"/>
              <a:gd name="T13" fmla="*/ 36 h 80"/>
              <a:gd name="T14" fmla="*/ 66 w 74"/>
              <a:gd name="T15" fmla="*/ 39 h 80"/>
              <a:gd name="T16" fmla="*/ 63 w 74"/>
              <a:gd name="T17" fmla="*/ 44 h 80"/>
              <a:gd name="T18" fmla="*/ 65 w 74"/>
              <a:gd name="T19" fmla="*/ 52 h 80"/>
              <a:gd name="T20" fmla="*/ 74 w 74"/>
              <a:gd name="T21" fmla="*/ 60 h 80"/>
              <a:gd name="T22" fmla="*/ 68 w 74"/>
              <a:gd name="T23" fmla="*/ 67 h 80"/>
              <a:gd name="T24" fmla="*/ 66 w 74"/>
              <a:gd name="T25" fmla="*/ 73 h 80"/>
              <a:gd name="T26" fmla="*/ 68 w 74"/>
              <a:gd name="T27" fmla="*/ 76 h 80"/>
              <a:gd name="T28" fmla="*/ 66 w 74"/>
              <a:gd name="T29" fmla="*/ 79 h 80"/>
              <a:gd name="T30" fmla="*/ 58 w 74"/>
              <a:gd name="T31" fmla="*/ 79 h 80"/>
              <a:gd name="T32" fmla="*/ 52 w 74"/>
              <a:gd name="T33" fmla="*/ 80 h 80"/>
              <a:gd name="T34" fmla="*/ 52 w 74"/>
              <a:gd name="T35" fmla="*/ 79 h 80"/>
              <a:gd name="T36" fmla="*/ 54 w 74"/>
              <a:gd name="T37" fmla="*/ 76 h 80"/>
              <a:gd name="T38" fmla="*/ 55 w 74"/>
              <a:gd name="T39" fmla="*/ 71 h 80"/>
              <a:gd name="T40" fmla="*/ 53 w 74"/>
              <a:gd name="T41" fmla="*/ 71 h 80"/>
              <a:gd name="T42" fmla="*/ 49 w 74"/>
              <a:gd name="T43" fmla="*/ 67 h 80"/>
              <a:gd name="T44" fmla="*/ 46 w 74"/>
              <a:gd name="T45" fmla="*/ 66 h 80"/>
              <a:gd name="T46" fmla="*/ 44 w 74"/>
              <a:gd name="T47" fmla="*/ 63 h 80"/>
              <a:gd name="T48" fmla="*/ 40 w 74"/>
              <a:gd name="T49" fmla="*/ 62 h 80"/>
              <a:gd name="T50" fmla="*/ 38 w 74"/>
              <a:gd name="T51" fmla="*/ 59 h 80"/>
              <a:gd name="T52" fmla="*/ 35 w 74"/>
              <a:gd name="T53" fmla="*/ 60 h 80"/>
              <a:gd name="T54" fmla="*/ 33 w 74"/>
              <a:gd name="T55" fmla="*/ 67 h 80"/>
              <a:gd name="T56" fmla="*/ 29 w 74"/>
              <a:gd name="T57" fmla="*/ 68 h 80"/>
              <a:gd name="T58" fmla="*/ 31 w 74"/>
              <a:gd name="T59" fmla="*/ 67 h 80"/>
              <a:gd name="T60" fmla="*/ 24 w 74"/>
              <a:gd name="T61" fmla="*/ 63 h 80"/>
              <a:gd name="T62" fmla="*/ 18 w 74"/>
              <a:gd name="T63" fmla="*/ 60 h 80"/>
              <a:gd name="T64" fmla="*/ 16 w 74"/>
              <a:gd name="T65" fmla="*/ 57 h 80"/>
              <a:gd name="T66" fmla="*/ 11 w 74"/>
              <a:gd name="T67" fmla="*/ 54 h 80"/>
              <a:gd name="T68" fmla="*/ 15 w 74"/>
              <a:gd name="T69" fmla="*/ 53 h 80"/>
              <a:gd name="T70" fmla="*/ 16 w 74"/>
              <a:gd name="T71" fmla="*/ 43 h 80"/>
              <a:gd name="T72" fmla="*/ 7 w 74"/>
              <a:gd name="T73" fmla="*/ 35 h 80"/>
              <a:gd name="T74" fmla="*/ 11 w 74"/>
              <a:gd name="T75" fmla="*/ 26 h 80"/>
              <a:gd name="T76" fmla="*/ 5 w 74"/>
              <a:gd name="T77" fmla="*/ 26 h 80"/>
              <a:gd name="T78" fmla="*/ 10 w 74"/>
              <a:gd name="T79" fmla="*/ 19 h 80"/>
              <a:gd name="T80" fmla="*/ 5 w 74"/>
              <a:gd name="T81" fmla="*/ 13 h 80"/>
              <a:gd name="T82" fmla="*/ 0 w 74"/>
              <a:gd name="T83" fmla="*/ 5 h 80"/>
              <a:gd name="T84" fmla="*/ 12 w 74"/>
              <a:gd name="T85" fmla="*/ 0 h 80"/>
              <a:gd name="T86" fmla="*/ 22 w 74"/>
              <a:gd name="T87" fmla="*/ 1 h 80"/>
              <a:gd name="T88" fmla="*/ 32 w 74"/>
              <a:gd name="T89" fmla="*/ 9 h 80"/>
              <a:gd name="T90" fmla="*/ 35 w 74"/>
              <a:gd name="T91" fmla="*/ 15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4" h="80">
                <a:moveTo>
                  <a:pt x="35" y="15"/>
                </a:moveTo>
                <a:lnTo>
                  <a:pt x="45" y="20"/>
                </a:lnTo>
                <a:lnTo>
                  <a:pt x="47" y="28"/>
                </a:lnTo>
                <a:lnTo>
                  <a:pt x="58" y="34"/>
                </a:lnTo>
                <a:lnTo>
                  <a:pt x="62" y="30"/>
                </a:lnTo>
                <a:lnTo>
                  <a:pt x="67" y="32"/>
                </a:lnTo>
                <a:lnTo>
                  <a:pt x="63" y="36"/>
                </a:lnTo>
                <a:lnTo>
                  <a:pt x="66" y="39"/>
                </a:lnTo>
                <a:lnTo>
                  <a:pt x="63" y="44"/>
                </a:lnTo>
                <a:lnTo>
                  <a:pt x="65" y="52"/>
                </a:lnTo>
                <a:lnTo>
                  <a:pt x="74" y="60"/>
                </a:lnTo>
                <a:lnTo>
                  <a:pt x="68" y="67"/>
                </a:lnTo>
                <a:lnTo>
                  <a:pt x="66" y="73"/>
                </a:lnTo>
                <a:lnTo>
                  <a:pt x="68" y="76"/>
                </a:lnTo>
                <a:lnTo>
                  <a:pt x="66" y="79"/>
                </a:lnTo>
                <a:lnTo>
                  <a:pt x="58" y="79"/>
                </a:lnTo>
                <a:lnTo>
                  <a:pt x="52" y="80"/>
                </a:lnTo>
                <a:lnTo>
                  <a:pt x="52" y="79"/>
                </a:lnTo>
                <a:lnTo>
                  <a:pt x="54" y="76"/>
                </a:lnTo>
                <a:lnTo>
                  <a:pt x="55" y="71"/>
                </a:lnTo>
                <a:lnTo>
                  <a:pt x="53" y="71"/>
                </a:lnTo>
                <a:lnTo>
                  <a:pt x="49" y="67"/>
                </a:lnTo>
                <a:lnTo>
                  <a:pt x="46" y="66"/>
                </a:lnTo>
                <a:lnTo>
                  <a:pt x="44" y="63"/>
                </a:lnTo>
                <a:lnTo>
                  <a:pt x="40" y="62"/>
                </a:lnTo>
                <a:lnTo>
                  <a:pt x="38" y="59"/>
                </a:lnTo>
                <a:lnTo>
                  <a:pt x="35" y="60"/>
                </a:lnTo>
                <a:lnTo>
                  <a:pt x="33" y="67"/>
                </a:lnTo>
                <a:lnTo>
                  <a:pt x="29" y="68"/>
                </a:lnTo>
                <a:lnTo>
                  <a:pt x="31" y="67"/>
                </a:lnTo>
                <a:lnTo>
                  <a:pt x="24" y="63"/>
                </a:lnTo>
                <a:lnTo>
                  <a:pt x="18" y="60"/>
                </a:lnTo>
                <a:lnTo>
                  <a:pt x="16" y="57"/>
                </a:lnTo>
                <a:lnTo>
                  <a:pt x="11" y="54"/>
                </a:lnTo>
                <a:lnTo>
                  <a:pt x="15" y="53"/>
                </a:lnTo>
                <a:lnTo>
                  <a:pt x="16" y="43"/>
                </a:lnTo>
                <a:lnTo>
                  <a:pt x="7" y="35"/>
                </a:lnTo>
                <a:lnTo>
                  <a:pt x="11" y="26"/>
                </a:lnTo>
                <a:lnTo>
                  <a:pt x="5" y="26"/>
                </a:lnTo>
                <a:lnTo>
                  <a:pt x="10" y="19"/>
                </a:lnTo>
                <a:lnTo>
                  <a:pt x="5" y="13"/>
                </a:lnTo>
                <a:lnTo>
                  <a:pt x="0" y="5"/>
                </a:lnTo>
                <a:lnTo>
                  <a:pt x="12" y="0"/>
                </a:lnTo>
                <a:lnTo>
                  <a:pt x="22" y="1"/>
                </a:lnTo>
                <a:lnTo>
                  <a:pt x="32" y="9"/>
                </a:lnTo>
                <a:lnTo>
                  <a:pt x="35" y="15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65" name="Freeform 185"/>
          <p:cNvSpPr>
            <a:spLocks/>
          </p:cNvSpPr>
          <p:nvPr/>
        </p:nvSpPr>
        <p:spPr bwMode="auto">
          <a:xfrm>
            <a:off x="1760691" y="2311179"/>
            <a:ext cx="365152" cy="180980"/>
          </a:xfrm>
          <a:custGeom>
            <a:avLst/>
            <a:gdLst>
              <a:gd name="T0" fmla="*/ 29 w 90"/>
              <a:gd name="T1" fmla="*/ 1 h 36"/>
              <a:gd name="T2" fmla="*/ 30 w 90"/>
              <a:gd name="T3" fmla="*/ 3 h 36"/>
              <a:gd name="T4" fmla="*/ 37 w 90"/>
              <a:gd name="T5" fmla="*/ 0 h 36"/>
              <a:gd name="T6" fmla="*/ 45 w 90"/>
              <a:gd name="T7" fmla="*/ 7 h 36"/>
              <a:gd name="T8" fmla="*/ 54 w 90"/>
              <a:gd name="T9" fmla="*/ 3 h 36"/>
              <a:gd name="T10" fmla="*/ 62 w 90"/>
              <a:gd name="T11" fmla="*/ 4 h 36"/>
              <a:gd name="T12" fmla="*/ 74 w 90"/>
              <a:gd name="T13" fmla="*/ 2 h 36"/>
              <a:gd name="T14" fmla="*/ 90 w 90"/>
              <a:gd name="T15" fmla="*/ 10 h 36"/>
              <a:gd name="T16" fmla="*/ 86 w 90"/>
              <a:gd name="T17" fmla="*/ 15 h 36"/>
              <a:gd name="T18" fmla="*/ 84 w 90"/>
              <a:gd name="T19" fmla="*/ 23 h 36"/>
              <a:gd name="T20" fmla="*/ 81 w 90"/>
              <a:gd name="T21" fmla="*/ 25 h 36"/>
              <a:gd name="T22" fmla="*/ 63 w 90"/>
              <a:gd name="T23" fmla="*/ 19 h 36"/>
              <a:gd name="T24" fmla="*/ 57 w 90"/>
              <a:gd name="T25" fmla="*/ 20 h 36"/>
              <a:gd name="T26" fmla="*/ 54 w 90"/>
              <a:gd name="T27" fmla="*/ 25 h 36"/>
              <a:gd name="T28" fmla="*/ 47 w 90"/>
              <a:gd name="T29" fmla="*/ 27 h 36"/>
              <a:gd name="T30" fmla="*/ 45 w 90"/>
              <a:gd name="T31" fmla="*/ 26 h 36"/>
              <a:gd name="T32" fmla="*/ 37 w 90"/>
              <a:gd name="T33" fmla="*/ 29 h 36"/>
              <a:gd name="T34" fmla="*/ 31 w 90"/>
              <a:gd name="T35" fmla="*/ 30 h 36"/>
              <a:gd name="T36" fmla="*/ 30 w 90"/>
              <a:gd name="T37" fmla="*/ 34 h 36"/>
              <a:gd name="T38" fmla="*/ 17 w 90"/>
              <a:gd name="T39" fmla="*/ 36 h 36"/>
              <a:gd name="T40" fmla="*/ 11 w 90"/>
              <a:gd name="T41" fmla="*/ 34 h 36"/>
              <a:gd name="T42" fmla="*/ 2 w 90"/>
              <a:gd name="T43" fmla="*/ 29 h 36"/>
              <a:gd name="T44" fmla="*/ 0 w 90"/>
              <a:gd name="T45" fmla="*/ 22 h 36"/>
              <a:gd name="T46" fmla="*/ 1 w 90"/>
              <a:gd name="T47" fmla="*/ 19 h 36"/>
              <a:gd name="T48" fmla="*/ 2 w 90"/>
              <a:gd name="T49" fmla="*/ 15 h 36"/>
              <a:gd name="T50" fmla="*/ 10 w 90"/>
              <a:gd name="T51" fmla="*/ 15 h 36"/>
              <a:gd name="T52" fmla="*/ 15 w 90"/>
              <a:gd name="T53" fmla="*/ 13 h 36"/>
              <a:gd name="T54" fmla="*/ 15 w 90"/>
              <a:gd name="T55" fmla="*/ 11 h 36"/>
              <a:gd name="T56" fmla="*/ 18 w 90"/>
              <a:gd name="T57" fmla="*/ 10 h 36"/>
              <a:gd name="T58" fmla="*/ 19 w 90"/>
              <a:gd name="T59" fmla="*/ 6 h 36"/>
              <a:gd name="T60" fmla="*/ 22 w 90"/>
              <a:gd name="T61" fmla="*/ 5 h 36"/>
              <a:gd name="T62" fmla="*/ 25 w 90"/>
              <a:gd name="T63" fmla="*/ 1 h 36"/>
              <a:gd name="T64" fmla="*/ 29 w 90"/>
              <a:gd name="T65" fmla="*/ 1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90" h="36">
                <a:moveTo>
                  <a:pt x="29" y="1"/>
                </a:moveTo>
                <a:lnTo>
                  <a:pt x="30" y="3"/>
                </a:lnTo>
                <a:lnTo>
                  <a:pt x="37" y="0"/>
                </a:lnTo>
                <a:lnTo>
                  <a:pt x="45" y="7"/>
                </a:lnTo>
                <a:lnTo>
                  <a:pt x="54" y="3"/>
                </a:lnTo>
                <a:lnTo>
                  <a:pt x="62" y="4"/>
                </a:lnTo>
                <a:lnTo>
                  <a:pt x="74" y="2"/>
                </a:lnTo>
                <a:lnTo>
                  <a:pt x="90" y="10"/>
                </a:lnTo>
                <a:lnTo>
                  <a:pt x="86" y="15"/>
                </a:lnTo>
                <a:lnTo>
                  <a:pt x="84" y="23"/>
                </a:lnTo>
                <a:lnTo>
                  <a:pt x="81" y="25"/>
                </a:lnTo>
                <a:lnTo>
                  <a:pt x="63" y="19"/>
                </a:lnTo>
                <a:lnTo>
                  <a:pt x="57" y="20"/>
                </a:lnTo>
                <a:lnTo>
                  <a:pt x="54" y="25"/>
                </a:lnTo>
                <a:lnTo>
                  <a:pt x="47" y="27"/>
                </a:lnTo>
                <a:lnTo>
                  <a:pt x="45" y="26"/>
                </a:lnTo>
                <a:lnTo>
                  <a:pt x="37" y="29"/>
                </a:lnTo>
                <a:lnTo>
                  <a:pt x="31" y="30"/>
                </a:lnTo>
                <a:lnTo>
                  <a:pt x="30" y="34"/>
                </a:lnTo>
                <a:lnTo>
                  <a:pt x="17" y="36"/>
                </a:lnTo>
                <a:lnTo>
                  <a:pt x="11" y="34"/>
                </a:lnTo>
                <a:lnTo>
                  <a:pt x="2" y="29"/>
                </a:lnTo>
                <a:lnTo>
                  <a:pt x="0" y="22"/>
                </a:lnTo>
                <a:lnTo>
                  <a:pt x="1" y="19"/>
                </a:lnTo>
                <a:lnTo>
                  <a:pt x="2" y="15"/>
                </a:lnTo>
                <a:lnTo>
                  <a:pt x="10" y="15"/>
                </a:lnTo>
                <a:lnTo>
                  <a:pt x="15" y="13"/>
                </a:lnTo>
                <a:lnTo>
                  <a:pt x="15" y="11"/>
                </a:lnTo>
                <a:lnTo>
                  <a:pt x="18" y="10"/>
                </a:lnTo>
                <a:lnTo>
                  <a:pt x="19" y="6"/>
                </a:lnTo>
                <a:lnTo>
                  <a:pt x="22" y="5"/>
                </a:lnTo>
                <a:lnTo>
                  <a:pt x="25" y="1"/>
                </a:lnTo>
                <a:lnTo>
                  <a:pt x="29" y="1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66" name="Freeform 186"/>
          <p:cNvSpPr>
            <a:spLocks/>
          </p:cNvSpPr>
          <p:nvPr/>
        </p:nvSpPr>
        <p:spPr bwMode="auto">
          <a:xfrm>
            <a:off x="1565943" y="2587676"/>
            <a:ext cx="186633" cy="145790"/>
          </a:xfrm>
          <a:custGeom>
            <a:avLst/>
            <a:gdLst>
              <a:gd name="T0" fmla="*/ 1 w 46"/>
              <a:gd name="T1" fmla="*/ 7 h 29"/>
              <a:gd name="T2" fmla="*/ 15 w 46"/>
              <a:gd name="T3" fmla="*/ 9 h 29"/>
              <a:gd name="T4" fmla="*/ 22 w 46"/>
              <a:gd name="T5" fmla="*/ 4 h 29"/>
              <a:gd name="T6" fmla="*/ 37 w 46"/>
              <a:gd name="T7" fmla="*/ 3 h 29"/>
              <a:gd name="T8" fmla="*/ 39 w 46"/>
              <a:gd name="T9" fmla="*/ 0 h 29"/>
              <a:gd name="T10" fmla="*/ 42 w 46"/>
              <a:gd name="T11" fmla="*/ 0 h 29"/>
              <a:gd name="T12" fmla="*/ 46 w 46"/>
              <a:gd name="T13" fmla="*/ 7 h 29"/>
              <a:gd name="T14" fmla="*/ 33 w 46"/>
              <a:gd name="T15" fmla="*/ 12 h 29"/>
              <a:gd name="T16" fmla="*/ 32 w 46"/>
              <a:gd name="T17" fmla="*/ 21 h 29"/>
              <a:gd name="T18" fmla="*/ 27 w 46"/>
              <a:gd name="T19" fmla="*/ 23 h 29"/>
              <a:gd name="T20" fmla="*/ 27 w 46"/>
              <a:gd name="T21" fmla="*/ 29 h 29"/>
              <a:gd name="T22" fmla="*/ 21 w 46"/>
              <a:gd name="T23" fmla="*/ 28 h 29"/>
              <a:gd name="T24" fmla="*/ 15 w 46"/>
              <a:gd name="T25" fmla="*/ 25 h 29"/>
              <a:gd name="T26" fmla="*/ 12 w 46"/>
              <a:gd name="T27" fmla="*/ 28 h 29"/>
              <a:gd name="T28" fmla="*/ 1 w 46"/>
              <a:gd name="T29" fmla="*/ 28 h 29"/>
              <a:gd name="T30" fmla="*/ 4 w 46"/>
              <a:gd name="T31" fmla="*/ 26 h 29"/>
              <a:gd name="T32" fmla="*/ 0 w 46"/>
              <a:gd name="T33" fmla="*/ 17 h 29"/>
              <a:gd name="T34" fmla="*/ 1 w 46"/>
              <a:gd name="T35" fmla="*/ 7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46" h="29">
                <a:moveTo>
                  <a:pt x="1" y="7"/>
                </a:moveTo>
                <a:lnTo>
                  <a:pt x="15" y="9"/>
                </a:lnTo>
                <a:lnTo>
                  <a:pt x="22" y="4"/>
                </a:lnTo>
                <a:lnTo>
                  <a:pt x="37" y="3"/>
                </a:lnTo>
                <a:lnTo>
                  <a:pt x="39" y="0"/>
                </a:lnTo>
                <a:lnTo>
                  <a:pt x="42" y="0"/>
                </a:lnTo>
                <a:lnTo>
                  <a:pt x="46" y="7"/>
                </a:lnTo>
                <a:lnTo>
                  <a:pt x="33" y="12"/>
                </a:lnTo>
                <a:lnTo>
                  <a:pt x="32" y="21"/>
                </a:lnTo>
                <a:lnTo>
                  <a:pt x="27" y="23"/>
                </a:lnTo>
                <a:lnTo>
                  <a:pt x="27" y="29"/>
                </a:lnTo>
                <a:lnTo>
                  <a:pt x="21" y="28"/>
                </a:lnTo>
                <a:lnTo>
                  <a:pt x="15" y="25"/>
                </a:lnTo>
                <a:lnTo>
                  <a:pt x="12" y="28"/>
                </a:lnTo>
                <a:lnTo>
                  <a:pt x="1" y="28"/>
                </a:lnTo>
                <a:lnTo>
                  <a:pt x="4" y="26"/>
                </a:lnTo>
                <a:lnTo>
                  <a:pt x="0" y="17"/>
                </a:lnTo>
                <a:lnTo>
                  <a:pt x="1" y="7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67" name="Freeform 187"/>
          <p:cNvSpPr>
            <a:spLocks/>
          </p:cNvSpPr>
          <p:nvPr/>
        </p:nvSpPr>
        <p:spPr bwMode="auto">
          <a:xfrm>
            <a:off x="1318451" y="425993"/>
            <a:ext cx="673503" cy="1302040"/>
          </a:xfrm>
          <a:custGeom>
            <a:avLst/>
            <a:gdLst>
              <a:gd name="T0" fmla="*/ 144 w 166"/>
              <a:gd name="T1" fmla="*/ 61 h 259"/>
              <a:gd name="T2" fmla="*/ 132 w 166"/>
              <a:gd name="T3" fmla="*/ 73 h 259"/>
              <a:gd name="T4" fmla="*/ 137 w 166"/>
              <a:gd name="T5" fmla="*/ 84 h 259"/>
              <a:gd name="T6" fmla="*/ 117 w 166"/>
              <a:gd name="T7" fmla="*/ 100 h 259"/>
              <a:gd name="T8" fmla="*/ 92 w 166"/>
              <a:gd name="T9" fmla="*/ 116 h 259"/>
              <a:gd name="T10" fmla="*/ 85 w 166"/>
              <a:gd name="T11" fmla="*/ 142 h 259"/>
              <a:gd name="T12" fmla="*/ 97 w 166"/>
              <a:gd name="T13" fmla="*/ 156 h 259"/>
              <a:gd name="T14" fmla="*/ 112 w 166"/>
              <a:gd name="T15" fmla="*/ 166 h 259"/>
              <a:gd name="T16" fmla="*/ 102 w 166"/>
              <a:gd name="T17" fmla="*/ 188 h 259"/>
              <a:gd name="T18" fmla="*/ 87 w 166"/>
              <a:gd name="T19" fmla="*/ 193 h 259"/>
              <a:gd name="T20" fmla="*/ 85 w 166"/>
              <a:gd name="T21" fmla="*/ 226 h 259"/>
              <a:gd name="T22" fmla="*/ 78 w 166"/>
              <a:gd name="T23" fmla="*/ 244 h 259"/>
              <a:gd name="T24" fmla="*/ 59 w 166"/>
              <a:gd name="T25" fmla="*/ 242 h 259"/>
              <a:gd name="T26" fmla="*/ 52 w 166"/>
              <a:gd name="T27" fmla="*/ 258 h 259"/>
              <a:gd name="T28" fmla="*/ 35 w 166"/>
              <a:gd name="T29" fmla="*/ 259 h 259"/>
              <a:gd name="T30" fmla="*/ 28 w 166"/>
              <a:gd name="T31" fmla="*/ 240 h 259"/>
              <a:gd name="T32" fmla="*/ 14 w 166"/>
              <a:gd name="T33" fmla="*/ 218 h 259"/>
              <a:gd name="T34" fmla="*/ 0 w 166"/>
              <a:gd name="T35" fmla="*/ 190 h 259"/>
              <a:gd name="T36" fmla="*/ 6 w 166"/>
              <a:gd name="T37" fmla="*/ 179 h 259"/>
              <a:gd name="T38" fmla="*/ 17 w 166"/>
              <a:gd name="T39" fmla="*/ 166 h 259"/>
              <a:gd name="T40" fmla="*/ 20 w 166"/>
              <a:gd name="T41" fmla="*/ 143 h 259"/>
              <a:gd name="T42" fmla="*/ 10 w 166"/>
              <a:gd name="T43" fmla="*/ 134 h 259"/>
              <a:gd name="T44" fmla="*/ 6 w 166"/>
              <a:gd name="T45" fmla="*/ 109 h 259"/>
              <a:gd name="T46" fmla="*/ 14 w 166"/>
              <a:gd name="T47" fmla="*/ 91 h 259"/>
              <a:gd name="T48" fmla="*/ 28 w 166"/>
              <a:gd name="T49" fmla="*/ 91 h 259"/>
              <a:gd name="T50" fmla="*/ 32 w 166"/>
              <a:gd name="T51" fmla="*/ 84 h 259"/>
              <a:gd name="T52" fmla="*/ 26 w 166"/>
              <a:gd name="T53" fmla="*/ 78 h 259"/>
              <a:gd name="T54" fmla="*/ 45 w 166"/>
              <a:gd name="T55" fmla="*/ 52 h 259"/>
              <a:gd name="T56" fmla="*/ 56 w 166"/>
              <a:gd name="T57" fmla="*/ 32 h 259"/>
              <a:gd name="T58" fmla="*/ 63 w 166"/>
              <a:gd name="T59" fmla="*/ 19 h 259"/>
              <a:gd name="T60" fmla="*/ 76 w 166"/>
              <a:gd name="T61" fmla="*/ 19 h 259"/>
              <a:gd name="T62" fmla="*/ 78 w 166"/>
              <a:gd name="T63" fmla="*/ 9 h 259"/>
              <a:gd name="T64" fmla="*/ 103 w 166"/>
              <a:gd name="T65" fmla="*/ 12 h 259"/>
              <a:gd name="T66" fmla="*/ 103 w 166"/>
              <a:gd name="T67" fmla="*/ 1 h 259"/>
              <a:gd name="T68" fmla="*/ 111 w 166"/>
              <a:gd name="T69" fmla="*/ 0 h 259"/>
              <a:gd name="T70" fmla="*/ 131 w 166"/>
              <a:gd name="T71" fmla="*/ 9 h 259"/>
              <a:gd name="T72" fmla="*/ 154 w 166"/>
              <a:gd name="T73" fmla="*/ 21 h 259"/>
              <a:gd name="T74" fmla="*/ 160 w 166"/>
              <a:gd name="T75" fmla="*/ 48 h 259"/>
              <a:gd name="T76" fmla="*/ 166 w 166"/>
              <a:gd name="T77" fmla="*/ 55 h 259"/>
              <a:gd name="T78" fmla="*/ 144 w 166"/>
              <a:gd name="T79" fmla="*/ 61 h 2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66" h="259">
                <a:moveTo>
                  <a:pt x="144" y="61"/>
                </a:moveTo>
                <a:lnTo>
                  <a:pt x="132" y="73"/>
                </a:lnTo>
                <a:lnTo>
                  <a:pt x="137" y="84"/>
                </a:lnTo>
                <a:lnTo>
                  <a:pt x="117" y="100"/>
                </a:lnTo>
                <a:lnTo>
                  <a:pt x="92" y="116"/>
                </a:lnTo>
                <a:lnTo>
                  <a:pt x="85" y="142"/>
                </a:lnTo>
                <a:lnTo>
                  <a:pt x="97" y="156"/>
                </a:lnTo>
                <a:lnTo>
                  <a:pt x="112" y="166"/>
                </a:lnTo>
                <a:lnTo>
                  <a:pt x="102" y="188"/>
                </a:lnTo>
                <a:lnTo>
                  <a:pt x="87" y="193"/>
                </a:lnTo>
                <a:lnTo>
                  <a:pt x="85" y="226"/>
                </a:lnTo>
                <a:lnTo>
                  <a:pt x="78" y="244"/>
                </a:lnTo>
                <a:lnTo>
                  <a:pt x="59" y="242"/>
                </a:lnTo>
                <a:lnTo>
                  <a:pt x="52" y="258"/>
                </a:lnTo>
                <a:lnTo>
                  <a:pt x="35" y="259"/>
                </a:lnTo>
                <a:lnTo>
                  <a:pt x="28" y="240"/>
                </a:lnTo>
                <a:lnTo>
                  <a:pt x="14" y="218"/>
                </a:lnTo>
                <a:lnTo>
                  <a:pt x="0" y="190"/>
                </a:lnTo>
                <a:lnTo>
                  <a:pt x="6" y="179"/>
                </a:lnTo>
                <a:lnTo>
                  <a:pt x="17" y="166"/>
                </a:lnTo>
                <a:lnTo>
                  <a:pt x="20" y="143"/>
                </a:lnTo>
                <a:lnTo>
                  <a:pt x="10" y="134"/>
                </a:lnTo>
                <a:lnTo>
                  <a:pt x="6" y="109"/>
                </a:lnTo>
                <a:lnTo>
                  <a:pt x="14" y="91"/>
                </a:lnTo>
                <a:lnTo>
                  <a:pt x="28" y="91"/>
                </a:lnTo>
                <a:lnTo>
                  <a:pt x="32" y="84"/>
                </a:lnTo>
                <a:lnTo>
                  <a:pt x="26" y="78"/>
                </a:lnTo>
                <a:lnTo>
                  <a:pt x="45" y="52"/>
                </a:lnTo>
                <a:lnTo>
                  <a:pt x="56" y="32"/>
                </a:lnTo>
                <a:lnTo>
                  <a:pt x="63" y="19"/>
                </a:lnTo>
                <a:lnTo>
                  <a:pt x="76" y="19"/>
                </a:lnTo>
                <a:lnTo>
                  <a:pt x="78" y="9"/>
                </a:lnTo>
                <a:lnTo>
                  <a:pt x="103" y="12"/>
                </a:lnTo>
                <a:lnTo>
                  <a:pt x="103" y="1"/>
                </a:lnTo>
                <a:lnTo>
                  <a:pt x="111" y="0"/>
                </a:lnTo>
                <a:lnTo>
                  <a:pt x="131" y="9"/>
                </a:lnTo>
                <a:lnTo>
                  <a:pt x="154" y="21"/>
                </a:lnTo>
                <a:lnTo>
                  <a:pt x="160" y="48"/>
                </a:lnTo>
                <a:lnTo>
                  <a:pt x="166" y="55"/>
                </a:lnTo>
                <a:lnTo>
                  <a:pt x="144" y="61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68" name="Freeform 189"/>
          <p:cNvSpPr>
            <a:spLocks/>
          </p:cNvSpPr>
          <p:nvPr/>
        </p:nvSpPr>
        <p:spPr bwMode="auto">
          <a:xfrm>
            <a:off x="3168560" y="3583055"/>
            <a:ext cx="430070" cy="507746"/>
          </a:xfrm>
          <a:custGeom>
            <a:avLst/>
            <a:gdLst>
              <a:gd name="T0" fmla="*/ 56 w 106"/>
              <a:gd name="T1" fmla="*/ 79 h 101"/>
              <a:gd name="T2" fmla="*/ 24 w 106"/>
              <a:gd name="T3" fmla="*/ 101 h 101"/>
              <a:gd name="T4" fmla="*/ 4 w 106"/>
              <a:gd name="T5" fmla="*/ 93 h 101"/>
              <a:gd name="T6" fmla="*/ 3 w 106"/>
              <a:gd name="T7" fmla="*/ 93 h 101"/>
              <a:gd name="T8" fmla="*/ 5 w 106"/>
              <a:gd name="T9" fmla="*/ 90 h 101"/>
              <a:gd name="T10" fmla="*/ 4 w 106"/>
              <a:gd name="T11" fmla="*/ 81 h 101"/>
              <a:gd name="T12" fmla="*/ 7 w 106"/>
              <a:gd name="T13" fmla="*/ 70 h 101"/>
              <a:gd name="T14" fmla="*/ 16 w 106"/>
              <a:gd name="T15" fmla="*/ 62 h 101"/>
              <a:gd name="T16" fmla="*/ 12 w 106"/>
              <a:gd name="T17" fmla="*/ 54 h 101"/>
              <a:gd name="T18" fmla="*/ 4 w 106"/>
              <a:gd name="T19" fmla="*/ 53 h 101"/>
              <a:gd name="T20" fmla="*/ 0 w 106"/>
              <a:gd name="T21" fmla="*/ 37 h 101"/>
              <a:gd name="T22" fmla="*/ 4 w 106"/>
              <a:gd name="T23" fmla="*/ 29 h 101"/>
              <a:gd name="T24" fmla="*/ 8 w 106"/>
              <a:gd name="T25" fmla="*/ 24 h 101"/>
              <a:gd name="T26" fmla="*/ 12 w 106"/>
              <a:gd name="T27" fmla="*/ 20 h 101"/>
              <a:gd name="T28" fmla="*/ 11 w 106"/>
              <a:gd name="T29" fmla="*/ 8 h 101"/>
              <a:gd name="T30" fmla="*/ 17 w 106"/>
              <a:gd name="T31" fmla="*/ 12 h 101"/>
              <a:gd name="T32" fmla="*/ 36 w 106"/>
              <a:gd name="T33" fmla="*/ 6 h 101"/>
              <a:gd name="T34" fmla="*/ 45 w 106"/>
              <a:gd name="T35" fmla="*/ 10 h 101"/>
              <a:gd name="T36" fmla="*/ 59 w 106"/>
              <a:gd name="T37" fmla="*/ 10 h 101"/>
              <a:gd name="T38" fmla="*/ 78 w 106"/>
              <a:gd name="T39" fmla="*/ 3 h 101"/>
              <a:gd name="T40" fmla="*/ 87 w 106"/>
              <a:gd name="T41" fmla="*/ 3 h 101"/>
              <a:gd name="T42" fmla="*/ 106 w 106"/>
              <a:gd name="T43" fmla="*/ 0 h 101"/>
              <a:gd name="T44" fmla="*/ 99 w 106"/>
              <a:gd name="T45" fmla="*/ 13 h 101"/>
              <a:gd name="T46" fmla="*/ 91 w 106"/>
              <a:gd name="T47" fmla="*/ 18 h 101"/>
              <a:gd name="T48" fmla="*/ 94 w 106"/>
              <a:gd name="T49" fmla="*/ 33 h 101"/>
              <a:gd name="T50" fmla="*/ 91 w 106"/>
              <a:gd name="T51" fmla="*/ 58 h 101"/>
              <a:gd name="T52" fmla="*/ 56 w 106"/>
              <a:gd name="T53" fmla="*/ 79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06" h="101">
                <a:moveTo>
                  <a:pt x="56" y="79"/>
                </a:moveTo>
                <a:lnTo>
                  <a:pt x="24" y="101"/>
                </a:lnTo>
                <a:lnTo>
                  <a:pt x="4" y="93"/>
                </a:lnTo>
                <a:lnTo>
                  <a:pt x="3" y="93"/>
                </a:lnTo>
                <a:lnTo>
                  <a:pt x="5" y="90"/>
                </a:lnTo>
                <a:lnTo>
                  <a:pt x="4" y="81"/>
                </a:lnTo>
                <a:lnTo>
                  <a:pt x="7" y="70"/>
                </a:lnTo>
                <a:lnTo>
                  <a:pt x="16" y="62"/>
                </a:lnTo>
                <a:lnTo>
                  <a:pt x="12" y="54"/>
                </a:lnTo>
                <a:lnTo>
                  <a:pt x="4" y="53"/>
                </a:lnTo>
                <a:lnTo>
                  <a:pt x="0" y="37"/>
                </a:lnTo>
                <a:lnTo>
                  <a:pt x="4" y="29"/>
                </a:lnTo>
                <a:lnTo>
                  <a:pt x="8" y="24"/>
                </a:lnTo>
                <a:lnTo>
                  <a:pt x="12" y="20"/>
                </a:lnTo>
                <a:lnTo>
                  <a:pt x="11" y="8"/>
                </a:lnTo>
                <a:lnTo>
                  <a:pt x="17" y="12"/>
                </a:lnTo>
                <a:lnTo>
                  <a:pt x="36" y="6"/>
                </a:lnTo>
                <a:lnTo>
                  <a:pt x="45" y="10"/>
                </a:lnTo>
                <a:lnTo>
                  <a:pt x="59" y="10"/>
                </a:lnTo>
                <a:lnTo>
                  <a:pt x="78" y="3"/>
                </a:lnTo>
                <a:lnTo>
                  <a:pt x="87" y="3"/>
                </a:lnTo>
                <a:lnTo>
                  <a:pt x="106" y="0"/>
                </a:lnTo>
                <a:lnTo>
                  <a:pt x="99" y="13"/>
                </a:lnTo>
                <a:lnTo>
                  <a:pt x="91" y="18"/>
                </a:lnTo>
                <a:lnTo>
                  <a:pt x="94" y="33"/>
                </a:lnTo>
                <a:lnTo>
                  <a:pt x="91" y="58"/>
                </a:lnTo>
                <a:lnTo>
                  <a:pt x="56" y="79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69" name="Freeform 190"/>
          <p:cNvSpPr>
            <a:spLocks/>
          </p:cNvSpPr>
          <p:nvPr/>
        </p:nvSpPr>
        <p:spPr bwMode="auto">
          <a:xfrm>
            <a:off x="1655202" y="5020826"/>
            <a:ext cx="762763" cy="1669021"/>
          </a:xfrm>
          <a:custGeom>
            <a:avLst/>
            <a:gdLst>
              <a:gd name="T0" fmla="*/ 18 w 188"/>
              <a:gd name="T1" fmla="*/ 219 h 332"/>
              <a:gd name="T2" fmla="*/ 19 w 188"/>
              <a:gd name="T3" fmla="*/ 209 h 332"/>
              <a:gd name="T4" fmla="*/ 8 w 188"/>
              <a:gd name="T5" fmla="*/ 209 h 332"/>
              <a:gd name="T6" fmla="*/ 8 w 188"/>
              <a:gd name="T7" fmla="*/ 196 h 332"/>
              <a:gd name="T8" fmla="*/ 0 w 188"/>
              <a:gd name="T9" fmla="*/ 188 h 332"/>
              <a:gd name="T10" fmla="*/ 7 w 188"/>
              <a:gd name="T11" fmla="*/ 161 h 332"/>
              <a:gd name="T12" fmla="*/ 30 w 188"/>
              <a:gd name="T13" fmla="*/ 141 h 332"/>
              <a:gd name="T14" fmla="*/ 30 w 188"/>
              <a:gd name="T15" fmla="*/ 114 h 332"/>
              <a:gd name="T16" fmla="*/ 37 w 188"/>
              <a:gd name="T17" fmla="*/ 72 h 332"/>
              <a:gd name="T18" fmla="*/ 40 w 188"/>
              <a:gd name="T19" fmla="*/ 63 h 332"/>
              <a:gd name="T20" fmla="*/ 33 w 188"/>
              <a:gd name="T21" fmla="*/ 56 h 332"/>
              <a:gd name="T22" fmla="*/ 32 w 188"/>
              <a:gd name="T23" fmla="*/ 49 h 332"/>
              <a:gd name="T24" fmla="*/ 25 w 188"/>
              <a:gd name="T25" fmla="*/ 44 h 332"/>
              <a:gd name="T26" fmla="*/ 20 w 188"/>
              <a:gd name="T27" fmla="*/ 11 h 332"/>
              <a:gd name="T28" fmla="*/ 38 w 188"/>
              <a:gd name="T29" fmla="*/ 0 h 332"/>
              <a:gd name="T30" fmla="*/ 111 w 188"/>
              <a:gd name="T31" fmla="*/ 40 h 332"/>
              <a:gd name="T32" fmla="*/ 184 w 188"/>
              <a:gd name="T33" fmla="*/ 80 h 332"/>
              <a:gd name="T34" fmla="*/ 188 w 188"/>
              <a:gd name="T35" fmla="*/ 162 h 332"/>
              <a:gd name="T36" fmla="*/ 172 w 188"/>
              <a:gd name="T37" fmla="*/ 161 h 332"/>
              <a:gd name="T38" fmla="*/ 164 w 188"/>
              <a:gd name="T39" fmla="*/ 176 h 332"/>
              <a:gd name="T40" fmla="*/ 160 w 188"/>
              <a:gd name="T41" fmla="*/ 189 h 332"/>
              <a:gd name="T42" fmla="*/ 163 w 188"/>
              <a:gd name="T43" fmla="*/ 194 h 332"/>
              <a:gd name="T44" fmla="*/ 158 w 188"/>
              <a:gd name="T45" fmla="*/ 200 h 332"/>
              <a:gd name="T46" fmla="*/ 160 w 188"/>
              <a:gd name="T47" fmla="*/ 209 h 332"/>
              <a:gd name="T48" fmla="*/ 155 w 188"/>
              <a:gd name="T49" fmla="*/ 217 h 332"/>
              <a:gd name="T50" fmla="*/ 154 w 188"/>
              <a:gd name="T51" fmla="*/ 225 h 332"/>
              <a:gd name="T52" fmla="*/ 160 w 188"/>
              <a:gd name="T53" fmla="*/ 224 h 332"/>
              <a:gd name="T54" fmla="*/ 164 w 188"/>
              <a:gd name="T55" fmla="*/ 232 h 332"/>
              <a:gd name="T56" fmla="*/ 164 w 188"/>
              <a:gd name="T57" fmla="*/ 244 h 332"/>
              <a:gd name="T58" fmla="*/ 171 w 188"/>
              <a:gd name="T59" fmla="*/ 250 h 332"/>
              <a:gd name="T60" fmla="*/ 171 w 188"/>
              <a:gd name="T61" fmla="*/ 255 h 332"/>
              <a:gd name="T62" fmla="*/ 160 w 188"/>
              <a:gd name="T63" fmla="*/ 258 h 332"/>
              <a:gd name="T64" fmla="*/ 151 w 188"/>
              <a:gd name="T65" fmla="*/ 267 h 332"/>
              <a:gd name="T66" fmla="*/ 138 w 188"/>
              <a:gd name="T67" fmla="*/ 290 h 332"/>
              <a:gd name="T68" fmla="*/ 121 w 188"/>
              <a:gd name="T69" fmla="*/ 299 h 332"/>
              <a:gd name="T70" fmla="*/ 103 w 188"/>
              <a:gd name="T71" fmla="*/ 298 h 332"/>
              <a:gd name="T72" fmla="*/ 98 w 188"/>
              <a:gd name="T73" fmla="*/ 300 h 332"/>
              <a:gd name="T74" fmla="*/ 100 w 188"/>
              <a:gd name="T75" fmla="*/ 307 h 332"/>
              <a:gd name="T76" fmla="*/ 90 w 188"/>
              <a:gd name="T77" fmla="*/ 314 h 332"/>
              <a:gd name="T78" fmla="*/ 83 w 188"/>
              <a:gd name="T79" fmla="*/ 323 h 332"/>
              <a:gd name="T80" fmla="*/ 59 w 188"/>
              <a:gd name="T81" fmla="*/ 330 h 332"/>
              <a:gd name="T82" fmla="*/ 55 w 188"/>
              <a:gd name="T83" fmla="*/ 326 h 332"/>
              <a:gd name="T84" fmla="*/ 52 w 188"/>
              <a:gd name="T85" fmla="*/ 325 h 332"/>
              <a:gd name="T86" fmla="*/ 48 w 188"/>
              <a:gd name="T87" fmla="*/ 331 h 332"/>
              <a:gd name="T88" fmla="*/ 33 w 188"/>
              <a:gd name="T89" fmla="*/ 332 h 332"/>
              <a:gd name="T90" fmla="*/ 36 w 188"/>
              <a:gd name="T91" fmla="*/ 326 h 332"/>
              <a:gd name="T92" fmla="*/ 30 w 188"/>
              <a:gd name="T93" fmla="*/ 312 h 332"/>
              <a:gd name="T94" fmla="*/ 28 w 188"/>
              <a:gd name="T95" fmla="*/ 304 h 332"/>
              <a:gd name="T96" fmla="*/ 20 w 188"/>
              <a:gd name="T97" fmla="*/ 300 h 332"/>
              <a:gd name="T98" fmla="*/ 9 w 188"/>
              <a:gd name="T99" fmla="*/ 288 h 332"/>
              <a:gd name="T100" fmla="*/ 13 w 188"/>
              <a:gd name="T101" fmla="*/ 278 h 332"/>
              <a:gd name="T102" fmla="*/ 21 w 188"/>
              <a:gd name="T103" fmla="*/ 280 h 332"/>
              <a:gd name="T104" fmla="*/ 26 w 188"/>
              <a:gd name="T105" fmla="*/ 279 h 332"/>
              <a:gd name="T106" fmla="*/ 36 w 188"/>
              <a:gd name="T107" fmla="*/ 279 h 332"/>
              <a:gd name="T108" fmla="*/ 26 w 188"/>
              <a:gd name="T109" fmla="*/ 260 h 332"/>
              <a:gd name="T110" fmla="*/ 27 w 188"/>
              <a:gd name="T111" fmla="*/ 246 h 332"/>
              <a:gd name="T112" fmla="*/ 25 w 188"/>
              <a:gd name="T113" fmla="*/ 233 h 332"/>
              <a:gd name="T114" fmla="*/ 18 w 188"/>
              <a:gd name="T115" fmla="*/ 219 h 3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88" h="332">
                <a:moveTo>
                  <a:pt x="18" y="219"/>
                </a:moveTo>
                <a:lnTo>
                  <a:pt x="19" y="209"/>
                </a:lnTo>
                <a:lnTo>
                  <a:pt x="8" y="209"/>
                </a:lnTo>
                <a:lnTo>
                  <a:pt x="8" y="196"/>
                </a:lnTo>
                <a:lnTo>
                  <a:pt x="0" y="188"/>
                </a:lnTo>
                <a:lnTo>
                  <a:pt x="7" y="161"/>
                </a:lnTo>
                <a:lnTo>
                  <a:pt x="30" y="141"/>
                </a:lnTo>
                <a:lnTo>
                  <a:pt x="30" y="114"/>
                </a:lnTo>
                <a:lnTo>
                  <a:pt x="37" y="72"/>
                </a:lnTo>
                <a:lnTo>
                  <a:pt x="40" y="63"/>
                </a:lnTo>
                <a:lnTo>
                  <a:pt x="33" y="56"/>
                </a:lnTo>
                <a:lnTo>
                  <a:pt x="32" y="49"/>
                </a:lnTo>
                <a:lnTo>
                  <a:pt x="25" y="44"/>
                </a:lnTo>
                <a:lnTo>
                  <a:pt x="20" y="11"/>
                </a:lnTo>
                <a:lnTo>
                  <a:pt x="38" y="0"/>
                </a:lnTo>
                <a:lnTo>
                  <a:pt x="111" y="40"/>
                </a:lnTo>
                <a:lnTo>
                  <a:pt x="184" y="80"/>
                </a:lnTo>
                <a:lnTo>
                  <a:pt x="188" y="162"/>
                </a:lnTo>
                <a:lnTo>
                  <a:pt x="172" y="161"/>
                </a:lnTo>
                <a:lnTo>
                  <a:pt x="164" y="176"/>
                </a:lnTo>
                <a:lnTo>
                  <a:pt x="160" y="189"/>
                </a:lnTo>
                <a:lnTo>
                  <a:pt x="163" y="194"/>
                </a:lnTo>
                <a:lnTo>
                  <a:pt x="158" y="200"/>
                </a:lnTo>
                <a:lnTo>
                  <a:pt x="160" y="209"/>
                </a:lnTo>
                <a:lnTo>
                  <a:pt x="155" y="217"/>
                </a:lnTo>
                <a:lnTo>
                  <a:pt x="154" y="225"/>
                </a:lnTo>
                <a:lnTo>
                  <a:pt x="160" y="224"/>
                </a:lnTo>
                <a:lnTo>
                  <a:pt x="164" y="232"/>
                </a:lnTo>
                <a:lnTo>
                  <a:pt x="164" y="244"/>
                </a:lnTo>
                <a:lnTo>
                  <a:pt x="171" y="250"/>
                </a:lnTo>
                <a:lnTo>
                  <a:pt x="171" y="255"/>
                </a:lnTo>
                <a:lnTo>
                  <a:pt x="160" y="258"/>
                </a:lnTo>
                <a:lnTo>
                  <a:pt x="151" y="267"/>
                </a:lnTo>
                <a:lnTo>
                  <a:pt x="138" y="290"/>
                </a:lnTo>
                <a:lnTo>
                  <a:pt x="121" y="299"/>
                </a:lnTo>
                <a:lnTo>
                  <a:pt x="103" y="298"/>
                </a:lnTo>
                <a:lnTo>
                  <a:pt x="98" y="300"/>
                </a:lnTo>
                <a:lnTo>
                  <a:pt x="100" y="307"/>
                </a:lnTo>
                <a:lnTo>
                  <a:pt x="90" y="314"/>
                </a:lnTo>
                <a:lnTo>
                  <a:pt x="83" y="323"/>
                </a:lnTo>
                <a:lnTo>
                  <a:pt x="59" y="330"/>
                </a:lnTo>
                <a:lnTo>
                  <a:pt x="55" y="326"/>
                </a:lnTo>
                <a:lnTo>
                  <a:pt x="52" y="325"/>
                </a:lnTo>
                <a:lnTo>
                  <a:pt x="48" y="331"/>
                </a:lnTo>
                <a:lnTo>
                  <a:pt x="33" y="332"/>
                </a:lnTo>
                <a:lnTo>
                  <a:pt x="36" y="326"/>
                </a:lnTo>
                <a:lnTo>
                  <a:pt x="30" y="312"/>
                </a:lnTo>
                <a:lnTo>
                  <a:pt x="28" y="304"/>
                </a:lnTo>
                <a:lnTo>
                  <a:pt x="20" y="300"/>
                </a:lnTo>
                <a:lnTo>
                  <a:pt x="9" y="288"/>
                </a:lnTo>
                <a:lnTo>
                  <a:pt x="13" y="278"/>
                </a:lnTo>
                <a:lnTo>
                  <a:pt x="21" y="280"/>
                </a:lnTo>
                <a:lnTo>
                  <a:pt x="26" y="279"/>
                </a:lnTo>
                <a:lnTo>
                  <a:pt x="36" y="279"/>
                </a:lnTo>
                <a:lnTo>
                  <a:pt x="26" y="260"/>
                </a:lnTo>
                <a:lnTo>
                  <a:pt x="27" y="246"/>
                </a:lnTo>
                <a:lnTo>
                  <a:pt x="25" y="233"/>
                </a:lnTo>
                <a:lnTo>
                  <a:pt x="18" y="219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70" name="Freeform 191"/>
          <p:cNvSpPr>
            <a:spLocks/>
          </p:cNvSpPr>
          <p:nvPr/>
        </p:nvSpPr>
        <p:spPr bwMode="auto">
          <a:xfrm>
            <a:off x="649003" y="6312807"/>
            <a:ext cx="142007" cy="532881"/>
          </a:xfrm>
          <a:custGeom>
            <a:avLst/>
            <a:gdLst>
              <a:gd name="T0" fmla="*/ 35 w 35"/>
              <a:gd name="T1" fmla="*/ 102 h 106"/>
              <a:gd name="T2" fmla="*/ 21 w 35"/>
              <a:gd name="T3" fmla="*/ 106 h 106"/>
              <a:gd name="T4" fmla="*/ 17 w 35"/>
              <a:gd name="T5" fmla="*/ 99 h 106"/>
              <a:gd name="T6" fmla="*/ 12 w 35"/>
              <a:gd name="T7" fmla="*/ 86 h 106"/>
              <a:gd name="T8" fmla="*/ 10 w 35"/>
              <a:gd name="T9" fmla="*/ 75 h 106"/>
              <a:gd name="T10" fmla="*/ 14 w 35"/>
              <a:gd name="T11" fmla="*/ 57 h 106"/>
              <a:gd name="T12" fmla="*/ 10 w 35"/>
              <a:gd name="T13" fmla="*/ 49 h 106"/>
              <a:gd name="T14" fmla="*/ 8 w 35"/>
              <a:gd name="T15" fmla="*/ 33 h 106"/>
              <a:gd name="T16" fmla="*/ 8 w 35"/>
              <a:gd name="T17" fmla="*/ 18 h 106"/>
              <a:gd name="T18" fmla="*/ 0 w 35"/>
              <a:gd name="T19" fmla="*/ 7 h 106"/>
              <a:gd name="T20" fmla="*/ 2 w 35"/>
              <a:gd name="T21" fmla="*/ 0 h 106"/>
              <a:gd name="T22" fmla="*/ 18 w 35"/>
              <a:gd name="T23" fmla="*/ 1 h 106"/>
              <a:gd name="T24" fmla="*/ 15 w 35"/>
              <a:gd name="T25" fmla="*/ 12 h 106"/>
              <a:gd name="T26" fmla="*/ 21 w 35"/>
              <a:gd name="T27" fmla="*/ 18 h 106"/>
              <a:gd name="T28" fmla="*/ 27 w 35"/>
              <a:gd name="T29" fmla="*/ 25 h 106"/>
              <a:gd name="T30" fmla="*/ 28 w 35"/>
              <a:gd name="T31" fmla="*/ 36 h 106"/>
              <a:gd name="T32" fmla="*/ 32 w 35"/>
              <a:gd name="T33" fmla="*/ 40 h 106"/>
              <a:gd name="T34" fmla="*/ 31 w 35"/>
              <a:gd name="T35" fmla="*/ 88 h 106"/>
              <a:gd name="T36" fmla="*/ 35 w 35"/>
              <a:gd name="T37" fmla="*/ 102 h 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35" h="106">
                <a:moveTo>
                  <a:pt x="35" y="102"/>
                </a:moveTo>
                <a:lnTo>
                  <a:pt x="21" y="106"/>
                </a:lnTo>
                <a:lnTo>
                  <a:pt x="17" y="99"/>
                </a:lnTo>
                <a:lnTo>
                  <a:pt x="12" y="86"/>
                </a:lnTo>
                <a:lnTo>
                  <a:pt x="10" y="75"/>
                </a:lnTo>
                <a:lnTo>
                  <a:pt x="14" y="57"/>
                </a:lnTo>
                <a:lnTo>
                  <a:pt x="10" y="49"/>
                </a:lnTo>
                <a:lnTo>
                  <a:pt x="8" y="33"/>
                </a:lnTo>
                <a:lnTo>
                  <a:pt x="8" y="18"/>
                </a:lnTo>
                <a:lnTo>
                  <a:pt x="0" y="7"/>
                </a:lnTo>
                <a:lnTo>
                  <a:pt x="2" y="0"/>
                </a:lnTo>
                <a:lnTo>
                  <a:pt x="18" y="1"/>
                </a:lnTo>
                <a:lnTo>
                  <a:pt x="15" y="12"/>
                </a:lnTo>
                <a:lnTo>
                  <a:pt x="21" y="18"/>
                </a:lnTo>
                <a:lnTo>
                  <a:pt x="27" y="25"/>
                </a:lnTo>
                <a:lnTo>
                  <a:pt x="28" y="36"/>
                </a:lnTo>
                <a:lnTo>
                  <a:pt x="32" y="40"/>
                </a:lnTo>
                <a:lnTo>
                  <a:pt x="31" y="88"/>
                </a:lnTo>
                <a:lnTo>
                  <a:pt x="35" y="102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71" name="Freeform 192"/>
          <p:cNvSpPr>
            <a:spLocks/>
          </p:cNvSpPr>
          <p:nvPr/>
        </p:nvSpPr>
        <p:spPr bwMode="auto">
          <a:xfrm>
            <a:off x="7806000" y="5332508"/>
            <a:ext cx="645106" cy="1538314"/>
          </a:xfrm>
          <a:custGeom>
            <a:avLst/>
            <a:gdLst>
              <a:gd name="T0" fmla="*/ 93 w 159"/>
              <a:gd name="T1" fmla="*/ 162 h 306"/>
              <a:gd name="T2" fmla="*/ 78 w 159"/>
              <a:gd name="T3" fmla="*/ 146 h 306"/>
              <a:gd name="T4" fmla="*/ 63 w 159"/>
              <a:gd name="T5" fmla="*/ 169 h 306"/>
              <a:gd name="T6" fmla="*/ 52 w 159"/>
              <a:gd name="T7" fmla="*/ 217 h 306"/>
              <a:gd name="T8" fmla="*/ 66 w 159"/>
              <a:gd name="T9" fmla="*/ 233 h 306"/>
              <a:gd name="T10" fmla="*/ 79 w 159"/>
              <a:gd name="T11" fmla="*/ 270 h 306"/>
              <a:gd name="T12" fmla="*/ 101 w 159"/>
              <a:gd name="T13" fmla="*/ 284 h 306"/>
              <a:gd name="T14" fmla="*/ 106 w 159"/>
              <a:gd name="T15" fmla="*/ 304 h 306"/>
              <a:gd name="T16" fmla="*/ 91 w 159"/>
              <a:gd name="T17" fmla="*/ 295 h 306"/>
              <a:gd name="T18" fmla="*/ 73 w 159"/>
              <a:gd name="T19" fmla="*/ 290 h 306"/>
              <a:gd name="T20" fmla="*/ 62 w 159"/>
              <a:gd name="T21" fmla="*/ 272 h 306"/>
              <a:gd name="T22" fmla="*/ 42 w 159"/>
              <a:gd name="T23" fmla="*/ 250 h 306"/>
              <a:gd name="T24" fmla="*/ 36 w 159"/>
              <a:gd name="T25" fmla="*/ 251 h 306"/>
              <a:gd name="T26" fmla="*/ 41 w 159"/>
              <a:gd name="T27" fmla="*/ 218 h 306"/>
              <a:gd name="T28" fmla="*/ 56 w 159"/>
              <a:gd name="T29" fmla="*/ 177 h 306"/>
              <a:gd name="T30" fmla="*/ 46 w 159"/>
              <a:gd name="T31" fmla="*/ 149 h 306"/>
              <a:gd name="T32" fmla="*/ 29 w 159"/>
              <a:gd name="T33" fmla="*/ 121 h 306"/>
              <a:gd name="T34" fmla="*/ 30 w 159"/>
              <a:gd name="T35" fmla="*/ 106 h 306"/>
              <a:gd name="T36" fmla="*/ 25 w 159"/>
              <a:gd name="T37" fmla="*/ 75 h 306"/>
              <a:gd name="T38" fmla="*/ 0 w 159"/>
              <a:gd name="T39" fmla="*/ 41 h 306"/>
              <a:gd name="T40" fmla="*/ 12 w 159"/>
              <a:gd name="T41" fmla="*/ 15 h 306"/>
              <a:gd name="T42" fmla="*/ 34 w 159"/>
              <a:gd name="T43" fmla="*/ 5 h 306"/>
              <a:gd name="T44" fmla="*/ 52 w 159"/>
              <a:gd name="T45" fmla="*/ 7 h 306"/>
              <a:gd name="T46" fmla="*/ 67 w 159"/>
              <a:gd name="T47" fmla="*/ 20 h 306"/>
              <a:gd name="T48" fmla="*/ 69 w 159"/>
              <a:gd name="T49" fmla="*/ 61 h 306"/>
              <a:gd name="T50" fmla="*/ 93 w 159"/>
              <a:gd name="T51" fmla="*/ 52 h 306"/>
              <a:gd name="T52" fmla="*/ 106 w 159"/>
              <a:gd name="T53" fmla="*/ 44 h 306"/>
              <a:gd name="T54" fmla="*/ 136 w 159"/>
              <a:gd name="T55" fmla="*/ 62 h 306"/>
              <a:gd name="T56" fmla="*/ 157 w 159"/>
              <a:gd name="T57" fmla="*/ 101 h 306"/>
              <a:gd name="T58" fmla="*/ 154 w 159"/>
              <a:gd name="T59" fmla="*/ 128 h 306"/>
              <a:gd name="T60" fmla="*/ 113 w 159"/>
              <a:gd name="T61" fmla="*/ 129 h 306"/>
              <a:gd name="T62" fmla="*/ 110 w 159"/>
              <a:gd name="T63" fmla="*/ 171 h 3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59" h="306">
                <a:moveTo>
                  <a:pt x="110" y="171"/>
                </a:moveTo>
                <a:lnTo>
                  <a:pt x="93" y="162"/>
                </a:lnTo>
                <a:lnTo>
                  <a:pt x="78" y="162"/>
                </a:lnTo>
                <a:lnTo>
                  <a:pt x="78" y="146"/>
                </a:lnTo>
                <a:lnTo>
                  <a:pt x="62" y="146"/>
                </a:lnTo>
                <a:lnTo>
                  <a:pt x="63" y="169"/>
                </a:lnTo>
                <a:lnTo>
                  <a:pt x="56" y="199"/>
                </a:lnTo>
                <a:lnTo>
                  <a:pt x="52" y="217"/>
                </a:lnTo>
                <a:lnTo>
                  <a:pt x="54" y="233"/>
                </a:lnTo>
                <a:lnTo>
                  <a:pt x="66" y="233"/>
                </a:lnTo>
                <a:lnTo>
                  <a:pt x="75" y="252"/>
                </a:lnTo>
                <a:lnTo>
                  <a:pt x="79" y="270"/>
                </a:lnTo>
                <a:lnTo>
                  <a:pt x="90" y="282"/>
                </a:lnTo>
                <a:lnTo>
                  <a:pt x="101" y="284"/>
                </a:lnTo>
                <a:lnTo>
                  <a:pt x="111" y="295"/>
                </a:lnTo>
                <a:lnTo>
                  <a:pt x="106" y="304"/>
                </a:lnTo>
                <a:lnTo>
                  <a:pt x="93" y="306"/>
                </a:lnTo>
                <a:lnTo>
                  <a:pt x="91" y="295"/>
                </a:lnTo>
                <a:lnTo>
                  <a:pt x="76" y="286"/>
                </a:lnTo>
                <a:lnTo>
                  <a:pt x="73" y="290"/>
                </a:lnTo>
                <a:lnTo>
                  <a:pt x="66" y="282"/>
                </a:lnTo>
                <a:lnTo>
                  <a:pt x="62" y="272"/>
                </a:lnTo>
                <a:lnTo>
                  <a:pt x="51" y="260"/>
                </a:lnTo>
                <a:lnTo>
                  <a:pt x="42" y="250"/>
                </a:lnTo>
                <a:lnTo>
                  <a:pt x="40" y="263"/>
                </a:lnTo>
                <a:lnTo>
                  <a:pt x="36" y="251"/>
                </a:lnTo>
                <a:lnTo>
                  <a:pt x="37" y="238"/>
                </a:lnTo>
                <a:lnTo>
                  <a:pt x="41" y="218"/>
                </a:lnTo>
                <a:lnTo>
                  <a:pt x="48" y="197"/>
                </a:lnTo>
                <a:lnTo>
                  <a:pt x="56" y="177"/>
                </a:lnTo>
                <a:lnTo>
                  <a:pt x="47" y="158"/>
                </a:lnTo>
                <a:lnTo>
                  <a:pt x="46" y="149"/>
                </a:lnTo>
                <a:lnTo>
                  <a:pt x="43" y="137"/>
                </a:lnTo>
                <a:lnTo>
                  <a:pt x="29" y="121"/>
                </a:lnTo>
                <a:lnTo>
                  <a:pt x="24" y="110"/>
                </a:lnTo>
                <a:lnTo>
                  <a:pt x="30" y="106"/>
                </a:lnTo>
                <a:lnTo>
                  <a:pt x="34" y="88"/>
                </a:lnTo>
                <a:lnTo>
                  <a:pt x="25" y="75"/>
                </a:lnTo>
                <a:lnTo>
                  <a:pt x="11" y="60"/>
                </a:lnTo>
                <a:lnTo>
                  <a:pt x="0" y="41"/>
                </a:lnTo>
                <a:lnTo>
                  <a:pt x="7" y="37"/>
                </a:lnTo>
                <a:lnTo>
                  <a:pt x="12" y="15"/>
                </a:lnTo>
                <a:lnTo>
                  <a:pt x="25" y="14"/>
                </a:lnTo>
                <a:lnTo>
                  <a:pt x="34" y="5"/>
                </a:lnTo>
                <a:lnTo>
                  <a:pt x="43" y="0"/>
                </a:lnTo>
                <a:lnTo>
                  <a:pt x="52" y="7"/>
                </a:lnTo>
                <a:lnTo>
                  <a:pt x="55" y="19"/>
                </a:lnTo>
                <a:lnTo>
                  <a:pt x="67" y="20"/>
                </a:lnTo>
                <a:lnTo>
                  <a:pt x="66" y="42"/>
                </a:lnTo>
                <a:lnTo>
                  <a:pt x="69" y="61"/>
                </a:lnTo>
                <a:lnTo>
                  <a:pt x="87" y="48"/>
                </a:lnTo>
                <a:lnTo>
                  <a:pt x="93" y="52"/>
                </a:lnTo>
                <a:lnTo>
                  <a:pt x="103" y="51"/>
                </a:lnTo>
                <a:lnTo>
                  <a:pt x="106" y="44"/>
                </a:lnTo>
                <a:lnTo>
                  <a:pt x="120" y="45"/>
                </a:lnTo>
                <a:lnTo>
                  <a:pt x="136" y="62"/>
                </a:lnTo>
                <a:lnTo>
                  <a:pt x="140" y="83"/>
                </a:lnTo>
                <a:lnTo>
                  <a:pt x="157" y="101"/>
                </a:lnTo>
                <a:lnTo>
                  <a:pt x="159" y="119"/>
                </a:lnTo>
                <a:lnTo>
                  <a:pt x="154" y="128"/>
                </a:lnTo>
                <a:lnTo>
                  <a:pt x="136" y="125"/>
                </a:lnTo>
                <a:lnTo>
                  <a:pt x="113" y="129"/>
                </a:lnTo>
                <a:lnTo>
                  <a:pt x="103" y="146"/>
                </a:lnTo>
                <a:lnTo>
                  <a:pt x="110" y="171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72" name="Freeform 193"/>
          <p:cNvSpPr>
            <a:spLocks/>
          </p:cNvSpPr>
          <p:nvPr/>
        </p:nvSpPr>
        <p:spPr bwMode="auto">
          <a:xfrm>
            <a:off x="5306732" y="3190935"/>
            <a:ext cx="559900" cy="442389"/>
          </a:xfrm>
          <a:custGeom>
            <a:avLst/>
            <a:gdLst>
              <a:gd name="T0" fmla="*/ 54 w 138"/>
              <a:gd name="T1" fmla="*/ 15 h 88"/>
              <a:gd name="T2" fmla="*/ 50 w 138"/>
              <a:gd name="T3" fmla="*/ 22 h 88"/>
              <a:gd name="T4" fmla="*/ 30 w 138"/>
              <a:gd name="T5" fmla="*/ 18 h 88"/>
              <a:gd name="T6" fmla="*/ 32 w 138"/>
              <a:gd name="T7" fmla="*/ 30 h 88"/>
              <a:gd name="T8" fmla="*/ 50 w 138"/>
              <a:gd name="T9" fmla="*/ 29 h 88"/>
              <a:gd name="T10" fmla="*/ 73 w 138"/>
              <a:gd name="T11" fmla="*/ 35 h 88"/>
              <a:gd name="T12" fmla="*/ 104 w 138"/>
              <a:gd name="T13" fmla="*/ 32 h 88"/>
              <a:gd name="T14" fmla="*/ 113 w 138"/>
              <a:gd name="T15" fmla="*/ 51 h 88"/>
              <a:gd name="T16" fmla="*/ 119 w 138"/>
              <a:gd name="T17" fmla="*/ 49 h 88"/>
              <a:gd name="T18" fmla="*/ 130 w 138"/>
              <a:gd name="T19" fmla="*/ 54 h 88"/>
              <a:gd name="T20" fmla="*/ 132 w 138"/>
              <a:gd name="T21" fmla="*/ 62 h 88"/>
              <a:gd name="T22" fmla="*/ 138 w 138"/>
              <a:gd name="T23" fmla="*/ 74 h 88"/>
              <a:gd name="T24" fmla="*/ 120 w 138"/>
              <a:gd name="T25" fmla="*/ 74 h 88"/>
              <a:gd name="T26" fmla="*/ 108 w 138"/>
              <a:gd name="T27" fmla="*/ 72 h 88"/>
              <a:gd name="T28" fmla="*/ 99 w 138"/>
              <a:gd name="T29" fmla="*/ 81 h 88"/>
              <a:gd name="T30" fmla="*/ 92 w 138"/>
              <a:gd name="T31" fmla="*/ 83 h 88"/>
              <a:gd name="T32" fmla="*/ 88 w 138"/>
              <a:gd name="T33" fmla="*/ 88 h 88"/>
              <a:gd name="T34" fmla="*/ 79 w 138"/>
              <a:gd name="T35" fmla="*/ 81 h 88"/>
              <a:gd name="T36" fmla="*/ 76 w 138"/>
              <a:gd name="T37" fmla="*/ 64 h 88"/>
              <a:gd name="T38" fmla="*/ 71 w 138"/>
              <a:gd name="T39" fmla="*/ 63 h 88"/>
              <a:gd name="T40" fmla="*/ 71 w 138"/>
              <a:gd name="T41" fmla="*/ 56 h 88"/>
              <a:gd name="T42" fmla="*/ 60 w 138"/>
              <a:gd name="T43" fmla="*/ 51 h 88"/>
              <a:gd name="T44" fmla="*/ 55 w 138"/>
              <a:gd name="T45" fmla="*/ 59 h 88"/>
              <a:gd name="T46" fmla="*/ 55 w 138"/>
              <a:gd name="T47" fmla="*/ 67 h 88"/>
              <a:gd name="T48" fmla="*/ 53 w 138"/>
              <a:gd name="T49" fmla="*/ 70 h 88"/>
              <a:gd name="T50" fmla="*/ 43 w 138"/>
              <a:gd name="T51" fmla="*/ 70 h 88"/>
              <a:gd name="T52" fmla="*/ 40 w 138"/>
              <a:gd name="T53" fmla="*/ 79 h 88"/>
              <a:gd name="T54" fmla="*/ 33 w 138"/>
              <a:gd name="T55" fmla="*/ 75 h 88"/>
              <a:gd name="T56" fmla="*/ 22 w 138"/>
              <a:gd name="T57" fmla="*/ 82 h 88"/>
              <a:gd name="T58" fmla="*/ 16 w 138"/>
              <a:gd name="T59" fmla="*/ 79 h 88"/>
              <a:gd name="T60" fmla="*/ 21 w 138"/>
              <a:gd name="T61" fmla="*/ 58 h 88"/>
              <a:gd name="T62" fmla="*/ 13 w 138"/>
              <a:gd name="T63" fmla="*/ 43 h 88"/>
              <a:gd name="T64" fmla="*/ 0 w 138"/>
              <a:gd name="T65" fmla="*/ 38 h 88"/>
              <a:gd name="T66" fmla="*/ 2 w 138"/>
              <a:gd name="T67" fmla="*/ 29 h 88"/>
              <a:gd name="T68" fmla="*/ 16 w 138"/>
              <a:gd name="T69" fmla="*/ 30 h 88"/>
              <a:gd name="T70" fmla="*/ 21 w 138"/>
              <a:gd name="T71" fmla="*/ 19 h 88"/>
              <a:gd name="T72" fmla="*/ 23 w 138"/>
              <a:gd name="T73" fmla="*/ 5 h 88"/>
              <a:gd name="T74" fmla="*/ 44 w 138"/>
              <a:gd name="T75" fmla="*/ 0 h 88"/>
              <a:gd name="T76" fmla="*/ 43 w 138"/>
              <a:gd name="T77" fmla="*/ 10 h 88"/>
              <a:gd name="T78" fmla="*/ 47 w 138"/>
              <a:gd name="T79" fmla="*/ 16 h 88"/>
              <a:gd name="T80" fmla="*/ 54 w 138"/>
              <a:gd name="T81" fmla="*/ 15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38" h="88">
                <a:moveTo>
                  <a:pt x="54" y="15"/>
                </a:moveTo>
                <a:lnTo>
                  <a:pt x="50" y="22"/>
                </a:lnTo>
                <a:lnTo>
                  <a:pt x="30" y="18"/>
                </a:lnTo>
                <a:lnTo>
                  <a:pt x="32" y="30"/>
                </a:lnTo>
                <a:lnTo>
                  <a:pt x="50" y="29"/>
                </a:lnTo>
                <a:lnTo>
                  <a:pt x="73" y="35"/>
                </a:lnTo>
                <a:lnTo>
                  <a:pt x="104" y="32"/>
                </a:lnTo>
                <a:lnTo>
                  <a:pt x="113" y="51"/>
                </a:lnTo>
                <a:lnTo>
                  <a:pt x="119" y="49"/>
                </a:lnTo>
                <a:lnTo>
                  <a:pt x="130" y="54"/>
                </a:lnTo>
                <a:lnTo>
                  <a:pt x="132" y="62"/>
                </a:lnTo>
                <a:lnTo>
                  <a:pt x="138" y="74"/>
                </a:lnTo>
                <a:lnTo>
                  <a:pt x="120" y="74"/>
                </a:lnTo>
                <a:lnTo>
                  <a:pt x="108" y="72"/>
                </a:lnTo>
                <a:lnTo>
                  <a:pt x="99" y="81"/>
                </a:lnTo>
                <a:lnTo>
                  <a:pt x="92" y="83"/>
                </a:lnTo>
                <a:lnTo>
                  <a:pt x="88" y="88"/>
                </a:lnTo>
                <a:lnTo>
                  <a:pt x="79" y="81"/>
                </a:lnTo>
                <a:lnTo>
                  <a:pt x="76" y="64"/>
                </a:lnTo>
                <a:lnTo>
                  <a:pt x="71" y="63"/>
                </a:lnTo>
                <a:lnTo>
                  <a:pt x="71" y="56"/>
                </a:lnTo>
                <a:lnTo>
                  <a:pt x="60" y="51"/>
                </a:lnTo>
                <a:lnTo>
                  <a:pt x="55" y="59"/>
                </a:lnTo>
                <a:lnTo>
                  <a:pt x="55" y="67"/>
                </a:lnTo>
                <a:lnTo>
                  <a:pt x="53" y="70"/>
                </a:lnTo>
                <a:lnTo>
                  <a:pt x="43" y="70"/>
                </a:lnTo>
                <a:lnTo>
                  <a:pt x="40" y="79"/>
                </a:lnTo>
                <a:lnTo>
                  <a:pt x="33" y="75"/>
                </a:lnTo>
                <a:lnTo>
                  <a:pt x="22" y="82"/>
                </a:lnTo>
                <a:lnTo>
                  <a:pt x="16" y="79"/>
                </a:lnTo>
                <a:lnTo>
                  <a:pt x="21" y="58"/>
                </a:lnTo>
                <a:lnTo>
                  <a:pt x="13" y="43"/>
                </a:lnTo>
                <a:lnTo>
                  <a:pt x="0" y="38"/>
                </a:lnTo>
                <a:lnTo>
                  <a:pt x="2" y="29"/>
                </a:lnTo>
                <a:lnTo>
                  <a:pt x="16" y="30"/>
                </a:lnTo>
                <a:lnTo>
                  <a:pt x="21" y="19"/>
                </a:lnTo>
                <a:lnTo>
                  <a:pt x="23" y="5"/>
                </a:lnTo>
                <a:lnTo>
                  <a:pt x="44" y="0"/>
                </a:lnTo>
                <a:lnTo>
                  <a:pt x="43" y="10"/>
                </a:lnTo>
                <a:lnTo>
                  <a:pt x="47" y="16"/>
                </a:lnTo>
                <a:lnTo>
                  <a:pt x="54" y="15"/>
                </a:lnTo>
                <a:close/>
              </a:path>
            </a:pathLst>
          </a:custGeom>
          <a:solidFill>
            <a:srgbClr val="00B0F0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73" name="Freeform 194"/>
          <p:cNvSpPr>
            <a:spLocks/>
          </p:cNvSpPr>
          <p:nvPr/>
        </p:nvSpPr>
        <p:spPr bwMode="auto">
          <a:xfrm>
            <a:off x="4226827" y="3009959"/>
            <a:ext cx="1050832" cy="774184"/>
          </a:xfrm>
          <a:custGeom>
            <a:avLst/>
            <a:gdLst>
              <a:gd name="T0" fmla="*/ 176 w 259"/>
              <a:gd name="T1" fmla="*/ 146 h 154"/>
              <a:gd name="T2" fmla="*/ 170 w 259"/>
              <a:gd name="T3" fmla="*/ 129 h 154"/>
              <a:gd name="T4" fmla="*/ 157 w 259"/>
              <a:gd name="T5" fmla="*/ 128 h 154"/>
              <a:gd name="T6" fmla="*/ 134 w 259"/>
              <a:gd name="T7" fmla="*/ 110 h 154"/>
              <a:gd name="T8" fmla="*/ 120 w 259"/>
              <a:gd name="T9" fmla="*/ 107 h 154"/>
              <a:gd name="T10" fmla="*/ 99 w 259"/>
              <a:gd name="T11" fmla="*/ 97 h 154"/>
              <a:gd name="T12" fmla="*/ 86 w 259"/>
              <a:gd name="T13" fmla="*/ 95 h 154"/>
              <a:gd name="T14" fmla="*/ 79 w 259"/>
              <a:gd name="T15" fmla="*/ 99 h 154"/>
              <a:gd name="T16" fmla="*/ 68 w 259"/>
              <a:gd name="T17" fmla="*/ 98 h 154"/>
              <a:gd name="T18" fmla="*/ 58 w 259"/>
              <a:gd name="T19" fmla="*/ 110 h 154"/>
              <a:gd name="T20" fmla="*/ 44 w 259"/>
              <a:gd name="T21" fmla="*/ 114 h 154"/>
              <a:gd name="T22" fmla="*/ 38 w 259"/>
              <a:gd name="T23" fmla="*/ 100 h 154"/>
              <a:gd name="T24" fmla="*/ 36 w 259"/>
              <a:gd name="T25" fmla="*/ 78 h 154"/>
              <a:gd name="T26" fmla="*/ 21 w 259"/>
              <a:gd name="T27" fmla="*/ 71 h 154"/>
              <a:gd name="T28" fmla="*/ 23 w 259"/>
              <a:gd name="T29" fmla="*/ 57 h 154"/>
              <a:gd name="T30" fmla="*/ 11 w 259"/>
              <a:gd name="T31" fmla="*/ 56 h 154"/>
              <a:gd name="T32" fmla="*/ 11 w 259"/>
              <a:gd name="T33" fmla="*/ 38 h 154"/>
              <a:gd name="T34" fmla="*/ 28 w 259"/>
              <a:gd name="T35" fmla="*/ 43 h 154"/>
              <a:gd name="T36" fmla="*/ 41 w 259"/>
              <a:gd name="T37" fmla="*/ 37 h 154"/>
              <a:gd name="T38" fmla="*/ 27 w 259"/>
              <a:gd name="T39" fmla="*/ 25 h 154"/>
              <a:gd name="T40" fmla="*/ 19 w 259"/>
              <a:gd name="T41" fmla="*/ 13 h 154"/>
              <a:gd name="T42" fmla="*/ 7 w 259"/>
              <a:gd name="T43" fmla="*/ 18 h 154"/>
              <a:gd name="T44" fmla="*/ 8 w 259"/>
              <a:gd name="T45" fmla="*/ 33 h 154"/>
              <a:gd name="T46" fmla="*/ 0 w 259"/>
              <a:gd name="T47" fmla="*/ 20 h 154"/>
              <a:gd name="T48" fmla="*/ 6 w 259"/>
              <a:gd name="T49" fmla="*/ 13 h 154"/>
              <a:gd name="T50" fmla="*/ 24 w 259"/>
              <a:gd name="T51" fmla="*/ 9 h 154"/>
              <a:gd name="T52" fmla="*/ 37 w 259"/>
              <a:gd name="T53" fmla="*/ 14 h 154"/>
              <a:gd name="T54" fmla="*/ 52 w 259"/>
              <a:gd name="T55" fmla="*/ 30 h 154"/>
              <a:gd name="T56" fmla="*/ 61 w 259"/>
              <a:gd name="T57" fmla="*/ 29 h 154"/>
              <a:gd name="T58" fmla="*/ 80 w 259"/>
              <a:gd name="T59" fmla="*/ 29 h 154"/>
              <a:gd name="T60" fmla="*/ 74 w 259"/>
              <a:gd name="T61" fmla="*/ 19 h 154"/>
              <a:gd name="T62" fmla="*/ 87 w 259"/>
              <a:gd name="T63" fmla="*/ 12 h 154"/>
              <a:gd name="T64" fmla="*/ 98 w 259"/>
              <a:gd name="T65" fmla="*/ 0 h 154"/>
              <a:gd name="T66" fmla="*/ 123 w 259"/>
              <a:gd name="T67" fmla="*/ 11 h 154"/>
              <a:gd name="T68" fmla="*/ 129 w 259"/>
              <a:gd name="T69" fmla="*/ 27 h 154"/>
              <a:gd name="T70" fmla="*/ 137 w 259"/>
              <a:gd name="T71" fmla="*/ 31 h 154"/>
              <a:gd name="T72" fmla="*/ 155 w 259"/>
              <a:gd name="T73" fmla="*/ 30 h 154"/>
              <a:gd name="T74" fmla="*/ 161 w 259"/>
              <a:gd name="T75" fmla="*/ 34 h 154"/>
              <a:gd name="T76" fmla="*/ 175 w 259"/>
              <a:gd name="T77" fmla="*/ 55 h 154"/>
              <a:gd name="T78" fmla="*/ 198 w 259"/>
              <a:gd name="T79" fmla="*/ 69 h 154"/>
              <a:gd name="T80" fmla="*/ 211 w 259"/>
              <a:gd name="T81" fmla="*/ 79 h 154"/>
              <a:gd name="T82" fmla="*/ 231 w 259"/>
              <a:gd name="T83" fmla="*/ 89 h 154"/>
              <a:gd name="T84" fmla="*/ 256 w 259"/>
              <a:gd name="T85" fmla="*/ 98 h 154"/>
              <a:gd name="T86" fmla="*/ 259 w 259"/>
              <a:gd name="T87" fmla="*/ 111 h 154"/>
              <a:gd name="T88" fmla="*/ 254 w 259"/>
              <a:gd name="T89" fmla="*/ 110 h 154"/>
              <a:gd name="T90" fmla="*/ 244 w 259"/>
              <a:gd name="T91" fmla="*/ 105 h 154"/>
              <a:gd name="T92" fmla="*/ 243 w 259"/>
              <a:gd name="T93" fmla="*/ 112 h 154"/>
              <a:gd name="T94" fmla="*/ 230 w 259"/>
              <a:gd name="T95" fmla="*/ 116 h 154"/>
              <a:gd name="T96" fmla="*/ 230 w 259"/>
              <a:gd name="T97" fmla="*/ 133 h 154"/>
              <a:gd name="T98" fmla="*/ 222 w 259"/>
              <a:gd name="T99" fmla="*/ 139 h 154"/>
              <a:gd name="T100" fmla="*/ 209 w 259"/>
              <a:gd name="T101" fmla="*/ 142 h 154"/>
              <a:gd name="T102" fmla="*/ 207 w 259"/>
              <a:gd name="T103" fmla="*/ 151 h 154"/>
              <a:gd name="T104" fmla="*/ 195 w 259"/>
              <a:gd name="T105" fmla="*/ 154 h 154"/>
              <a:gd name="T106" fmla="*/ 176 w 259"/>
              <a:gd name="T107" fmla="*/ 146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59" h="154">
                <a:moveTo>
                  <a:pt x="176" y="146"/>
                </a:moveTo>
                <a:lnTo>
                  <a:pt x="170" y="129"/>
                </a:lnTo>
                <a:lnTo>
                  <a:pt x="157" y="128"/>
                </a:lnTo>
                <a:lnTo>
                  <a:pt x="134" y="110"/>
                </a:lnTo>
                <a:lnTo>
                  <a:pt x="120" y="107"/>
                </a:lnTo>
                <a:lnTo>
                  <a:pt x="99" y="97"/>
                </a:lnTo>
                <a:lnTo>
                  <a:pt x="86" y="95"/>
                </a:lnTo>
                <a:lnTo>
                  <a:pt x="79" y="99"/>
                </a:lnTo>
                <a:lnTo>
                  <a:pt x="68" y="98"/>
                </a:lnTo>
                <a:lnTo>
                  <a:pt x="58" y="110"/>
                </a:lnTo>
                <a:lnTo>
                  <a:pt x="44" y="114"/>
                </a:lnTo>
                <a:lnTo>
                  <a:pt x="38" y="100"/>
                </a:lnTo>
                <a:lnTo>
                  <a:pt x="36" y="78"/>
                </a:lnTo>
                <a:lnTo>
                  <a:pt x="21" y="71"/>
                </a:lnTo>
                <a:lnTo>
                  <a:pt x="23" y="57"/>
                </a:lnTo>
                <a:lnTo>
                  <a:pt x="11" y="56"/>
                </a:lnTo>
                <a:lnTo>
                  <a:pt x="11" y="38"/>
                </a:lnTo>
                <a:lnTo>
                  <a:pt x="28" y="43"/>
                </a:lnTo>
                <a:lnTo>
                  <a:pt x="41" y="37"/>
                </a:lnTo>
                <a:lnTo>
                  <a:pt x="27" y="25"/>
                </a:lnTo>
                <a:lnTo>
                  <a:pt x="19" y="13"/>
                </a:lnTo>
                <a:lnTo>
                  <a:pt x="7" y="18"/>
                </a:lnTo>
                <a:lnTo>
                  <a:pt x="8" y="33"/>
                </a:lnTo>
                <a:lnTo>
                  <a:pt x="0" y="20"/>
                </a:lnTo>
                <a:lnTo>
                  <a:pt x="6" y="13"/>
                </a:lnTo>
                <a:lnTo>
                  <a:pt x="24" y="9"/>
                </a:lnTo>
                <a:lnTo>
                  <a:pt x="37" y="14"/>
                </a:lnTo>
                <a:lnTo>
                  <a:pt x="52" y="30"/>
                </a:lnTo>
                <a:lnTo>
                  <a:pt x="61" y="29"/>
                </a:lnTo>
                <a:lnTo>
                  <a:pt x="80" y="29"/>
                </a:lnTo>
                <a:lnTo>
                  <a:pt x="74" y="19"/>
                </a:lnTo>
                <a:lnTo>
                  <a:pt x="87" y="12"/>
                </a:lnTo>
                <a:lnTo>
                  <a:pt x="98" y="0"/>
                </a:lnTo>
                <a:lnTo>
                  <a:pt x="123" y="11"/>
                </a:lnTo>
                <a:lnTo>
                  <a:pt x="129" y="27"/>
                </a:lnTo>
                <a:lnTo>
                  <a:pt x="137" y="31"/>
                </a:lnTo>
                <a:lnTo>
                  <a:pt x="155" y="30"/>
                </a:lnTo>
                <a:lnTo>
                  <a:pt x="161" y="34"/>
                </a:lnTo>
                <a:lnTo>
                  <a:pt x="175" y="55"/>
                </a:lnTo>
                <a:lnTo>
                  <a:pt x="198" y="69"/>
                </a:lnTo>
                <a:lnTo>
                  <a:pt x="211" y="79"/>
                </a:lnTo>
                <a:lnTo>
                  <a:pt x="231" y="89"/>
                </a:lnTo>
                <a:lnTo>
                  <a:pt x="256" y="98"/>
                </a:lnTo>
                <a:lnTo>
                  <a:pt x="259" y="111"/>
                </a:lnTo>
                <a:lnTo>
                  <a:pt x="254" y="110"/>
                </a:lnTo>
                <a:lnTo>
                  <a:pt x="244" y="105"/>
                </a:lnTo>
                <a:lnTo>
                  <a:pt x="243" y="112"/>
                </a:lnTo>
                <a:lnTo>
                  <a:pt x="230" y="116"/>
                </a:lnTo>
                <a:lnTo>
                  <a:pt x="230" y="133"/>
                </a:lnTo>
                <a:lnTo>
                  <a:pt x="222" y="139"/>
                </a:lnTo>
                <a:lnTo>
                  <a:pt x="209" y="142"/>
                </a:lnTo>
                <a:lnTo>
                  <a:pt x="207" y="151"/>
                </a:lnTo>
                <a:lnTo>
                  <a:pt x="195" y="154"/>
                </a:lnTo>
                <a:lnTo>
                  <a:pt x="176" y="146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74" name="Freeform 197"/>
          <p:cNvSpPr>
            <a:spLocks/>
          </p:cNvSpPr>
          <p:nvPr/>
        </p:nvSpPr>
        <p:spPr bwMode="auto">
          <a:xfrm>
            <a:off x="1184562" y="3567971"/>
            <a:ext cx="284007" cy="733966"/>
          </a:xfrm>
          <a:custGeom>
            <a:avLst/>
            <a:gdLst>
              <a:gd name="T0" fmla="*/ 36 w 70"/>
              <a:gd name="T1" fmla="*/ 146 h 146"/>
              <a:gd name="T2" fmla="*/ 28 w 70"/>
              <a:gd name="T3" fmla="*/ 109 h 146"/>
              <a:gd name="T4" fmla="*/ 17 w 70"/>
              <a:gd name="T5" fmla="*/ 100 h 146"/>
              <a:gd name="T6" fmla="*/ 17 w 70"/>
              <a:gd name="T7" fmla="*/ 95 h 146"/>
              <a:gd name="T8" fmla="*/ 2 w 70"/>
              <a:gd name="T9" fmla="*/ 83 h 146"/>
              <a:gd name="T10" fmla="*/ 0 w 70"/>
              <a:gd name="T11" fmla="*/ 67 h 146"/>
              <a:gd name="T12" fmla="*/ 10 w 70"/>
              <a:gd name="T13" fmla="*/ 56 h 146"/>
              <a:gd name="T14" fmla="*/ 14 w 70"/>
              <a:gd name="T15" fmla="*/ 39 h 146"/>
              <a:gd name="T16" fmla="*/ 11 w 70"/>
              <a:gd name="T17" fmla="*/ 19 h 146"/>
              <a:gd name="T18" fmla="*/ 14 w 70"/>
              <a:gd name="T19" fmla="*/ 8 h 146"/>
              <a:gd name="T20" fmla="*/ 32 w 70"/>
              <a:gd name="T21" fmla="*/ 0 h 146"/>
              <a:gd name="T22" fmla="*/ 44 w 70"/>
              <a:gd name="T23" fmla="*/ 3 h 146"/>
              <a:gd name="T24" fmla="*/ 44 w 70"/>
              <a:gd name="T25" fmla="*/ 13 h 146"/>
              <a:gd name="T26" fmla="*/ 59 w 70"/>
              <a:gd name="T27" fmla="*/ 6 h 146"/>
              <a:gd name="T28" fmla="*/ 60 w 70"/>
              <a:gd name="T29" fmla="*/ 9 h 146"/>
              <a:gd name="T30" fmla="*/ 52 w 70"/>
              <a:gd name="T31" fmla="*/ 19 h 146"/>
              <a:gd name="T32" fmla="*/ 52 w 70"/>
              <a:gd name="T33" fmla="*/ 29 h 146"/>
              <a:gd name="T34" fmla="*/ 58 w 70"/>
              <a:gd name="T35" fmla="*/ 34 h 146"/>
              <a:gd name="T36" fmla="*/ 56 w 70"/>
              <a:gd name="T37" fmla="*/ 52 h 146"/>
              <a:gd name="T38" fmla="*/ 45 w 70"/>
              <a:gd name="T39" fmla="*/ 63 h 146"/>
              <a:gd name="T40" fmla="*/ 49 w 70"/>
              <a:gd name="T41" fmla="*/ 74 h 146"/>
              <a:gd name="T42" fmla="*/ 58 w 70"/>
              <a:gd name="T43" fmla="*/ 74 h 146"/>
              <a:gd name="T44" fmla="*/ 63 w 70"/>
              <a:gd name="T45" fmla="*/ 84 h 146"/>
              <a:gd name="T46" fmla="*/ 70 w 70"/>
              <a:gd name="T47" fmla="*/ 87 h 146"/>
              <a:gd name="T48" fmla="*/ 69 w 70"/>
              <a:gd name="T49" fmla="*/ 103 h 146"/>
              <a:gd name="T50" fmla="*/ 61 w 70"/>
              <a:gd name="T51" fmla="*/ 109 h 146"/>
              <a:gd name="T52" fmla="*/ 56 w 70"/>
              <a:gd name="T53" fmla="*/ 116 h 146"/>
              <a:gd name="T54" fmla="*/ 44 w 70"/>
              <a:gd name="T55" fmla="*/ 124 h 146"/>
              <a:gd name="T56" fmla="*/ 46 w 70"/>
              <a:gd name="T57" fmla="*/ 132 h 146"/>
              <a:gd name="T58" fmla="*/ 45 w 70"/>
              <a:gd name="T59" fmla="*/ 141 h 146"/>
              <a:gd name="T60" fmla="*/ 36 w 70"/>
              <a:gd name="T61" fmla="*/ 146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70" h="146">
                <a:moveTo>
                  <a:pt x="36" y="146"/>
                </a:moveTo>
                <a:lnTo>
                  <a:pt x="28" y="109"/>
                </a:lnTo>
                <a:lnTo>
                  <a:pt x="17" y="100"/>
                </a:lnTo>
                <a:lnTo>
                  <a:pt x="17" y="95"/>
                </a:lnTo>
                <a:lnTo>
                  <a:pt x="2" y="83"/>
                </a:lnTo>
                <a:lnTo>
                  <a:pt x="0" y="67"/>
                </a:lnTo>
                <a:lnTo>
                  <a:pt x="10" y="56"/>
                </a:lnTo>
                <a:lnTo>
                  <a:pt x="14" y="39"/>
                </a:lnTo>
                <a:lnTo>
                  <a:pt x="11" y="19"/>
                </a:lnTo>
                <a:lnTo>
                  <a:pt x="14" y="8"/>
                </a:lnTo>
                <a:lnTo>
                  <a:pt x="32" y="0"/>
                </a:lnTo>
                <a:lnTo>
                  <a:pt x="44" y="3"/>
                </a:lnTo>
                <a:lnTo>
                  <a:pt x="44" y="13"/>
                </a:lnTo>
                <a:lnTo>
                  <a:pt x="59" y="6"/>
                </a:lnTo>
                <a:lnTo>
                  <a:pt x="60" y="9"/>
                </a:lnTo>
                <a:lnTo>
                  <a:pt x="52" y="19"/>
                </a:lnTo>
                <a:lnTo>
                  <a:pt x="52" y="29"/>
                </a:lnTo>
                <a:lnTo>
                  <a:pt x="58" y="34"/>
                </a:lnTo>
                <a:lnTo>
                  <a:pt x="56" y="52"/>
                </a:lnTo>
                <a:lnTo>
                  <a:pt x="45" y="63"/>
                </a:lnTo>
                <a:lnTo>
                  <a:pt x="49" y="74"/>
                </a:lnTo>
                <a:lnTo>
                  <a:pt x="58" y="74"/>
                </a:lnTo>
                <a:lnTo>
                  <a:pt x="63" y="84"/>
                </a:lnTo>
                <a:lnTo>
                  <a:pt x="70" y="87"/>
                </a:lnTo>
                <a:lnTo>
                  <a:pt x="69" y="103"/>
                </a:lnTo>
                <a:lnTo>
                  <a:pt x="61" y="109"/>
                </a:lnTo>
                <a:lnTo>
                  <a:pt x="56" y="116"/>
                </a:lnTo>
                <a:lnTo>
                  <a:pt x="44" y="124"/>
                </a:lnTo>
                <a:lnTo>
                  <a:pt x="46" y="132"/>
                </a:lnTo>
                <a:lnTo>
                  <a:pt x="45" y="141"/>
                </a:lnTo>
                <a:lnTo>
                  <a:pt x="36" y="146"/>
                </a:lnTo>
                <a:close/>
              </a:path>
            </a:pathLst>
          </a:custGeom>
          <a:solidFill>
            <a:srgbClr val="8CDEF8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75" name="Freeform 198"/>
          <p:cNvSpPr>
            <a:spLocks/>
          </p:cNvSpPr>
          <p:nvPr/>
        </p:nvSpPr>
        <p:spPr bwMode="auto">
          <a:xfrm>
            <a:off x="2454483" y="3080338"/>
            <a:ext cx="1314551" cy="648507"/>
          </a:xfrm>
          <a:custGeom>
            <a:avLst/>
            <a:gdLst>
              <a:gd name="T0" fmla="*/ 177 w 324"/>
              <a:gd name="T1" fmla="*/ 15 h 129"/>
              <a:gd name="T2" fmla="*/ 202 w 324"/>
              <a:gd name="T3" fmla="*/ 23 h 129"/>
              <a:gd name="T4" fmla="*/ 222 w 324"/>
              <a:gd name="T5" fmla="*/ 20 h 129"/>
              <a:gd name="T6" fmla="*/ 236 w 324"/>
              <a:gd name="T7" fmla="*/ 22 h 129"/>
              <a:gd name="T8" fmla="*/ 254 w 324"/>
              <a:gd name="T9" fmla="*/ 11 h 129"/>
              <a:gd name="T10" fmla="*/ 272 w 324"/>
              <a:gd name="T11" fmla="*/ 10 h 129"/>
              <a:gd name="T12" fmla="*/ 290 w 324"/>
              <a:gd name="T13" fmla="*/ 20 h 129"/>
              <a:gd name="T14" fmla="*/ 294 w 324"/>
              <a:gd name="T15" fmla="*/ 27 h 129"/>
              <a:gd name="T16" fmla="*/ 294 w 324"/>
              <a:gd name="T17" fmla="*/ 37 h 129"/>
              <a:gd name="T18" fmla="*/ 308 w 324"/>
              <a:gd name="T19" fmla="*/ 42 h 129"/>
              <a:gd name="T20" fmla="*/ 316 w 324"/>
              <a:gd name="T21" fmla="*/ 48 h 129"/>
              <a:gd name="T22" fmla="*/ 305 w 324"/>
              <a:gd name="T23" fmla="*/ 54 h 129"/>
              <a:gd name="T24" fmla="*/ 314 w 324"/>
              <a:gd name="T25" fmla="*/ 78 h 129"/>
              <a:gd name="T26" fmla="*/ 312 w 324"/>
              <a:gd name="T27" fmla="*/ 84 h 129"/>
              <a:gd name="T28" fmla="*/ 324 w 324"/>
              <a:gd name="T29" fmla="*/ 101 h 129"/>
              <a:gd name="T30" fmla="*/ 316 w 324"/>
              <a:gd name="T31" fmla="*/ 104 h 129"/>
              <a:gd name="T32" fmla="*/ 310 w 324"/>
              <a:gd name="T33" fmla="*/ 99 h 129"/>
              <a:gd name="T34" fmla="*/ 289 w 324"/>
              <a:gd name="T35" fmla="*/ 96 h 129"/>
              <a:gd name="T36" fmla="*/ 282 w 324"/>
              <a:gd name="T37" fmla="*/ 100 h 129"/>
              <a:gd name="T38" fmla="*/ 263 w 324"/>
              <a:gd name="T39" fmla="*/ 103 h 129"/>
              <a:gd name="T40" fmla="*/ 254 w 324"/>
              <a:gd name="T41" fmla="*/ 103 h 129"/>
              <a:gd name="T42" fmla="*/ 235 w 324"/>
              <a:gd name="T43" fmla="*/ 110 h 129"/>
              <a:gd name="T44" fmla="*/ 221 w 324"/>
              <a:gd name="T45" fmla="*/ 110 h 129"/>
              <a:gd name="T46" fmla="*/ 212 w 324"/>
              <a:gd name="T47" fmla="*/ 106 h 129"/>
              <a:gd name="T48" fmla="*/ 193 w 324"/>
              <a:gd name="T49" fmla="*/ 112 h 129"/>
              <a:gd name="T50" fmla="*/ 187 w 324"/>
              <a:gd name="T51" fmla="*/ 108 h 129"/>
              <a:gd name="T52" fmla="*/ 188 w 324"/>
              <a:gd name="T53" fmla="*/ 120 h 129"/>
              <a:gd name="T54" fmla="*/ 184 w 324"/>
              <a:gd name="T55" fmla="*/ 124 h 129"/>
              <a:gd name="T56" fmla="*/ 180 w 324"/>
              <a:gd name="T57" fmla="*/ 129 h 129"/>
              <a:gd name="T58" fmla="*/ 172 w 324"/>
              <a:gd name="T59" fmla="*/ 119 h 129"/>
              <a:gd name="T60" fmla="*/ 178 w 324"/>
              <a:gd name="T61" fmla="*/ 112 h 129"/>
              <a:gd name="T62" fmla="*/ 167 w 324"/>
              <a:gd name="T63" fmla="*/ 113 h 129"/>
              <a:gd name="T64" fmla="*/ 153 w 324"/>
              <a:gd name="T65" fmla="*/ 109 h 129"/>
              <a:gd name="T66" fmla="*/ 142 w 324"/>
              <a:gd name="T67" fmla="*/ 120 h 129"/>
              <a:gd name="T68" fmla="*/ 116 w 324"/>
              <a:gd name="T69" fmla="*/ 123 h 129"/>
              <a:gd name="T70" fmla="*/ 101 w 324"/>
              <a:gd name="T71" fmla="*/ 112 h 129"/>
              <a:gd name="T72" fmla="*/ 82 w 324"/>
              <a:gd name="T73" fmla="*/ 111 h 129"/>
              <a:gd name="T74" fmla="*/ 80 w 324"/>
              <a:gd name="T75" fmla="*/ 120 h 129"/>
              <a:gd name="T76" fmla="*/ 68 w 324"/>
              <a:gd name="T77" fmla="*/ 122 h 129"/>
              <a:gd name="T78" fmla="*/ 50 w 324"/>
              <a:gd name="T79" fmla="*/ 111 h 129"/>
              <a:gd name="T80" fmla="*/ 31 w 324"/>
              <a:gd name="T81" fmla="*/ 111 h 129"/>
              <a:gd name="T82" fmla="*/ 19 w 324"/>
              <a:gd name="T83" fmla="*/ 91 h 129"/>
              <a:gd name="T84" fmla="*/ 6 w 324"/>
              <a:gd name="T85" fmla="*/ 79 h 129"/>
              <a:gd name="T86" fmla="*/ 12 w 324"/>
              <a:gd name="T87" fmla="*/ 63 h 129"/>
              <a:gd name="T88" fmla="*/ 0 w 324"/>
              <a:gd name="T89" fmla="*/ 53 h 129"/>
              <a:gd name="T90" fmla="*/ 17 w 324"/>
              <a:gd name="T91" fmla="*/ 34 h 129"/>
              <a:gd name="T92" fmla="*/ 43 w 324"/>
              <a:gd name="T93" fmla="*/ 33 h 129"/>
              <a:gd name="T94" fmla="*/ 48 w 324"/>
              <a:gd name="T95" fmla="*/ 17 h 129"/>
              <a:gd name="T96" fmla="*/ 81 w 324"/>
              <a:gd name="T97" fmla="*/ 20 h 129"/>
              <a:gd name="T98" fmla="*/ 99 w 324"/>
              <a:gd name="T99" fmla="*/ 7 h 129"/>
              <a:gd name="T100" fmla="*/ 118 w 324"/>
              <a:gd name="T101" fmla="*/ 1 h 129"/>
              <a:gd name="T102" fmla="*/ 145 w 324"/>
              <a:gd name="T103" fmla="*/ 0 h 129"/>
              <a:gd name="T104" fmla="*/ 177 w 324"/>
              <a:gd name="T105" fmla="*/ 15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24" h="129">
                <a:moveTo>
                  <a:pt x="177" y="15"/>
                </a:moveTo>
                <a:lnTo>
                  <a:pt x="202" y="23"/>
                </a:lnTo>
                <a:lnTo>
                  <a:pt x="222" y="20"/>
                </a:lnTo>
                <a:lnTo>
                  <a:pt x="236" y="22"/>
                </a:lnTo>
                <a:lnTo>
                  <a:pt x="254" y="11"/>
                </a:lnTo>
                <a:lnTo>
                  <a:pt x="272" y="10"/>
                </a:lnTo>
                <a:lnTo>
                  <a:pt x="290" y="20"/>
                </a:lnTo>
                <a:lnTo>
                  <a:pt x="294" y="27"/>
                </a:lnTo>
                <a:lnTo>
                  <a:pt x="294" y="37"/>
                </a:lnTo>
                <a:lnTo>
                  <a:pt x="308" y="42"/>
                </a:lnTo>
                <a:lnTo>
                  <a:pt x="316" y="48"/>
                </a:lnTo>
                <a:lnTo>
                  <a:pt x="305" y="54"/>
                </a:lnTo>
                <a:lnTo>
                  <a:pt x="314" y="78"/>
                </a:lnTo>
                <a:lnTo>
                  <a:pt x="312" y="84"/>
                </a:lnTo>
                <a:lnTo>
                  <a:pt x="324" y="101"/>
                </a:lnTo>
                <a:lnTo>
                  <a:pt x="316" y="104"/>
                </a:lnTo>
                <a:lnTo>
                  <a:pt x="310" y="99"/>
                </a:lnTo>
                <a:lnTo>
                  <a:pt x="289" y="96"/>
                </a:lnTo>
                <a:lnTo>
                  <a:pt x="282" y="100"/>
                </a:lnTo>
                <a:lnTo>
                  <a:pt x="263" y="103"/>
                </a:lnTo>
                <a:lnTo>
                  <a:pt x="254" y="103"/>
                </a:lnTo>
                <a:lnTo>
                  <a:pt x="235" y="110"/>
                </a:lnTo>
                <a:lnTo>
                  <a:pt x="221" y="110"/>
                </a:lnTo>
                <a:lnTo>
                  <a:pt x="212" y="106"/>
                </a:lnTo>
                <a:lnTo>
                  <a:pt x="193" y="112"/>
                </a:lnTo>
                <a:lnTo>
                  <a:pt x="187" y="108"/>
                </a:lnTo>
                <a:lnTo>
                  <a:pt x="188" y="120"/>
                </a:lnTo>
                <a:lnTo>
                  <a:pt x="184" y="124"/>
                </a:lnTo>
                <a:lnTo>
                  <a:pt x="180" y="129"/>
                </a:lnTo>
                <a:lnTo>
                  <a:pt x="172" y="119"/>
                </a:lnTo>
                <a:lnTo>
                  <a:pt x="178" y="112"/>
                </a:lnTo>
                <a:lnTo>
                  <a:pt x="167" y="113"/>
                </a:lnTo>
                <a:lnTo>
                  <a:pt x="153" y="109"/>
                </a:lnTo>
                <a:lnTo>
                  <a:pt x="142" y="120"/>
                </a:lnTo>
                <a:lnTo>
                  <a:pt x="116" y="123"/>
                </a:lnTo>
                <a:lnTo>
                  <a:pt x="101" y="112"/>
                </a:lnTo>
                <a:lnTo>
                  <a:pt x="82" y="111"/>
                </a:lnTo>
                <a:lnTo>
                  <a:pt x="80" y="120"/>
                </a:lnTo>
                <a:lnTo>
                  <a:pt x="68" y="122"/>
                </a:lnTo>
                <a:lnTo>
                  <a:pt x="50" y="111"/>
                </a:lnTo>
                <a:lnTo>
                  <a:pt x="31" y="111"/>
                </a:lnTo>
                <a:lnTo>
                  <a:pt x="19" y="91"/>
                </a:lnTo>
                <a:lnTo>
                  <a:pt x="6" y="79"/>
                </a:lnTo>
                <a:lnTo>
                  <a:pt x="12" y="63"/>
                </a:lnTo>
                <a:lnTo>
                  <a:pt x="0" y="53"/>
                </a:lnTo>
                <a:lnTo>
                  <a:pt x="17" y="34"/>
                </a:lnTo>
                <a:lnTo>
                  <a:pt x="43" y="33"/>
                </a:lnTo>
                <a:lnTo>
                  <a:pt x="48" y="17"/>
                </a:lnTo>
                <a:lnTo>
                  <a:pt x="81" y="20"/>
                </a:lnTo>
                <a:lnTo>
                  <a:pt x="99" y="7"/>
                </a:lnTo>
                <a:lnTo>
                  <a:pt x="118" y="1"/>
                </a:lnTo>
                <a:lnTo>
                  <a:pt x="145" y="0"/>
                </a:lnTo>
                <a:lnTo>
                  <a:pt x="177" y="15"/>
                </a:lnTo>
                <a:close/>
              </a:path>
            </a:pathLst>
          </a:custGeom>
          <a:solidFill>
            <a:srgbClr val="92D050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76" name="Freeform 199"/>
          <p:cNvSpPr>
            <a:spLocks/>
          </p:cNvSpPr>
          <p:nvPr/>
        </p:nvSpPr>
        <p:spPr bwMode="auto">
          <a:xfrm>
            <a:off x="2430138" y="3070283"/>
            <a:ext cx="202863" cy="206114"/>
          </a:xfrm>
          <a:custGeom>
            <a:avLst/>
            <a:gdLst>
              <a:gd name="T0" fmla="*/ 21 w 50"/>
              <a:gd name="T1" fmla="*/ 30 h 41"/>
              <a:gd name="T2" fmla="*/ 8 w 50"/>
              <a:gd name="T3" fmla="*/ 41 h 41"/>
              <a:gd name="T4" fmla="*/ 2 w 50"/>
              <a:gd name="T5" fmla="*/ 32 h 41"/>
              <a:gd name="T6" fmla="*/ 2 w 50"/>
              <a:gd name="T7" fmla="*/ 27 h 41"/>
              <a:gd name="T8" fmla="*/ 5 w 50"/>
              <a:gd name="T9" fmla="*/ 25 h 41"/>
              <a:gd name="T10" fmla="*/ 9 w 50"/>
              <a:gd name="T11" fmla="*/ 12 h 41"/>
              <a:gd name="T12" fmla="*/ 0 w 50"/>
              <a:gd name="T13" fmla="*/ 7 h 41"/>
              <a:gd name="T14" fmla="*/ 17 w 50"/>
              <a:gd name="T15" fmla="*/ 0 h 41"/>
              <a:gd name="T16" fmla="*/ 32 w 50"/>
              <a:gd name="T17" fmla="*/ 3 h 41"/>
              <a:gd name="T18" fmla="*/ 35 w 50"/>
              <a:gd name="T19" fmla="*/ 11 h 41"/>
              <a:gd name="T20" fmla="*/ 50 w 50"/>
              <a:gd name="T21" fmla="*/ 18 h 41"/>
              <a:gd name="T22" fmla="*/ 47 w 50"/>
              <a:gd name="T23" fmla="*/ 23 h 41"/>
              <a:gd name="T24" fmla="*/ 28 w 50"/>
              <a:gd name="T25" fmla="*/ 24 h 41"/>
              <a:gd name="T26" fmla="*/ 21 w 50"/>
              <a:gd name="T27" fmla="*/ 30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0" h="41">
                <a:moveTo>
                  <a:pt x="21" y="30"/>
                </a:moveTo>
                <a:lnTo>
                  <a:pt x="8" y="41"/>
                </a:lnTo>
                <a:lnTo>
                  <a:pt x="2" y="32"/>
                </a:lnTo>
                <a:lnTo>
                  <a:pt x="2" y="27"/>
                </a:lnTo>
                <a:lnTo>
                  <a:pt x="5" y="25"/>
                </a:lnTo>
                <a:lnTo>
                  <a:pt x="9" y="12"/>
                </a:lnTo>
                <a:lnTo>
                  <a:pt x="0" y="7"/>
                </a:lnTo>
                <a:lnTo>
                  <a:pt x="17" y="0"/>
                </a:lnTo>
                <a:lnTo>
                  <a:pt x="32" y="3"/>
                </a:lnTo>
                <a:lnTo>
                  <a:pt x="35" y="11"/>
                </a:lnTo>
                <a:lnTo>
                  <a:pt x="50" y="18"/>
                </a:lnTo>
                <a:lnTo>
                  <a:pt x="47" y="23"/>
                </a:lnTo>
                <a:lnTo>
                  <a:pt x="28" y="24"/>
                </a:lnTo>
                <a:lnTo>
                  <a:pt x="21" y="30"/>
                </a:lnTo>
                <a:close/>
              </a:path>
            </a:pathLst>
          </a:custGeom>
          <a:solidFill>
            <a:srgbClr val="92D050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77" name="Freeform 200"/>
          <p:cNvSpPr>
            <a:spLocks/>
          </p:cNvSpPr>
          <p:nvPr/>
        </p:nvSpPr>
        <p:spPr bwMode="auto">
          <a:xfrm>
            <a:off x="9388329" y="4824762"/>
            <a:ext cx="101433" cy="346876"/>
          </a:xfrm>
          <a:custGeom>
            <a:avLst/>
            <a:gdLst>
              <a:gd name="T0" fmla="*/ 25 w 25"/>
              <a:gd name="T1" fmla="*/ 19 h 69"/>
              <a:gd name="T2" fmla="*/ 22 w 25"/>
              <a:gd name="T3" fmla="*/ 52 h 69"/>
              <a:gd name="T4" fmla="*/ 19 w 25"/>
              <a:gd name="T5" fmla="*/ 69 h 69"/>
              <a:gd name="T6" fmla="*/ 5 w 25"/>
              <a:gd name="T7" fmla="*/ 51 h 69"/>
              <a:gd name="T8" fmla="*/ 0 w 25"/>
              <a:gd name="T9" fmla="*/ 36 h 69"/>
              <a:gd name="T10" fmla="*/ 5 w 25"/>
              <a:gd name="T11" fmla="*/ 16 h 69"/>
              <a:gd name="T12" fmla="*/ 15 w 25"/>
              <a:gd name="T13" fmla="*/ 0 h 69"/>
              <a:gd name="T14" fmla="*/ 25 w 25"/>
              <a:gd name="T15" fmla="*/ 6 h 69"/>
              <a:gd name="T16" fmla="*/ 25 w 25"/>
              <a:gd name="T17" fmla="*/ 19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5" h="69">
                <a:moveTo>
                  <a:pt x="25" y="19"/>
                </a:moveTo>
                <a:lnTo>
                  <a:pt x="22" y="52"/>
                </a:lnTo>
                <a:lnTo>
                  <a:pt x="19" y="69"/>
                </a:lnTo>
                <a:lnTo>
                  <a:pt x="5" y="51"/>
                </a:lnTo>
                <a:lnTo>
                  <a:pt x="0" y="36"/>
                </a:lnTo>
                <a:lnTo>
                  <a:pt x="5" y="16"/>
                </a:lnTo>
                <a:lnTo>
                  <a:pt x="15" y="0"/>
                </a:lnTo>
                <a:lnTo>
                  <a:pt x="25" y="6"/>
                </a:lnTo>
                <a:lnTo>
                  <a:pt x="25" y="19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78" name="Freeform 203"/>
          <p:cNvSpPr>
            <a:spLocks/>
          </p:cNvSpPr>
          <p:nvPr/>
        </p:nvSpPr>
        <p:spPr bwMode="auto">
          <a:xfrm>
            <a:off x="2101498" y="2029661"/>
            <a:ext cx="1168488" cy="814403"/>
          </a:xfrm>
          <a:custGeom>
            <a:avLst/>
            <a:gdLst>
              <a:gd name="T0" fmla="*/ 149 w 288"/>
              <a:gd name="T1" fmla="*/ 6 h 162"/>
              <a:gd name="T2" fmla="*/ 157 w 288"/>
              <a:gd name="T3" fmla="*/ 2 h 162"/>
              <a:gd name="T4" fmla="*/ 186 w 288"/>
              <a:gd name="T5" fmla="*/ 11 h 162"/>
              <a:gd name="T6" fmla="*/ 185 w 288"/>
              <a:gd name="T7" fmla="*/ 22 h 162"/>
              <a:gd name="T8" fmla="*/ 205 w 288"/>
              <a:gd name="T9" fmla="*/ 31 h 162"/>
              <a:gd name="T10" fmla="*/ 227 w 288"/>
              <a:gd name="T11" fmla="*/ 42 h 162"/>
              <a:gd name="T12" fmla="*/ 251 w 288"/>
              <a:gd name="T13" fmla="*/ 49 h 162"/>
              <a:gd name="T14" fmla="*/ 285 w 288"/>
              <a:gd name="T15" fmla="*/ 55 h 162"/>
              <a:gd name="T16" fmla="*/ 282 w 288"/>
              <a:gd name="T17" fmla="*/ 72 h 162"/>
              <a:gd name="T18" fmla="*/ 287 w 288"/>
              <a:gd name="T19" fmla="*/ 89 h 162"/>
              <a:gd name="T20" fmla="*/ 264 w 288"/>
              <a:gd name="T21" fmla="*/ 97 h 162"/>
              <a:gd name="T22" fmla="*/ 253 w 288"/>
              <a:gd name="T23" fmla="*/ 107 h 162"/>
              <a:gd name="T24" fmla="*/ 228 w 288"/>
              <a:gd name="T25" fmla="*/ 115 h 162"/>
              <a:gd name="T26" fmla="*/ 218 w 288"/>
              <a:gd name="T27" fmla="*/ 135 h 162"/>
              <a:gd name="T28" fmla="*/ 244 w 288"/>
              <a:gd name="T29" fmla="*/ 139 h 162"/>
              <a:gd name="T30" fmla="*/ 224 w 288"/>
              <a:gd name="T31" fmla="*/ 150 h 162"/>
              <a:gd name="T32" fmla="*/ 194 w 288"/>
              <a:gd name="T33" fmla="*/ 158 h 162"/>
              <a:gd name="T34" fmla="*/ 177 w 288"/>
              <a:gd name="T35" fmla="*/ 142 h 162"/>
              <a:gd name="T36" fmla="*/ 194 w 288"/>
              <a:gd name="T37" fmla="*/ 131 h 162"/>
              <a:gd name="T38" fmla="*/ 162 w 288"/>
              <a:gd name="T39" fmla="*/ 121 h 162"/>
              <a:gd name="T40" fmla="*/ 145 w 288"/>
              <a:gd name="T41" fmla="*/ 116 h 162"/>
              <a:gd name="T42" fmla="*/ 130 w 288"/>
              <a:gd name="T43" fmla="*/ 143 h 162"/>
              <a:gd name="T44" fmla="*/ 115 w 288"/>
              <a:gd name="T45" fmla="*/ 142 h 162"/>
              <a:gd name="T46" fmla="*/ 111 w 288"/>
              <a:gd name="T47" fmla="*/ 137 h 162"/>
              <a:gd name="T48" fmla="*/ 117 w 288"/>
              <a:gd name="T49" fmla="*/ 123 h 162"/>
              <a:gd name="T50" fmla="*/ 118 w 288"/>
              <a:gd name="T51" fmla="*/ 118 h 162"/>
              <a:gd name="T52" fmla="*/ 130 w 288"/>
              <a:gd name="T53" fmla="*/ 121 h 162"/>
              <a:gd name="T54" fmla="*/ 131 w 288"/>
              <a:gd name="T55" fmla="*/ 118 h 162"/>
              <a:gd name="T56" fmla="*/ 125 w 288"/>
              <a:gd name="T57" fmla="*/ 109 h 162"/>
              <a:gd name="T58" fmla="*/ 115 w 288"/>
              <a:gd name="T59" fmla="*/ 98 h 162"/>
              <a:gd name="T60" fmla="*/ 107 w 288"/>
              <a:gd name="T61" fmla="*/ 85 h 162"/>
              <a:gd name="T62" fmla="*/ 87 w 288"/>
              <a:gd name="T63" fmla="*/ 78 h 162"/>
              <a:gd name="T64" fmla="*/ 74 w 288"/>
              <a:gd name="T65" fmla="*/ 83 h 162"/>
              <a:gd name="T66" fmla="*/ 63 w 288"/>
              <a:gd name="T67" fmla="*/ 88 h 162"/>
              <a:gd name="T68" fmla="*/ 46 w 288"/>
              <a:gd name="T69" fmla="*/ 93 h 162"/>
              <a:gd name="T70" fmla="*/ 28 w 288"/>
              <a:gd name="T71" fmla="*/ 88 h 162"/>
              <a:gd name="T72" fmla="*/ 11 w 288"/>
              <a:gd name="T73" fmla="*/ 90 h 162"/>
              <a:gd name="T74" fmla="*/ 0 w 288"/>
              <a:gd name="T75" fmla="*/ 79 h 162"/>
              <a:gd name="T76" fmla="*/ 6 w 288"/>
              <a:gd name="T77" fmla="*/ 66 h 162"/>
              <a:gd name="T78" fmla="*/ 4 w 288"/>
              <a:gd name="T79" fmla="*/ 58 h 162"/>
              <a:gd name="T80" fmla="*/ 24 w 288"/>
              <a:gd name="T81" fmla="*/ 39 h 162"/>
              <a:gd name="T82" fmla="*/ 15 w 288"/>
              <a:gd name="T83" fmla="*/ 15 h 162"/>
              <a:gd name="T84" fmla="*/ 30 w 288"/>
              <a:gd name="T85" fmla="*/ 9 h 162"/>
              <a:gd name="T86" fmla="*/ 58 w 288"/>
              <a:gd name="T87" fmla="*/ 10 h 162"/>
              <a:gd name="T88" fmla="*/ 89 w 288"/>
              <a:gd name="T89" fmla="*/ 15 h 162"/>
              <a:gd name="T90" fmla="*/ 101 w 288"/>
              <a:gd name="T91" fmla="*/ 15 h 162"/>
              <a:gd name="T92" fmla="*/ 120 w 288"/>
              <a:gd name="T93" fmla="*/ 19 h 162"/>
              <a:gd name="T94" fmla="*/ 126 w 288"/>
              <a:gd name="T95" fmla="*/ 10 h 162"/>
              <a:gd name="T96" fmla="*/ 143 w 288"/>
              <a:gd name="T97" fmla="*/ 5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88" h="162">
                <a:moveTo>
                  <a:pt x="143" y="5"/>
                </a:moveTo>
                <a:lnTo>
                  <a:pt x="149" y="6"/>
                </a:lnTo>
                <a:lnTo>
                  <a:pt x="152" y="1"/>
                </a:lnTo>
                <a:lnTo>
                  <a:pt x="157" y="2"/>
                </a:lnTo>
                <a:lnTo>
                  <a:pt x="173" y="0"/>
                </a:lnTo>
                <a:lnTo>
                  <a:pt x="186" y="11"/>
                </a:lnTo>
                <a:lnTo>
                  <a:pt x="182" y="15"/>
                </a:lnTo>
                <a:lnTo>
                  <a:pt x="185" y="22"/>
                </a:lnTo>
                <a:lnTo>
                  <a:pt x="198" y="23"/>
                </a:lnTo>
                <a:lnTo>
                  <a:pt x="205" y="31"/>
                </a:lnTo>
                <a:lnTo>
                  <a:pt x="206" y="35"/>
                </a:lnTo>
                <a:lnTo>
                  <a:pt x="227" y="42"/>
                </a:lnTo>
                <a:lnTo>
                  <a:pt x="239" y="39"/>
                </a:lnTo>
                <a:lnTo>
                  <a:pt x="251" y="49"/>
                </a:lnTo>
                <a:lnTo>
                  <a:pt x="260" y="49"/>
                </a:lnTo>
                <a:lnTo>
                  <a:pt x="285" y="55"/>
                </a:lnTo>
                <a:lnTo>
                  <a:pt x="286" y="61"/>
                </a:lnTo>
                <a:lnTo>
                  <a:pt x="282" y="72"/>
                </a:lnTo>
                <a:lnTo>
                  <a:pt x="288" y="83"/>
                </a:lnTo>
                <a:lnTo>
                  <a:pt x="287" y="89"/>
                </a:lnTo>
                <a:lnTo>
                  <a:pt x="271" y="91"/>
                </a:lnTo>
                <a:lnTo>
                  <a:pt x="264" y="97"/>
                </a:lnTo>
                <a:lnTo>
                  <a:pt x="265" y="106"/>
                </a:lnTo>
                <a:lnTo>
                  <a:pt x="253" y="107"/>
                </a:lnTo>
                <a:lnTo>
                  <a:pt x="243" y="114"/>
                </a:lnTo>
                <a:lnTo>
                  <a:pt x="228" y="115"/>
                </a:lnTo>
                <a:lnTo>
                  <a:pt x="215" y="123"/>
                </a:lnTo>
                <a:lnTo>
                  <a:pt x="218" y="135"/>
                </a:lnTo>
                <a:lnTo>
                  <a:pt x="227" y="140"/>
                </a:lnTo>
                <a:lnTo>
                  <a:pt x="244" y="139"/>
                </a:lnTo>
                <a:lnTo>
                  <a:pt x="242" y="146"/>
                </a:lnTo>
                <a:lnTo>
                  <a:pt x="224" y="150"/>
                </a:lnTo>
                <a:lnTo>
                  <a:pt x="204" y="162"/>
                </a:lnTo>
                <a:lnTo>
                  <a:pt x="194" y="158"/>
                </a:lnTo>
                <a:lnTo>
                  <a:pt x="196" y="148"/>
                </a:lnTo>
                <a:lnTo>
                  <a:pt x="177" y="142"/>
                </a:lnTo>
                <a:lnTo>
                  <a:pt x="179" y="138"/>
                </a:lnTo>
                <a:lnTo>
                  <a:pt x="194" y="131"/>
                </a:lnTo>
                <a:lnTo>
                  <a:pt x="189" y="127"/>
                </a:lnTo>
                <a:lnTo>
                  <a:pt x="162" y="121"/>
                </a:lnTo>
                <a:lnTo>
                  <a:pt x="160" y="114"/>
                </a:lnTo>
                <a:lnTo>
                  <a:pt x="145" y="116"/>
                </a:lnTo>
                <a:lnTo>
                  <a:pt x="141" y="128"/>
                </a:lnTo>
                <a:lnTo>
                  <a:pt x="130" y="143"/>
                </a:lnTo>
                <a:lnTo>
                  <a:pt x="123" y="139"/>
                </a:lnTo>
                <a:lnTo>
                  <a:pt x="115" y="142"/>
                </a:lnTo>
                <a:lnTo>
                  <a:pt x="107" y="139"/>
                </a:lnTo>
                <a:lnTo>
                  <a:pt x="111" y="137"/>
                </a:lnTo>
                <a:lnTo>
                  <a:pt x="113" y="130"/>
                </a:lnTo>
                <a:lnTo>
                  <a:pt x="117" y="123"/>
                </a:lnTo>
                <a:lnTo>
                  <a:pt x="115" y="119"/>
                </a:lnTo>
                <a:lnTo>
                  <a:pt x="118" y="118"/>
                </a:lnTo>
                <a:lnTo>
                  <a:pt x="120" y="120"/>
                </a:lnTo>
                <a:lnTo>
                  <a:pt x="130" y="121"/>
                </a:lnTo>
                <a:lnTo>
                  <a:pt x="134" y="120"/>
                </a:lnTo>
                <a:lnTo>
                  <a:pt x="131" y="118"/>
                </a:lnTo>
                <a:lnTo>
                  <a:pt x="131" y="115"/>
                </a:lnTo>
                <a:lnTo>
                  <a:pt x="125" y="109"/>
                </a:lnTo>
                <a:lnTo>
                  <a:pt x="121" y="101"/>
                </a:lnTo>
                <a:lnTo>
                  <a:pt x="115" y="98"/>
                </a:lnTo>
                <a:lnTo>
                  <a:pt x="115" y="90"/>
                </a:lnTo>
                <a:lnTo>
                  <a:pt x="107" y="85"/>
                </a:lnTo>
                <a:lnTo>
                  <a:pt x="100" y="84"/>
                </a:lnTo>
                <a:lnTo>
                  <a:pt x="87" y="78"/>
                </a:lnTo>
                <a:lnTo>
                  <a:pt x="77" y="80"/>
                </a:lnTo>
                <a:lnTo>
                  <a:pt x="74" y="83"/>
                </a:lnTo>
                <a:lnTo>
                  <a:pt x="67" y="83"/>
                </a:lnTo>
                <a:lnTo>
                  <a:pt x="63" y="88"/>
                </a:lnTo>
                <a:lnTo>
                  <a:pt x="52" y="90"/>
                </a:lnTo>
                <a:lnTo>
                  <a:pt x="46" y="93"/>
                </a:lnTo>
                <a:lnTo>
                  <a:pt x="38" y="88"/>
                </a:lnTo>
                <a:lnTo>
                  <a:pt x="28" y="88"/>
                </a:lnTo>
                <a:lnTo>
                  <a:pt x="18" y="86"/>
                </a:lnTo>
                <a:lnTo>
                  <a:pt x="11" y="90"/>
                </a:lnTo>
                <a:lnTo>
                  <a:pt x="9" y="84"/>
                </a:lnTo>
                <a:lnTo>
                  <a:pt x="0" y="79"/>
                </a:lnTo>
                <a:lnTo>
                  <a:pt x="2" y="71"/>
                </a:lnTo>
                <a:lnTo>
                  <a:pt x="6" y="66"/>
                </a:lnTo>
                <a:lnTo>
                  <a:pt x="9" y="67"/>
                </a:lnTo>
                <a:lnTo>
                  <a:pt x="4" y="58"/>
                </a:lnTo>
                <a:lnTo>
                  <a:pt x="17" y="41"/>
                </a:lnTo>
                <a:lnTo>
                  <a:pt x="24" y="39"/>
                </a:lnTo>
                <a:lnTo>
                  <a:pt x="25" y="33"/>
                </a:lnTo>
                <a:lnTo>
                  <a:pt x="15" y="15"/>
                </a:lnTo>
                <a:lnTo>
                  <a:pt x="22" y="14"/>
                </a:lnTo>
                <a:lnTo>
                  <a:pt x="30" y="9"/>
                </a:lnTo>
                <a:lnTo>
                  <a:pt x="42" y="8"/>
                </a:lnTo>
                <a:lnTo>
                  <a:pt x="58" y="10"/>
                </a:lnTo>
                <a:lnTo>
                  <a:pt x="77" y="15"/>
                </a:lnTo>
                <a:lnTo>
                  <a:pt x="89" y="15"/>
                </a:lnTo>
                <a:lnTo>
                  <a:pt x="95" y="18"/>
                </a:lnTo>
                <a:lnTo>
                  <a:pt x="101" y="15"/>
                </a:lnTo>
                <a:lnTo>
                  <a:pt x="106" y="19"/>
                </a:lnTo>
                <a:lnTo>
                  <a:pt x="120" y="19"/>
                </a:lnTo>
                <a:lnTo>
                  <a:pt x="126" y="20"/>
                </a:lnTo>
                <a:lnTo>
                  <a:pt x="126" y="10"/>
                </a:lnTo>
                <a:lnTo>
                  <a:pt x="130" y="6"/>
                </a:lnTo>
                <a:lnTo>
                  <a:pt x="143" y="5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79" name="Freeform 211"/>
          <p:cNvSpPr>
            <a:spLocks/>
          </p:cNvSpPr>
          <p:nvPr/>
        </p:nvSpPr>
        <p:spPr bwMode="auto">
          <a:xfrm>
            <a:off x="4393851" y="2718382"/>
            <a:ext cx="1257750" cy="869702"/>
          </a:xfrm>
          <a:custGeom>
            <a:avLst/>
            <a:gdLst>
              <a:gd name="T0" fmla="*/ 218 w 310"/>
              <a:gd name="T1" fmla="*/ 169 h 173"/>
              <a:gd name="T2" fmla="*/ 215 w 310"/>
              <a:gd name="T3" fmla="*/ 156 h 173"/>
              <a:gd name="T4" fmla="*/ 190 w 310"/>
              <a:gd name="T5" fmla="*/ 147 h 173"/>
              <a:gd name="T6" fmla="*/ 170 w 310"/>
              <a:gd name="T7" fmla="*/ 137 h 173"/>
              <a:gd name="T8" fmla="*/ 157 w 310"/>
              <a:gd name="T9" fmla="*/ 127 h 173"/>
              <a:gd name="T10" fmla="*/ 134 w 310"/>
              <a:gd name="T11" fmla="*/ 113 h 173"/>
              <a:gd name="T12" fmla="*/ 120 w 310"/>
              <a:gd name="T13" fmla="*/ 92 h 173"/>
              <a:gd name="T14" fmla="*/ 114 w 310"/>
              <a:gd name="T15" fmla="*/ 88 h 173"/>
              <a:gd name="T16" fmla="*/ 96 w 310"/>
              <a:gd name="T17" fmla="*/ 89 h 173"/>
              <a:gd name="T18" fmla="*/ 88 w 310"/>
              <a:gd name="T19" fmla="*/ 85 h 173"/>
              <a:gd name="T20" fmla="*/ 82 w 310"/>
              <a:gd name="T21" fmla="*/ 69 h 173"/>
              <a:gd name="T22" fmla="*/ 57 w 310"/>
              <a:gd name="T23" fmla="*/ 58 h 173"/>
              <a:gd name="T24" fmla="*/ 46 w 310"/>
              <a:gd name="T25" fmla="*/ 70 h 173"/>
              <a:gd name="T26" fmla="*/ 33 w 310"/>
              <a:gd name="T27" fmla="*/ 77 h 173"/>
              <a:gd name="T28" fmla="*/ 39 w 310"/>
              <a:gd name="T29" fmla="*/ 87 h 173"/>
              <a:gd name="T30" fmla="*/ 20 w 310"/>
              <a:gd name="T31" fmla="*/ 87 h 173"/>
              <a:gd name="T32" fmla="*/ 0 w 310"/>
              <a:gd name="T33" fmla="*/ 12 h 173"/>
              <a:gd name="T34" fmla="*/ 39 w 310"/>
              <a:gd name="T35" fmla="*/ 0 h 173"/>
              <a:gd name="T36" fmla="*/ 43 w 310"/>
              <a:gd name="T37" fmla="*/ 2 h 173"/>
              <a:gd name="T38" fmla="*/ 73 w 310"/>
              <a:gd name="T39" fmla="*/ 16 h 173"/>
              <a:gd name="T40" fmla="*/ 88 w 310"/>
              <a:gd name="T41" fmla="*/ 24 h 173"/>
              <a:gd name="T42" fmla="*/ 109 w 310"/>
              <a:gd name="T43" fmla="*/ 42 h 173"/>
              <a:gd name="T44" fmla="*/ 128 w 310"/>
              <a:gd name="T45" fmla="*/ 39 h 173"/>
              <a:gd name="T46" fmla="*/ 156 w 310"/>
              <a:gd name="T47" fmla="*/ 38 h 173"/>
              <a:gd name="T48" fmla="*/ 180 w 310"/>
              <a:gd name="T49" fmla="*/ 53 h 173"/>
              <a:gd name="T50" fmla="*/ 185 w 310"/>
              <a:gd name="T51" fmla="*/ 73 h 173"/>
              <a:gd name="T52" fmla="*/ 193 w 310"/>
              <a:gd name="T53" fmla="*/ 74 h 173"/>
              <a:gd name="T54" fmla="*/ 201 w 310"/>
              <a:gd name="T55" fmla="*/ 90 h 173"/>
              <a:gd name="T56" fmla="*/ 223 w 310"/>
              <a:gd name="T57" fmla="*/ 91 h 173"/>
              <a:gd name="T58" fmla="*/ 230 w 310"/>
              <a:gd name="T59" fmla="*/ 101 h 173"/>
              <a:gd name="T60" fmla="*/ 236 w 310"/>
              <a:gd name="T61" fmla="*/ 101 h 173"/>
              <a:gd name="T62" fmla="*/ 240 w 310"/>
              <a:gd name="T63" fmla="*/ 86 h 173"/>
              <a:gd name="T64" fmla="*/ 257 w 310"/>
              <a:gd name="T65" fmla="*/ 72 h 173"/>
              <a:gd name="T66" fmla="*/ 266 w 310"/>
              <a:gd name="T67" fmla="*/ 68 h 173"/>
              <a:gd name="T68" fmla="*/ 271 w 310"/>
              <a:gd name="T69" fmla="*/ 70 h 173"/>
              <a:gd name="T70" fmla="*/ 261 w 310"/>
              <a:gd name="T71" fmla="*/ 83 h 173"/>
              <a:gd name="T72" fmla="*/ 276 w 310"/>
              <a:gd name="T73" fmla="*/ 91 h 173"/>
              <a:gd name="T74" fmla="*/ 286 w 310"/>
              <a:gd name="T75" fmla="*/ 86 h 173"/>
              <a:gd name="T76" fmla="*/ 310 w 310"/>
              <a:gd name="T77" fmla="*/ 96 h 173"/>
              <a:gd name="T78" fmla="*/ 292 w 310"/>
              <a:gd name="T79" fmla="*/ 111 h 173"/>
              <a:gd name="T80" fmla="*/ 279 w 310"/>
              <a:gd name="T81" fmla="*/ 109 h 173"/>
              <a:gd name="T82" fmla="*/ 272 w 310"/>
              <a:gd name="T83" fmla="*/ 110 h 173"/>
              <a:gd name="T84" fmla="*/ 268 w 310"/>
              <a:gd name="T85" fmla="*/ 104 h 173"/>
              <a:gd name="T86" fmla="*/ 269 w 310"/>
              <a:gd name="T87" fmla="*/ 94 h 173"/>
              <a:gd name="T88" fmla="*/ 248 w 310"/>
              <a:gd name="T89" fmla="*/ 99 h 173"/>
              <a:gd name="T90" fmla="*/ 246 w 310"/>
              <a:gd name="T91" fmla="*/ 113 h 173"/>
              <a:gd name="T92" fmla="*/ 241 w 310"/>
              <a:gd name="T93" fmla="*/ 124 h 173"/>
              <a:gd name="T94" fmla="*/ 227 w 310"/>
              <a:gd name="T95" fmla="*/ 123 h 173"/>
              <a:gd name="T96" fmla="*/ 225 w 310"/>
              <a:gd name="T97" fmla="*/ 132 h 173"/>
              <a:gd name="T98" fmla="*/ 238 w 310"/>
              <a:gd name="T99" fmla="*/ 137 h 173"/>
              <a:gd name="T100" fmla="*/ 246 w 310"/>
              <a:gd name="T101" fmla="*/ 152 h 173"/>
              <a:gd name="T102" fmla="*/ 241 w 310"/>
              <a:gd name="T103" fmla="*/ 173 h 173"/>
              <a:gd name="T104" fmla="*/ 228 w 310"/>
              <a:gd name="T105" fmla="*/ 169 h 173"/>
              <a:gd name="T106" fmla="*/ 218 w 310"/>
              <a:gd name="T107" fmla="*/ 169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10" h="173">
                <a:moveTo>
                  <a:pt x="218" y="169"/>
                </a:moveTo>
                <a:lnTo>
                  <a:pt x="215" y="156"/>
                </a:lnTo>
                <a:lnTo>
                  <a:pt x="190" y="147"/>
                </a:lnTo>
                <a:lnTo>
                  <a:pt x="170" y="137"/>
                </a:lnTo>
                <a:lnTo>
                  <a:pt x="157" y="127"/>
                </a:lnTo>
                <a:lnTo>
                  <a:pt x="134" y="113"/>
                </a:lnTo>
                <a:lnTo>
                  <a:pt x="120" y="92"/>
                </a:lnTo>
                <a:lnTo>
                  <a:pt x="114" y="88"/>
                </a:lnTo>
                <a:lnTo>
                  <a:pt x="96" y="89"/>
                </a:lnTo>
                <a:lnTo>
                  <a:pt x="88" y="85"/>
                </a:lnTo>
                <a:lnTo>
                  <a:pt x="82" y="69"/>
                </a:lnTo>
                <a:lnTo>
                  <a:pt x="57" y="58"/>
                </a:lnTo>
                <a:lnTo>
                  <a:pt x="46" y="70"/>
                </a:lnTo>
                <a:lnTo>
                  <a:pt x="33" y="77"/>
                </a:lnTo>
                <a:lnTo>
                  <a:pt x="39" y="87"/>
                </a:lnTo>
                <a:lnTo>
                  <a:pt x="20" y="87"/>
                </a:lnTo>
                <a:lnTo>
                  <a:pt x="0" y="12"/>
                </a:lnTo>
                <a:lnTo>
                  <a:pt x="39" y="0"/>
                </a:lnTo>
                <a:lnTo>
                  <a:pt x="43" y="2"/>
                </a:lnTo>
                <a:lnTo>
                  <a:pt x="73" y="16"/>
                </a:lnTo>
                <a:lnTo>
                  <a:pt x="88" y="24"/>
                </a:lnTo>
                <a:lnTo>
                  <a:pt x="109" y="42"/>
                </a:lnTo>
                <a:lnTo>
                  <a:pt x="128" y="39"/>
                </a:lnTo>
                <a:lnTo>
                  <a:pt x="156" y="38"/>
                </a:lnTo>
                <a:lnTo>
                  <a:pt x="180" y="53"/>
                </a:lnTo>
                <a:lnTo>
                  <a:pt x="185" y="73"/>
                </a:lnTo>
                <a:lnTo>
                  <a:pt x="193" y="74"/>
                </a:lnTo>
                <a:lnTo>
                  <a:pt x="201" y="90"/>
                </a:lnTo>
                <a:lnTo>
                  <a:pt x="223" y="91"/>
                </a:lnTo>
                <a:lnTo>
                  <a:pt x="230" y="101"/>
                </a:lnTo>
                <a:lnTo>
                  <a:pt x="236" y="101"/>
                </a:lnTo>
                <a:lnTo>
                  <a:pt x="240" y="86"/>
                </a:lnTo>
                <a:lnTo>
                  <a:pt x="257" y="72"/>
                </a:lnTo>
                <a:lnTo>
                  <a:pt x="266" y="68"/>
                </a:lnTo>
                <a:lnTo>
                  <a:pt x="271" y="70"/>
                </a:lnTo>
                <a:lnTo>
                  <a:pt x="261" y="83"/>
                </a:lnTo>
                <a:lnTo>
                  <a:pt x="276" y="91"/>
                </a:lnTo>
                <a:lnTo>
                  <a:pt x="286" y="86"/>
                </a:lnTo>
                <a:lnTo>
                  <a:pt x="310" y="96"/>
                </a:lnTo>
                <a:lnTo>
                  <a:pt x="292" y="111"/>
                </a:lnTo>
                <a:lnTo>
                  <a:pt x="279" y="109"/>
                </a:lnTo>
                <a:lnTo>
                  <a:pt x="272" y="110"/>
                </a:lnTo>
                <a:lnTo>
                  <a:pt x="268" y="104"/>
                </a:lnTo>
                <a:lnTo>
                  <a:pt x="269" y="94"/>
                </a:lnTo>
                <a:lnTo>
                  <a:pt x="248" y="99"/>
                </a:lnTo>
                <a:lnTo>
                  <a:pt x="246" y="113"/>
                </a:lnTo>
                <a:lnTo>
                  <a:pt x="241" y="124"/>
                </a:lnTo>
                <a:lnTo>
                  <a:pt x="227" y="123"/>
                </a:lnTo>
                <a:lnTo>
                  <a:pt x="225" y="132"/>
                </a:lnTo>
                <a:lnTo>
                  <a:pt x="238" y="137"/>
                </a:lnTo>
                <a:lnTo>
                  <a:pt x="246" y="152"/>
                </a:lnTo>
                <a:lnTo>
                  <a:pt x="241" y="173"/>
                </a:lnTo>
                <a:lnTo>
                  <a:pt x="228" y="169"/>
                </a:lnTo>
                <a:lnTo>
                  <a:pt x="218" y="169"/>
                </a:lnTo>
                <a:close/>
              </a:path>
            </a:pathLst>
          </a:custGeom>
          <a:solidFill>
            <a:srgbClr val="92D050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80" name="Freeform 213"/>
          <p:cNvSpPr>
            <a:spLocks/>
          </p:cNvSpPr>
          <p:nvPr/>
        </p:nvSpPr>
        <p:spPr bwMode="auto">
          <a:xfrm>
            <a:off x="8102181" y="5025851"/>
            <a:ext cx="645106" cy="1543343"/>
          </a:xfrm>
          <a:custGeom>
            <a:avLst/>
            <a:gdLst>
              <a:gd name="T0" fmla="*/ 109 w 159"/>
              <a:gd name="T1" fmla="*/ 38 h 307"/>
              <a:gd name="T2" fmla="*/ 88 w 159"/>
              <a:gd name="T3" fmla="*/ 55 h 307"/>
              <a:gd name="T4" fmla="*/ 77 w 159"/>
              <a:gd name="T5" fmla="*/ 75 h 307"/>
              <a:gd name="T6" fmla="*/ 75 w 159"/>
              <a:gd name="T7" fmla="*/ 90 h 307"/>
              <a:gd name="T8" fmla="*/ 92 w 159"/>
              <a:gd name="T9" fmla="*/ 111 h 307"/>
              <a:gd name="T10" fmla="*/ 113 w 159"/>
              <a:gd name="T11" fmla="*/ 139 h 307"/>
              <a:gd name="T12" fmla="*/ 131 w 159"/>
              <a:gd name="T13" fmla="*/ 151 h 307"/>
              <a:gd name="T14" fmla="*/ 145 w 159"/>
              <a:gd name="T15" fmla="*/ 168 h 307"/>
              <a:gd name="T16" fmla="*/ 158 w 159"/>
              <a:gd name="T17" fmla="*/ 206 h 307"/>
              <a:gd name="T18" fmla="*/ 159 w 159"/>
              <a:gd name="T19" fmla="*/ 243 h 307"/>
              <a:gd name="T20" fmla="*/ 145 w 159"/>
              <a:gd name="T21" fmla="*/ 257 h 307"/>
              <a:gd name="T22" fmla="*/ 125 w 159"/>
              <a:gd name="T23" fmla="*/ 270 h 307"/>
              <a:gd name="T24" fmla="*/ 112 w 159"/>
              <a:gd name="T25" fmla="*/ 287 h 307"/>
              <a:gd name="T26" fmla="*/ 90 w 159"/>
              <a:gd name="T27" fmla="*/ 307 h 307"/>
              <a:gd name="T28" fmla="*/ 83 w 159"/>
              <a:gd name="T29" fmla="*/ 294 h 307"/>
              <a:gd name="T30" fmla="*/ 87 w 159"/>
              <a:gd name="T31" fmla="*/ 279 h 307"/>
              <a:gd name="T32" fmla="*/ 72 w 159"/>
              <a:gd name="T33" fmla="*/ 268 h 307"/>
              <a:gd name="T34" fmla="*/ 88 w 159"/>
              <a:gd name="T35" fmla="*/ 259 h 307"/>
              <a:gd name="T36" fmla="*/ 107 w 159"/>
              <a:gd name="T37" fmla="*/ 258 h 307"/>
              <a:gd name="T38" fmla="*/ 98 w 159"/>
              <a:gd name="T39" fmla="*/ 245 h 307"/>
              <a:gd name="T40" fmla="*/ 127 w 159"/>
              <a:gd name="T41" fmla="*/ 229 h 307"/>
              <a:gd name="T42" fmla="*/ 126 w 159"/>
              <a:gd name="T43" fmla="*/ 204 h 307"/>
              <a:gd name="T44" fmla="*/ 120 w 159"/>
              <a:gd name="T45" fmla="*/ 190 h 307"/>
              <a:gd name="T46" fmla="*/ 121 w 159"/>
              <a:gd name="T47" fmla="*/ 170 h 307"/>
              <a:gd name="T48" fmla="*/ 115 w 159"/>
              <a:gd name="T49" fmla="*/ 155 h 307"/>
              <a:gd name="T50" fmla="*/ 99 w 159"/>
              <a:gd name="T51" fmla="*/ 141 h 307"/>
              <a:gd name="T52" fmla="*/ 85 w 159"/>
              <a:gd name="T53" fmla="*/ 122 h 307"/>
              <a:gd name="T54" fmla="*/ 66 w 159"/>
              <a:gd name="T55" fmla="*/ 98 h 307"/>
              <a:gd name="T56" fmla="*/ 42 w 159"/>
              <a:gd name="T57" fmla="*/ 85 h 307"/>
              <a:gd name="T58" fmla="*/ 46 w 159"/>
              <a:gd name="T59" fmla="*/ 78 h 307"/>
              <a:gd name="T60" fmla="*/ 57 w 159"/>
              <a:gd name="T61" fmla="*/ 72 h 307"/>
              <a:gd name="T62" fmla="*/ 47 w 159"/>
              <a:gd name="T63" fmla="*/ 54 h 307"/>
              <a:gd name="T64" fmla="*/ 25 w 159"/>
              <a:gd name="T65" fmla="*/ 54 h 307"/>
              <a:gd name="T66" fmla="*/ 13 w 159"/>
              <a:gd name="T67" fmla="*/ 35 h 307"/>
              <a:gd name="T68" fmla="*/ 0 w 159"/>
              <a:gd name="T69" fmla="*/ 19 h 307"/>
              <a:gd name="T70" fmla="*/ 8 w 159"/>
              <a:gd name="T71" fmla="*/ 14 h 307"/>
              <a:gd name="T72" fmla="*/ 23 w 159"/>
              <a:gd name="T73" fmla="*/ 14 h 307"/>
              <a:gd name="T74" fmla="*/ 39 w 159"/>
              <a:gd name="T75" fmla="*/ 11 h 307"/>
              <a:gd name="T76" fmla="*/ 53 w 159"/>
              <a:gd name="T77" fmla="*/ 0 h 307"/>
              <a:gd name="T78" fmla="*/ 63 w 159"/>
              <a:gd name="T79" fmla="*/ 8 h 307"/>
              <a:gd name="T80" fmla="*/ 80 w 159"/>
              <a:gd name="T81" fmla="*/ 12 h 307"/>
              <a:gd name="T82" fmla="*/ 79 w 159"/>
              <a:gd name="T83" fmla="*/ 24 h 307"/>
              <a:gd name="T84" fmla="*/ 90 w 159"/>
              <a:gd name="T85" fmla="*/ 32 h 307"/>
              <a:gd name="T86" fmla="*/ 109 w 159"/>
              <a:gd name="T87" fmla="*/ 38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59" h="307">
                <a:moveTo>
                  <a:pt x="109" y="38"/>
                </a:moveTo>
                <a:lnTo>
                  <a:pt x="88" y="55"/>
                </a:lnTo>
                <a:lnTo>
                  <a:pt x="77" y="75"/>
                </a:lnTo>
                <a:lnTo>
                  <a:pt x="75" y="90"/>
                </a:lnTo>
                <a:lnTo>
                  <a:pt x="92" y="111"/>
                </a:lnTo>
                <a:lnTo>
                  <a:pt x="113" y="139"/>
                </a:lnTo>
                <a:lnTo>
                  <a:pt x="131" y="151"/>
                </a:lnTo>
                <a:lnTo>
                  <a:pt x="145" y="168"/>
                </a:lnTo>
                <a:lnTo>
                  <a:pt x="158" y="206"/>
                </a:lnTo>
                <a:lnTo>
                  <a:pt x="159" y="243"/>
                </a:lnTo>
                <a:lnTo>
                  <a:pt x="145" y="257"/>
                </a:lnTo>
                <a:lnTo>
                  <a:pt x="125" y="270"/>
                </a:lnTo>
                <a:lnTo>
                  <a:pt x="112" y="287"/>
                </a:lnTo>
                <a:lnTo>
                  <a:pt x="90" y="307"/>
                </a:lnTo>
                <a:lnTo>
                  <a:pt x="83" y="294"/>
                </a:lnTo>
                <a:lnTo>
                  <a:pt x="87" y="279"/>
                </a:lnTo>
                <a:lnTo>
                  <a:pt x="72" y="268"/>
                </a:lnTo>
                <a:lnTo>
                  <a:pt x="88" y="259"/>
                </a:lnTo>
                <a:lnTo>
                  <a:pt x="107" y="258"/>
                </a:lnTo>
                <a:lnTo>
                  <a:pt x="98" y="245"/>
                </a:lnTo>
                <a:lnTo>
                  <a:pt x="127" y="229"/>
                </a:lnTo>
                <a:lnTo>
                  <a:pt x="126" y="204"/>
                </a:lnTo>
                <a:lnTo>
                  <a:pt x="120" y="190"/>
                </a:lnTo>
                <a:lnTo>
                  <a:pt x="121" y="170"/>
                </a:lnTo>
                <a:lnTo>
                  <a:pt x="115" y="155"/>
                </a:lnTo>
                <a:lnTo>
                  <a:pt x="99" y="141"/>
                </a:lnTo>
                <a:lnTo>
                  <a:pt x="85" y="122"/>
                </a:lnTo>
                <a:lnTo>
                  <a:pt x="66" y="98"/>
                </a:lnTo>
                <a:lnTo>
                  <a:pt x="42" y="85"/>
                </a:lnTo>
                <a:lnTo>
                  <a:pt x="46" y="78"/>
                </a:lnTo>
                <a:lnTo>
                  <a:pt x="57" y="72"/>
                </a:lnTo>
                <a:lnTo>
                  <a:pt x="47" y="54"/>
                </a:lnTo>
                <a:lnTo>
                  <a:pt x="25" y="54"/>
                </a:lnTo>
                <a:lnTo>
                  <a:pt x="13" y="35"/>
                </a:lnTo>
                <a:lnTo>
                  <a:pt x="0" y="19"/>
                </a:lnTo>
                <a:lnTo>
                  <a:pt x="8" y="14"/>
                </a:lnTo>
                <a:lnTo>
                  <a:pt x="23" y="14"/>
                </a:lnTo>
                <a:lnTo>
                  <a:pt x="39" y="11"/>
                </a:lnTo>
                <a:lnTo>
                  <a:pt x="53" y="0"/>
                </a:lnTo>
                <a:lnTo>
                  <a:pt x="63" y="8"/>
                </a:lnTo>
                <a:lnTo>
                  <a:pt x="80" y="12"/>
                </a:lnTo>
                <a:lnTo>
                  <a:pt x="79" y="24"/>
                </a:lnTo>
                <a:lnTo>
                  <a:pt x="90" y="32"/>
                </a:lnTo>
                <a:lnTo>
                  <a:pt x="109" y="38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81" name="Freeform 216"/>
          <p:cNvSpPr>
            <a:spLocks/>
          </p:cNvSpPr>
          <p:nvPr/>
        </p:nvSpPr>
        <p:spPr bwMode="auto">
          <a:xfrm>
            <a:off x="3797433" y="5483324"/>
            <a:ext cx="766821" cy="668616"/>
          </a:xfrm>
          <a:custGeom>
            <a:avLst/>
            <a:gdLst>
              <a:gd name="T0" fmla="*/ 189 w 189"/>
              <a:gd name="T1" fmla="*/ 49 h 133"/>
              <a:gd name="T2" fmla="*/ 177 w 189"/>
              <a:gd name="T3" fmla="*/ 54 h 133"/>
              <a:gd name="T4" fmla="*/ 174 w 189"/>
              <a:gd name="T5" fmla="*/ 63 h 133"/>
              <a:gd name="T6" fmla="*/ 174 w 189"/>
              <a:gd name="T7" fmla="*/ 70 h 133"/>
              <a:gd name="T8" fmla="*/ 156 w 189"/>
              <a:gd name="T9" fmla="*/ 79 h 133"/>
              <a:gd name="T10" fmla="*/ 128 w 189"/>
              <a:gd name="T11" fmla="*/ 89 h 133"/>
              <a:gd name="T12" fmla="*/ 112 w 189"/>
              <a:gd name="T13" fmla="*/ 103 h 133"/>
              <a:gd name="T14" fmla="*/ 104 w 189"/>
              <a:gd name="T15" fmla="*/ 105 h 133"/>
              <a:gd name="T16" fmla="*/ 99 w 189"/>
              <a:gd name="T17" fmla="*/ 103 h 133"/>
              <a:gd name="T18" fmla="*/ 89 w 189"/>
              <a:gd name="T19" fmla="*/ 112 h 133"/>
              <a:gd name="T20" fmla="*/ 77 w 189"/>
              <a:gd name="T21" fmla="*/ 116 h 133"/>
              <a:gd name="T22" fmla="*/ 62 w 189"/>
              <a:gd name="T23" fmla="*/ 117 h 133"/>
              <a:gd name="T24" fmla="*/ 57 w 189"/>
              <a:gd name="T25" fmla="*/ 118 h 133"/>
              <a:gd name="T26" fmla="*/ 53 w 189"/>
              <a:gd name="T27" fmla="*/ 124 h 133"/>
              <a:gd name="T28" fmla="*/ 49 w 189"/>
              <a:gd name="T29" fmla="*/ 125 h 133"/>
              <a:gd name="T30" fmla="*/ 46 w 189"/>
              <a:gd name="T31" fmla="*/ 131 h 133"/>
              <a:gd name="T32" fmla="*/ 37 w 189"/>
              <a:gd name="T33" fmla="*/ 130 h 133"/>
              <a:gd name="T34" fmla="*/ 32 w 189"/>
              <a:gd name="T35" fmla="*/ 133 h 133"/>
              <a:gd name="T36" fmla="*/ 19 w 189"/>
              <a:gd name="T37" fmla="*/ 132 h 133"/>
              <a:gd name="T38" fmla="*/ 14 w 189"/>
              <a:gd name="T39" fmla="*/ 120 h 133"/>
              <a:gd name="T40" fmla="*/ 14 w 189"/>
              <a:gd name="T41" fmla="*/ 108 h 133"/>
              <a:gd name="T42" fmla="*/ 10 w 189"/>
              <a:gd name="T43" fmla="*/ 102 h 133"/>
              <a:gd name="T44" fmla="*/ 6 w 189"/>
              <a:gd name="T45" fmla="*/ 87 h 133"/>
              <a:gd name="T46" fmla="*/ 0 w 189"/>
              <a:gd name="T47" fmla="*/ 78 h 133"/>
              <a:gd name="T48" fmla="*/ 4 w 189"/>
              <a:gd name="T49" fmla="*/ 77 h 133"/>
              <a:gd name="T50" fmla="*/ 2 w 189"/>
              <a:gd name="T51" fmla="*/ 68 h 133"/>
              <a:gd name="T52" fmla="*/ 4 w 189"/>
              <a:gd name="T53" fmla="*/ 64 h 133"/>
              <a:gd name="T54" fmla="*/ 2 w 189"/>
              <a:gd name="T55" fmla="*/ 55 h 133"/>
              <a:gd name="T56" fmla="*/ 10 w 189"/>
              <a:gd name="T57" fmla="*/ 48 h 133"/>
              <a:gd name="T58" fmla="*/ 8 w 189"/>
              <a:gd name="T59" fmla="*/ 39 h 133"/>
              <a:gd name="T60" fmla="*/ 12 w 189"/>
              <a:gd name="T61" fmla="*/ 29 h 133"/>
              <a:gd name="T62" fmla="*/ 20 w 189"/>
              <a:gd name="T63" fmla="*/ 35 h 133"/>
              <a:gd name="T64" fmla="*/ 24 w 189"/>
              <a:gd name="T65" fmla="*/ 33 h 133"/>
              <a:gd name="T66" fmla="*/ 45 w 189"/>
              <a:gd name="T67" fmla="*/ 32 h 133"/>
              <a:gd name="T68" fmla="*/ 49 w 189"/>
              <a:gd name="T69" fmla="*/ 34 h 133"/>
              <a:gd name="T70" fmla="*/ 66 w 189"/>
              <a:gd name="T71" fmla="*/ 36 h 133"/>
              <a:gd name="T72" fmla="*/ 73 w 189"/>
              <a:gd name="T73" fmla="*/ 35 h 133"/>
              <a:gd name="T74" fmla="*/ 78 w 189"/>
              <a:gd name="T75" fmla="*/ 42 h 133"/>
              <a:gd name="T76" fmla="*/ 86 w 189"/>
              <a:gd name="T77" fmla="*/ 39 h 133"/>
              <a:gd name="T78" fmla="*/ 98 w 189"/>
              <a:gd name="T79" fmla="*/ 17 h 133"/>
              <a:gd name="T80" fmla="*/ 114 w 189"/>
              <a:gd name="T81" fmla="*/ 8 h 133"/>
              <a:gd name="T82" fmla="*/ 166 w 189"/>
              <a:gd name="T83" fmla="*/ 0 h 133"/>
              <a:gd name="T84" fmla="*/ 182 w 189"/>
              <a:gd name="T85" fmla="*/ 34 h 133"/>
              <a:gd name="T86" fmla="*/ 189 w 189"/>
              <a:gd name="T87" fmla="*/ 49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89" h="133">
                <a:moveTo>
                  <a:pt x="189" y="49"/>
                </a:moveTo>
                <a:lnTo>
                  <a:pt x="177" y="54"/>
                </a:lnTo>
                <a:lnTo>
                  <a:pt x="174" y="63"/>
                </a:lnTo>
                <a:lnTo>
                  <a:pt x="174" y="70"/>
                </a:lnTo>
                <a:lnTo>
                  <a:pt x="156" y="79"/>
                </a:lnTo>
                <a:lnTo>
                  <a:pt x="128" y="89"/>
                </a:lnTo>
                <a:lnTo>
                  <a:pt x="112" y="103"/>
                </a:lnTo>
                <a:lnTo>
                  <a:pt x="104" y="105"/>
                </a:lnTo>
                <a:lnTo>
                  <a:pt x="99" y="103"/>
                </a:lnTo>
                <a:lnTo>
                  <a:pt x="89" y="112"/>
                </a:lnTo>
                <a:lnTo>
                  <a:pt x="77" y="116"/>
                </a:lnTo>
                <a:lnTo>
                  <a:pt x="62" y="117"/>
                </a:lnTo>
                <a:lnTo>
                  <a:pt x="57" y="118"/>
                </a:lnTo>
                <a:lnTo>
                  <a:pt x="53" y="124"/>
                </a:lnTo>
                <a:lnTo>
                  <a:pt x="49" y="125"/>
                </a:lnTo>
                <a:lnTo>
                  <a:pt x="46" y="131"/>
                </a:lnTo>
                <a:lnTo>
                  <a:pt x="37" y="130"/>
                </a:lnTo>
                <a:lnTo>
                  <a:pt x="32" y="133"/>
                </a:lnTo>
                <a:lnTo>
                  <a:pt x="19" y="132"/>
                </a:lnTo>
                <a:lnTo>
                  <a:pt x="14" y="120"/>
                </a:lnTo>
                <a:lnTo>
                  <a:pt x="14" y="108"/>
                </a:lnTo>
                <a:lnTo>
                  <a:pt x="10" y="102"/>
                </a:lnTo>
                <a:lnTo>
                  <a:pt x="6" y="87"/>
                </a:lnTo>
                <a:lnTo>
                  <a:pt x="0" y="78"/>
                </a:lnTo>
                <a:lnTo>
                  <a:pt x="4" y="77"/>
                </a:lnTo>
                <a:lnTo>
                  <a:pt x="2" y="68"/>
                </a:lnTo>
                <a:lnTo>
                  <a:pt x="4" y="64"/>
                </a:lnTo>
                <a:lnTo>
                  <a:pt x="2" y="55"/>
                </a:lnTo>
                <a:lnTo>
                  <a:pt x="10" y="48"/>
                </a:lnTo>
                <a:lnTo>
                  <a:pt x="8" y="39"/>
                </a:lnTo>
                <a:lnTo>
                  <a:pt x="12" y="29"/>
                </a:lnTo>
                <a:lnTo>
                  <a:pt x="20" y="35"/>
                </a:lnTo>
                <a:lnTo>
                  <a:pt x="24" y="33"/>
                </a:lnTo>
                <a:lnTo>
                  <a:pt x="45" y="32"/>
                </a:lnTo>
                <a:lnTo>
                  <a:pt x="49" y="34"/>
                </a:lnTo>
                <a:lnTo>
                  <a:pt x="66" y="36"/>
                </a:lnTo>
                <a:lnTo>
                  <a:pt x="73" y="35"/>
                </a:lnTo>
                <a:lnTo>
                  <a:pt x="78" y="42"/>
                </a:lnTo>
                <a:lnTo>
                  <a:pt x="86" y="39"/>
                </a:lnTo>
                <a:lnTo>
                  <a:pt x="98" y="17"/>
                </a:lnTo>
                <a:lnTo>
                  <a:pt x="114" y="8"/>
                </a:lnTo>
                <a:lnTo>
                  <a:pt x="166" y="0"/>
                </a:lnTo>
                <a:lnTo>
                  <a:pt x="182" y="34"/>
                </a:lnTo>
                <a:lnTo>
                  <a:pt x="189" y="49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82" name="Freeform 221"/>
          <p:cNvSpPr>
            <a:spLocks/>
          </p:cNvSpPr>
          <p:nvPr/>
        </p:nvSpPr>
        <p:spPr bwMode="auto">
          <a:xfrm>
            <a:off x="2198876" y="-272783"/>
            <a:ext cx="8905676" cy="3448634"/>
          </a:xfrm>
          <a:custGeom>
            <a:avLst/>
            <a:gdLst>
              <a:gd name="T0" fmla="*/ 751 w 2195"/>
              <a:gd name="T1" fmla="*/ 25 h 686"/>
              <a:gd name="T2" fmla="*/ 649 w 2195"/>
              <a:gd name="T3" fmla="*/ 59 h 686"/>
              <a:gd name="T4" fmla="*/ 594 w 2195"/>
              <a:gd name="T5" fmla="*/ 101 h 686"/>
              <a:gd name="T6" fmla="*/ 603 w 2195"/>
              <a:gd name="T7" fmla="*/ 140 h 686"/>
              <a:gd name="T8" fmla="*/ 600 w 2195"/>
              <a:gd name="T9" fmla="*/ 189 h 686"/>
              <a:gd name="T10" fmla="*/ 541 w 2195"/>
              <a:gd name="T11" fmla="*/ 77 h 686"/>
              <a:gd name="T12" fmla="*/ 524 w 2195"/>
              <a:gd name="T13" fmla="*/ 135 h 686"/>
              <a:gd name="T14" fmla="*/ 434 w 2195"/>
              <a:gd name="T15" fmla="*/ 142 h 686"/>
              <a:gd name="T16" fmla="*/ 337 w 2195"/>
              <a:gd name="T17" fmla="*/ 143 h 686"/>
              <a:gd name="T18" fmla="*/ 241 w 2195"/>
              <a:gd name="T19" fmla="*/ 154 h 686"/>
              <a:gd name="T20" fmla="*/ 172 w 2195"/>
              <a:gd name="T21" fmla="*/ 204 h 686"/>
              <a:gd name="T22" fmla="*/ 111 w 2195"/>
              <a:gd name="T23" fmla="*/ 223 h 686"/>
              <a:gd name="T24" fmla="*/ 177 w 2195"/>
              <a:gd name="T25" fmla="*/ 168 h 686"/>
              <a:gd name="T26" fmla="*/ 1 w 2195"/>
              <a:gd name="T27" fmla="*/ 152 h 686"/>
              <a:gd name="T28" fmla="*/ 67 w 2195"/>
              <a:gd name="T29" fmla="*/ 262 h 686"/>
              <a:gd name="T30" fmla="*/ 30 w 2195"/>
              <a:gd name="T31" fmla="*/ 356 h 686"/>
              <a:gd name="T32" fmla="*/ 95 w 2195"/>
              <a:gd name="T33" fmla="*/ 403 h 686"/>
              <a:gd name="T34" fmla="*/ 111 w 2195"/>
              <a:gd name="T35" fmla="*/ 441 h 686"/>
              <a:gd name="T36" fmla="*/ 161 w 2195"/>
              <a:gd name="T37" fmla="*/ 469 h 686"/>
              <a:gd name="T38" fmla="*/ 227 w 2195"/>
              <a:gd name="T39" fmla="*/ 507 h 686"/>
              <a:gd name="T40" fmla="*/ 240 w 2195"/>
              <a:gd name="T41" fmla="*/ 555 h 686"/>
              <a:gd name="T42" fmla="*/ 239 w 2195"/>
              <a:gd name="T43" fmla="*/ 614 h 686"/>
              <a:gd name="T44" fmla="*/ 363 w 2195"/>
              <a:gd name="T45" fmla="*/ 654 h 686"/>
              <a:gd name="T46" fmla="*/ 434 w 2195"/>
              <a:gd name="T47" fmla="*/ 672 h 686"/>
              <a:gd name="T48" fmla="*/ 412 w 2195"/>
              <a:gd name="T49" fmla="*/ 564 h 686"/>
              <a:gd name="T50" fmla="*/ 394 w 2195"/>
              <a:gd name="T51" fmla="*/ 493 h 686"/>
              <a:gd name="T52" fmla="*/ 571 w 2195"/>
              <a:gd name="T53" fmla="*/ 488 h 686"/>
              <a:gd name="T54" fmla="*/ 571 w 2195"/>
              <a:gd name="T55" fmla="*/ 425 h 686"/>
              <a:gd name="T56" fmla="*/ 758 w 2195"/>
              <a:gd name="T57" fmla="*/ 424 h 686"/>
              <a:gd name="T58" fmla="*/ 920 w 2195"/>
              <a:gd name="T59" fmla="*/ 489 h 686"/>
              <a:gd name="T60" fmla="*/ 1027 w 2195"/>
              <a:gd name="T61" fmla="*/ 519 h 686"/>
              <a:gd name="T62" fmla="*/ 1175 w 2195"/>
              <a:gd name="T63" fmla="*/ 510 h 686"/>
              <a:gd name="T64" fmla="*/ 1273 w 2195"/>
              <a:gd name="T65" fmla="*/ 503 h 686"/>
              <a:gd name="T66" fmla="*/ 1408 w 2195"/>
              <a:gd name="T67" fmla="*/ 518 h 686"/>
              <a:gd name="T68" fmla="*/ 1516 w 2195"/>
              <a:gd name="T69" fmla="*/ 493 h 686"/>
              <a:gd name="T70" fmla="*/ 1570 w 2195"/>
              <a:gd name="T71" fmla="*/ 441 h 686"/>
              <a:gd name="T72" fmla="*/ 1742 w 2195"/>
              <a:gd name="T73" fmla="*/ 550 h 686"/>
              <a:gd name="T74" fmla="*/ 1789 w 2195"/>
              <a:gd name="T75" fmla="*/ 600 h 686"/>
              <a:gd name="T76" fmla="*/ 1821 w 2195"/>
              <a:gd name="T77" fmla="*/ 642 h 686"/>
              <a:gd name="T78" fmla="*/ 1879 w 2195"/>
              <a:gd name="T79" fmla="*/ 536 h 686"/>
              <a:gd name="T80" fmla="*/ 1746 w 2195"/>
              <a:gd name="T81" fmla="*/ 425 h 686"/>
              <a:gd name="T82" fmla="*/ 1855 w 2195"/>
              <a:gd name="T83" fmla="*/ 317 h 686"/>
              <a:gd name="T84" fmla="*/ 1972 w 2195"/>
              <a:gd name="T85" fmla="*/ 275 h 686"/>
              <a:gd name="T86" fmla="*/ 1981 w 2195"/>
              <a:gd name="T87" fmla="*/ 358 h 686"/>
              <a:gd name="T88" fmla="*/ 2115 w 2195"/>
              <a:gd name="T89" fmla="*/ 441 h 686"/>
              <a:gd name="T90" fmla="*/ 2041 w 2195"/>
              <a:gd name="T91" fmla="*/ 341 h 686"/>
              <a:gd name="T92" fmla="*/ 2121 w 2195"/>
              <a:gd name="T93" fmla="*/ 301 h 686"/>
              <a:gd name="T94" fmla="*/ 2165 w 2195"/>
              <a:gd name="T95" fmla="*/ 245 h 686"/>
              <a:gd name="T96" fmla="*/ 2127 w 2195"/>
              <a:gd name="T97" fmla="*/ 194 h 686"/>
              <a:gd name="T98" fmla="*/ 2155 w 2195"/>
              <a:gd name="T99" fmla="*/ 143 h 686"/>
              <a:gd name="T100" fmla="*/ 2081 w 2195"/>
              <a:gd name="T101" fmla="*/ 119 h 686"/>
              <a:gd name="T102" fmla="*/ 1867 w 2195"/>
              <a:gd name="T103" fmla="*/ 130 h 686"/>
              <a:gd name="T104" fmla="*/ 1729 w 2195"/>
              <a:gd name="T105" fmla="*/ 128 h 686"/>
              <a:gd name="T106" fmla="*/ 1395 w 2195"/>
              <a:gd name="T107" fmla="*/ 82 h 686"/>
              <a:gd name="T108" fmla="*/ 1301 w 2195"/>
              <a:gd name="T109" fmla="*/ 103 h 686"/>
              <a:gd name="T110" fmla="*/ 1124 w 2195"/>
              <a:gd name="T111" fmla="*/ 71 h 686"/>
              <a:gd name="T112" fmla="*/ 983 w 2195"/>
              <a:gd name="T113" fmla="*/ 54 h 686"/>
              <a:gd name="T114" fmla="*/ 913 w 2195"/>
              <a:gd name="T115" fmla="*/ 18 h 6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195" h="686">
                <a:moveTo>
                  <a:pt x="856" y="0"/>
                </a:moveTo>
                <a:lnTo>
                  <a:pt x="836" y="6"/>
                </a:lnTo>
                <a:lnTo>
                  <a:pt x="832" y="12"/>
                </a:lnTo>
                <a:lnTo>
                  <a:pt x="836" y="19"/>
                </a:lnTo>
                <a:lnTo>
                  <a:pt x="813" y="18"/>
                </a:lnTo>
                <a:lnTo>
                  <a:pt x="795" y="27"/>
                </a:lnTo>
                <a:lnTo>
                  <a:pt x="781" y="23"/>
                </a:lnTo>
                <a:lnTo>
                  <a:pt x="751" y="25"/>
                </a:lnTo>
                <a:lnTo>
                  <a:pt x="752" y="29"/>
                </a:lnTo>
                <a:lnTo>
                  <a:pt x="721" y="31"/>
                </a:lnTo>
                <a:lnTo>
                  <a:pt x="705" y="39"/>
                </a:lnTo>
                <a:lnTo>
                  <a:pt x="692" y="39"/>
                </a:lnTo>
                <a:lnTo>
                  <a:pt x="687" y="49"/>
                </a:lnTo>
                <a:lnTo>
                  <a:pt x="705" y="58"/>
                </a:lnTo>
                <a:lnTo>
                  <a:pt x="680" y="60"/>
                </a:lnTo>
                <a:lnTo>
                  <a:pt x="649" y="59"/>
                </a:lnTo>
                <a:lnTo>
                  <a:pt x="630" y="62"/>
                </a:lnTo>
                <a:lnTo>
                  <a:pt x="646" y="80"/>
                </a:lnTo>
                <a:lnTo>
                  <a:pt x="669" y="93"/>
                </a:lnTo>
                <a:lnTo>
                  <a:pt x="637" y="84"/>
                </a:lnTo>
                <a:lnTo>
                  <a:pt x="611" y="85"/>
                </a:lnTo>
                <a:lnTo>
                  <a:pt x="595" y="91"/>
                </a:lnTo>
                <a:lnTo>
                  <a:pt x="610" y="104"/>
                </a:lnTo>
                <a:lnTo>
                  <a:pt x="594" y="101"/>
                </a:lnTo>
                <a:lnTo>
                  <a:pt x="587" y="84"/>
                </a:lnTo>
                <a:lnTo>
                  <a:pt x="573" y="75"/>
                </a:lnTo>
                <a:lnTo>
                  <a:pt x="567" y="76"/>
                </a:lnTo>
                <a:lnTo>
                  <a:pt x="579" y="87"/>
                </a:lnTo>
                <a:lnTo>
                  <a:pt x="564" y="99"/>
                </a:lnTo>
                <a:lnTo>
                  <a:pt x="591" y="112"/>
                </a:lnTo>
                <a:lnTo>
                  <a:pt x="593" y="130"/>
                </a:lnTo>
                <a:lnTo>
                  <a:pt x="603" y="140"/>
                </a:lnTo>
                <a:lnTo>
                  <a:pt x="618" y="141"/>
                </a:lnTo>
                <a:lnTo>
                  <a:pt x="620" y="152"/>
                </a:lnTo>
                <a:lnTo>
                  <a:pt x="635" y="162"/>
                </a:lnTo>
                <a:lnTo>
                  <a:pt x="629" y="171"/>
                </a:lnTo>
                <a:lnTo>
                  <a:pt x="631" y="180"/>
                </a:lnTo>
                <a:lnTo>
                  <a:pt x="619" y="185"/>
                </a:lnTo>
                <a:lnTo>
                  <a:pt x="617" y="191"/>
                </a:lnTo>
                <a:lnTo>
                  <a:pt x="600" y="189"/>
                </a:lnTo>
                <a:lnTo>
                  <a:pt x="611" y="163"/>
                </a:lnTo>
                <a:lnTo>
                  <a:pt x="608" y="151"/>
                </a:lnTo>
                <a:lnTo>
                  <a:pt x="586" y="141"/>
                </a:lnTo>
                <a:lnTo>
                  <a:pt x="573" y="117"/>
                </a:lnTo>
                <a:lnTo>
                  <a:pt x="560" y="105"/>
                </a:lnTo>
                <a:lnTo>
                  <a:pt x="549" y="99"/>
                </a:lnTo>
                <a:lnTo>
                  <a:pt x="551" y="86"/>
                </a:lnTo>
                <a:lnTo>
                  <a:pt x="541" y="77"/>
                </a:lnTo>
                <a:lnTo>
                  <a:pt x="505" y="72"/>
                </a:lnTo>
                <a:lnTo>
                  <a:pt x="498" y="75"/>
                </a:lnTo>
                <a:lnTo>
                  <a:pt x="500" y="91"/>
                </a:lnTo>
                <a:lnTo>
                  <a:pt x="486" y="106"/>
                </a:lnTo>
                <a:lnTo>
                  <a:pt x="490" y="111"/>
                </a:lnTo>
                <a:lnTo>
                  <a:pt x="506" y="124"/>
                </a:lnTo>
                <a:lnTo>
                  <a:pt x="507" y="133"/>
                </a:lnTo>
                <a:lnTo>
                  <a:pt x="524" y="135"/>
                </a:lnTo>
                <a:lnTo>
                  <a:pt x="526" y="138"/>
                </a:lnTo>
                <a:lnTo>
                  <a:pt x="546" y="148"/>
                </a:lnTo>
                <a:lnTo>
                  <a:pt x="543" y="157"/>
                </a:lnTo>
                <a:lnTo>
                  <a:pt x="482" y="137"/>
                </a:lnTo>
                <a:lnTo>
                  <a:pt x="460" y="131"/>
                </a:lnTo>
                <a:lnTo>
                  <a:pt x="418" y="126"/>
                </a:lnTo>
                <a:lnTo>
                  <a:pt x="414" y="132"/>
                </a:lnTo>
                <a:lnTo>
                  <a:pt x="434" y="142"/>
                </a:lnTo>
                <a:lnTo>
                  <a:pt x="425" y="153"/>
                </a:lnTo>
                <a:lnTo>
                  <a:pt x="404" y="143"/>
                </a:lnTo>
                <a:lnTo>
                  <a:pt x="388" y="150"/>
                </a:lnTo>
                <a:lnTo>
                  <a:pt x="363" y="151"/>
                </a:lnTo>
                <a:lnTo>
                  <a:pt x="357" y="157"/>
                </a:lnTo>
                <a:lnTo>
                  <a:pt x="339" y="155"/>
                </a:lnTo>
                <a:lnTo>
                  <a:pt x="347" y="144"/>
                </a:lnTo>
                <a:lnTo>
                  <a:pt x="337" y="143"/>
                </a:lnTo>
                <a:lnTo>
                  <a:pt x="297" y="159"/>
                </a:lnTo>
                <a:lnTo>
                  <a:pt x="272" y="167"/>
                </a:lnTo>
                <a:lnTo>
                  <a:pt x="274" y="178"/>
                </a:lnTo>
                <a:lnTo>
                  <a:pt x="255" y="183"/>
                </a:lnTo>
                <a:lnTo>
                  <a:pt x="241" y="176"/>
                </a:lnTo>
                <a:lnTo>
                  <a:pt x="237" y="166"/>
                </a:lnTo>
                <a:lnTo>
                  <a:pt x="253" y="164"/>
                </a:lnTo>
                <a:lnTo>
                  <a:pt x="241" y="154"/>
                </a:lnTo>
                <a:lnTo>
                  <a:pt x="202" y="148"/>
                </a:lnTo>
                <a:lnTo>
                  <a:pt x="216" y="159"/>
                </a:lnTo>
                <a:lnTo>
                  <a:pt x="214" y="170"/>
                </a:lnTo>
                <a:lnTo>
                  <a:pt x="229" y="181"/>
                </a:lnTo>
                <a:lnTo>
                  <a:pt x="226" y="193"/>
                </a:lnTo>
                <a:lnTo>
                  <a:pt x="210" y="187"/>
                </a:lnTo>
                <a:lnTo>
                  <a:pt x="197" y="186"/>
                </a:lnTo>
                <a:lnTo>
                  <a:pt x="172" y="204"/>
                </a:lnTo>
                <a:lnTo>
                  <a:pt x="186" y="217"/>
                </a:lnTo>
                <a:lnTo>
                  <a:pt x="175" y="222"/>
                </a:lnTo>
                <a:lnTo>
                  <a:pt x="138" y="210"/>
                </a:lnTo>
                <a:lnTo>
                  <a:pt x="131" y="217"/>
                </a:lnTo>
                <a:lnTo>
                  <a:pt x="142" y="225"/>
                </a:lnTo>
                <a:lnTo>
                  <a:pt x="143" y="234"/>
                </a:lnTo>
                <a:lnTo>
                  <a:pt x="130" y="229"/>
                </a:lnTo>
                <a:lnTo>
                  <a:pt x="111" y="223"/>
                </a:lnTo>
                <a:lnTo>
                  <a:pt x="104" y="205"/>
                </a:lnTo>
                <a:lnTo>
                  <a:pt x="101" y="196"/>
                </a:lnTo>
                <a:lnTo>
                  <a:pt x="74" y="183"/>
                </a:lnTo>
                <a:lnTo>
                  <a:pt x="84" y="181"/>
                </a:lnTo>
                <a:lnTo>
                  <a:pt x="149" y="194"/>
                </a:lnTo>
                <a:lnTo>
                  <a:pt x="170" y="190"/>
                </a:lnTo>
                <a:lnTo>
                  <a:pt x="182" y="180"/>
                </a:lnTo>
                <a:lnTo>
                  <a:pt x="177" y="168"/>
                </a:lnTo>
                <a:lnTo>
                  <a:pt x="163" y="160"/>
                </a:lnTo>
                <a:lnTo>
                  <a:pt x="106" y="140"/>
                </a:lnTo>
                <a:lnTo>
                  <a:pt x="68" y="135"/>
                </a:lnTo>
                <a:lnTo>
                  <a:pt x="43" y="125"/>
                </a:lnTo>
                <a:lnTo>
                  <a:pt x="31" y="131"/>
                </a:lnTo>
                <a:lnTo>
                  <a:pt x="10" y="138"/>
                </a:lnTo>
                <a:lnTo>
                  <a:pt x="0" y="140"/>
                </a:lnTo>
                <a:lnTo>
                  <a:pt x="1" y="152"/>
                </a:lnTo>
                <a:lnTo>
                  <a:pt x="25" y="164"/>
                </a:lnTo>
                <a:lnTo>
                  <a:pt x="16" y="177"/>
                </a:lnTo>
                <a:lnTo>
                  <a:pt x="38" y="198"/>
                </a:lnTo>
                <a:lnTo>
                  <a:pt x="32" y="213"/>
                </a:lnTo>
                <a:lnTo>
                  <a:pt x="48" y="228"/>
                </a:lnTo>
                <a:lnTo>
                  <a:pt x="45" y="240"/>
                </a:lnTo>
                <a:lnTo>
                  <a:pt x="70" y="253"/>
                </a:lnTo>
                <a:lnTo>
                  <a:pt x="67" y="262"/>
                </a:lnTo>
                <a:lnTo>
                  <a:pt x="56" y="273"/>
                </a:lnTo>
                <a:lnTo>
                  <a:pt x="30" y="297"/>
                </a:lnTo>
                <a:lnTo>
                  <a:pt x="47" y="306"/>
                </a:lnTo>
                <a:lnTo>
                  <a:pt x="33" y="317"/>
                </a:lnTo>
                <a:lnTo>
                  <a:pt x="36" y="321"/>
                </a:lnTo>
                <a:lnTo>
                  <a:pt x="28" y="332"/>
                </a:lnTo>
                <a:lnTo>
                  <a:pt x="35" y="350"/>
                </a:lnTo>
                <a:lnTo>
                  <a:pt x="30" y="356"/>
                </a:lnTo>
                <a:lnTo>
                  <a:pt x="38" y="361"/>
                </a:lnTo>
                <a:lnTo>
                  <a:pt x="41" y="370"/>
                </a:lnTo>
                <a:lnTo>
                  <a:pt x="48" y="382"/>
                </a:lnTo>
                <a:lnTo>
                  <a:pt x="65" y="386"/>
                </a:lnTo>
                <a:lnTo>
                  <a:pt x="68" y="392"/>
                </a:lnTo>
                <a:lnTo>
                  <a:pt x="76" y="389"/>
                </a:lnTo>
                <a:lnTo>
                  <a:pt x="92" y="394"/>
                </a:lnTo>
                <a:lnTo>
                  <a:pt x="95" y="403"/>
                </a:lnTo>
                <a:lnTo>
                  <a:pt x="93" y="408"/>
                </a:lnTo>
                <a:lnTo>
                  <a:pt x="105" y="422"/>
                </a:lnTo>
                <a:lnTo>
                  <a:pt x="112" y="425"/>
                </a:lnTo>
                <a:lnTo>
                  <a:pt x="112" y="429"/>
                </a:lnTo>
                <a:lnTo>
                  <a:pt x="123" y="432"/>
                </a:lnTo>
                <a:lnTo>
                  <a:pt x="129" y="438"/>
                </a:lnTo>
                <a:lnTo>
                  <a:pt x="123" y="442"/>
                </a:lnTo>
                <a:lnTo>
                  <a:pt x="111" y="441"/>
                </a:lnTo>
                <a:lnTo>
                  <a:pt x="108" y="443"/>
                </a:lnTo>
                <a:lnTo>
                  <a:pt x="113" y="450"/>
                </a:lnTo>
                <a:lnTo>
                  <a:pt x="119" y="463"/>
                </a:lnTo>
                <a:lnTo>
                  <a:pt x="125" y="463"/>
                </a:lnTo>
                <a:lnTo>
                  <a:pt x="128" y="459"/>
                </a:lnTo>
                <a:lnTo>
                  <a:pt x="133" y="460"/>
                </a:lnTo>
                <a:lnTo>
                  <a:pt x="149" y="458"/>
                </a:lnTo>
                <a:lnTo>
                  <a:pt x="161" y="469"/>
                </a:lnTo>
                <a:lnTo>
                  <a:pt x="158" y="474"/>
                </a:lnTo>
                <a:lnTo>
                  <a:pt x="161" y="480"/>
                </a:lnTo>
                <a:lnTo>
                  <a:pt x="174" y="481"/>
                </a:lnTo>
                <a:lnTo>
                  <a:pt x="181" y="489"/>
                </a:lnTo>
                <a:lnTo>
                  <a:pt x="182" y="493"/>
                </a:lnTo>
                <a:lnTo>
                  <a:pt x="203" y="500"/>
                </a:lnTo>
                <a:lnTo>
                  <a:pt x="215" y="497"/>
                </a:lnTo>
                <a:lnTo>
                  <a:pt x="227" y="507"/>
                </a:lnTo>
                <a:lnTo>
                  <a:pt x="236" y="507"/>
                </a:lnTo>
                <a:lnTo>
                  <a:pt x="261" y="513"/>
                </a:lnTo>
                <a:lnTo>
                  <a:pt x="262" y="519"/>
                </a:lnTo>
                <a:lnTo>
                  <a:pt x="258" y="530"/>
                </a:lnTo>
                <a:lnTo>
                  <a:pt x="264" y="541"/>
                </a:lnTo>
                <a:lnTo>
                  <a:pt x="263" y="547"/>
                </a:lnTo>
                <a:lnTo>
                  <a:pt x="248" y="549"/>
                </a:lnTo>
                <a:lnTo>
                  <a:pt x="240" y="555"/>
                </a:lnTo>
                <a:lnTo>
                  <a:pt x="241" y="564"/>
                </a:lnTo>
                <a:lnTo>
                  <a:pt x="255" y="560"/>
                </a:lnTo>
                <a:lnTo>
                  <a:pt x="257" y="565"/>
                </a:lnTo>
                <a:lnTo>
                  <a:pt x="234" y="573"/>
                </a:lnTo>
                <a:lnTo>
                  <a:pt x="245" y="581"/>
                </a:lnTo>
                <a:lnTo>
                  <a:pt x="234" y="598"/>
                </a:lnTo>
                <a:lnTo>
                  <a:pt x="223" y="602"/>
                </a:lnTo>
                <a:lnTo>
                  <a:pt x="239" y="614"/>
                </a:lnTo>
                <a:lnTo>
                  <a:pt x="259" y="621"/>
                </a:lnTo>
                <a:lnTo>
                  <a:pt x="284" y="639"/>
                </a:lnTo>
                <a:lnTo>
                  <a:pt x="285" y="636"/>
                </a:lnTo>
                <a:lnTo>
                  <a:pt x="300" y="640"/>
                </a:lnTo>
                <a:lnTo>
                  <a:pt x="325" y="643"/>
                </a:lnTo>
                <a:lnTo>
                  <a:pt x="350" y="653"/>
                </a:lnTo>
                <a:lnTo>
                  <a:pt x="353" y="657"/>
                </a:lnTo>
                <a:lnTo>
                  <a:pt x="363" y="654"/>
                </a:lnTo>
                <a:lnTo>
                  <a:pt x="379" y="658"/>
                </a:lnTo>
                <a:lnTo>
                  <a:pt x="386" y="666"/>
                </a:lnTo>
                <a:lnTo>
                  <a:pt x="398" y="671"/>
                </a:lnTo>
                <a:lnTo>
                  <a:pt x="402" y="672"/>
                </a:lnTo>
                <a:lnTo>
                  <a:pt x="416" y="684"/>
                </a:lnTo>
                <a:lnTo>
                  <a:pt x="424" y="686"/>
                </a:lnTo>
                <a:lnTo>
                  <a:pt x="426" y="680"/>
                </a:lnTo>
                <a:lnTo>
                  <a:pt x="434" y="672"/>
                </a:lnTo>
                <a:lnTo>
                  <a:pt x="411" y="648"/>
                </a:lnTo>
                <a:lnTo>
                  <a:pt x="410" y="634"/>
                </a:lnTo>
                <a:lnTo>
                  <a:pt x="391" y="615"/>
                </a:lnTo>
                <a:lnTo>
                  <a:pt x="402" y="594"/>
                </a:lnTo>
                <a:lnTo>
                  <a:pt x="417" y="590"/>
                </a:lnTo>
                <a:lnTo>
                  <a:pt x="422" y="578"/>
                </a:lnTo>
                <a:lnTo>
                  <a:pt x="413" y="575"/>
                </a:lnTo>
                <a:lnTo>
                  <a:pt x="412" y="564"/>
                </a:lnTo>
                <a:lnTo>
                  <a:pt x="398" y="551"/>
                </a:lnTo>
                <a:lnTo>
                  <a:pt x="386" y="551"/>
                </a:lnTo>
                <a:lnTo>
                  <a:pt x="369" y="537"/>
                </a:lnTo>
                <a:lnTo>
                  <a:pt x="375" y="522"/>
                </a:lnTo>
                <a:lnTo>
                  <a:pt x="369" y="518"/>
                </a:lnTo>
                <a:lnTo>
                  <a:pt x="376" y="496"/>
                </a:lnTo>
                <a:lnTo>
                  <a:pt x="396" y="507"/>
                </a:lnTo>
                <a:lnTo>
                  <a:pt x="394" y="493"/>
                </a:lnTo>
                <a:lnTo>
                  <a:pt x="420" y="471"/>
                </a:lnTo>
                <a:lnTo>
                  <a:pt x="445" y="470"/>
                </a:lnTo>
                <a:lnTo>
                  <a:pt x="484" y="484"/>
                </a:lnTo>
                <a:lnTo>
                  <a:pt x="505" y="492"/>
                </a:lnTo>
                <a:lnTo>
                  <a:pt x="519" y="484"/>
                </a:lnTo>
                <a:lnTo>
                  <a:pt x="544" y="484"/>
                </a:lnTo>
                <a:lnTo>
                  <a:pt x="568" y="494"/>
                </a:lnTo>
                <a:lnTo>
                  <a:pt x="571" y="488"/>
                </a:lnTo>
                <a:lnTo>
                  <a:pt x="593" y="489"/>
                </a:lnTo>
                <a:lnTo>
                  <a:pt x="594" y="479"/>
                </a:lnTo>
                <a:lnTo>
                  <a:pt x="563" y="466"/>
                </a:lnTo>
                <a:lnTo>
                  <a:pt x="575" y="456"/>
                </a:lnTo>
                <a:lnTo>
                  <a:pt x="570" y="450"/>
                </a:lnTo>
                <a:lnTo>
                  <a:pt x="583" y="445"/>
                </a:lnTo>
                <a:lnTo>
                  <a:pt x="567" y="431"/>
                </a:lnTo>
                <a:lnTo>
                  <a:pt x="571" y="425"/>
                </a:lnTo>
                <a:lnTo>
                  <a:pt x="626" y="417"/>
                </a:lnTo>
                <a:lnTo>
                  <a:pt x="632" y="413"/>
                </a:lnTo>
                <a:lnTo>
                  <a:pt x="667" y="406"/>
                </a:lnTo>
                <a:lnTo>
                  <a:pt x="677" y="397"/>
                </a:lnTo>
                <a:lnTo>
                  <a:pt x="707" y="401"/>
                </a:lnTo>
                <a:lnTo>
                  <a:pt x="721" y="422"/>
                </a:lnTo>
                <a:lnTo>
                  <a:pt x="735" y="417"/>
                </a:lnTo>
                <a:lnTo>
                  <a:pt x="758" y="424"/>
                </a:lnTo>
                <a:lnTo>
                  <a:pt x="762" y="435"/>
                </a:lnTo>
                <a:lnTo>
                  <a:pt x="776" y="434"/>
                </a:lnTo>
                <a:lnTo>
                  <a:pt x="806" y="415"/>
                </a:lnTo>
                <a:lnTo>
                  <a:pt x="803" y="421"/>
                </a:lnTo>
                <a:lnTo>
                  <a:pt x="831" y="436"/>
                </a:lnTo>
                <a:lnTo>
                  <a:pt x="889" y="487"/>
                </a:lnTo>
                <a:lnTo>
                  <a:pt x="893" y="477"/>
                </a:lnTo>
                <a:lnTo>
                  <a:pt x="920" y="489"/>
                </a:lnTo>
                <a:lnTo>
                  <a:pt x="940" y="483"/>
                </a:lnTo>
                <a:lnTo>
                  <a:pt x="951" y="487"/>
                </a:lnTo>
                <a:lnTo>
                  <a:pt x="964" y="499"/>
                </a:lnTo>
                <a:lnTo>
                  <a:pt x="977" y="503"/>
                </a:lnTo>
                <a:lnTo>
                  <a:pt x="988" y="511"/>
                </a:lnTo>
                <a:lnTo>
                  <a:pt x="1007" y="509"/>
                </a:lnTo>
                <a:lnTo>
                  <a:pt x="1022" y="521"/>
                </a:lnTo>
                <a:lnTo>
                  <a:pt x="1027" y="519"/>
                </a:lnTo>
                <a:lnTo>
                  <a:pt x="1042" y="516"/>
                </a:lnTo>
                <a:lnTo>
                  <a:pt x="1064" y="498"/>
                </a:lnTo>
                <a:lnTo>
                  <a:pt x="1084" y="489"/>
                </a:lnTo>
                <a:lnTo>
                  <a:pt x="1101" y="495"/>
                </a:lnTo>
                <a:lnTo>
                  <a:pt x="1117" y="495"/>
                </a:lnTo>
                <a:lnTo>
                  <a:pt x="1133" y="505"/>
                </a:lnTo>
                <a:lnTo>
                  <a:pt x="1149" y="505"/>
                </a:lnTo>
                <a:lnTo>
                  <a:pt x="1175" y="510"/>
                </a:lnTo>
                <a:lnTo>
                  <a:pt x="1183" y="497"/>
                </a:lnTo>
                <a:lnTo>
                  <a:pt x="1170" y="485"/>
                </a:lnTo>
                <a:lnTo>
                  <a:pt x="1175" y="464"/>
                </a:lnTo>
                <a:lnTo>
                  <a:pt x="1197" y="472"/>
                </a:lnTo>
                <a:lnTo>
                  <a:pt x="1213" y="474"/>
                </a:lnTo>
                <a:lnTo>
                  <a:pt x="1234" y="479"/>
                </a:lnTo>
                <a:lnTo>
                  <a:pt x="1246" y="495"/>
                </a:lnTo>
                <a:lnTo>
                  <a:pt x="1273" y="503"/>
                </a:lnTo>
                <a:lnTo>
                  <a:pt x="1286" y="499"/>
                </a:lnTo>
                <a:lnTo>
                  <a:pt x="1305" y="497"/>
                </a:lnTo>
                <a:lnTo>
                  <a:pt x="1323" y="500"/>
                </a:lnTo>
                <a:lnTo>
                  <a:pt x="1344" y="509"/>
                </a:lnTo>
                <a:lnTo>
                  <a:pt x="1360" y="520"/>
                </a:lnTo>
                <a:lnTo>
                  <a:pt x="1374" y="519"/>
                </a:lnTo>
                <a:lnTo>
                  <a:pt x="1397" y="523"/>
                </a:lnTo>
                <a:lnTo>
                  <a:pt x="1408" y="518"/>
                </a:lnTo>
                <a:lnTo>
                  <a:pt x="1427" y="514"/>
                </a:lnTo>
                <a:lnTo>
                  <a:pt x="1442" y="500"/>
                </a:lnTo>
                <a:lnTo>
                  <a:pt x="1453" y="502"/>
                </a:lnTo>
                <a:lnTo>
                  <a:pt x="1465" y="509"/>
                </a:lnTo>
                <a:lnTo>
                  <a:pt x="1483" y="507"/>
                </a:lnTo>
                <a:lnTo>
                  <a:pt x="1508" y="515"/>
                </a:lnTo>
                <a:lnTo>
                  <a:pt x="1522" y="502"/>
                </a:lnTo>
                <a:lnTo>
                  <a:pt x="1516" y="493"/>
                </a:lnTo>
                <a:lnTo>
                  <a:pt x="1516" y="472"/>
                </a:lnTo>
                <a:lnTo>
                  <a:pt x="1520" y="465"/>
                </a:lnTo>
                <a:lnTo>
                  <a:pt x="1512" y="454"/>
                </a:lnTo>
                <a:lnTo>
                  <a:pt x="1500" y="450"/>
                </a:lnTo>
                <a:lnTo>
                  <a:pt x="1505" y="440"/>
                </a:lnTo>
                <a:lnTo>
                  <a:pt x="1522" y="436"/>
                </a:lnTo>
                <a:lnTo>
                  <a:pt x="1542" y="436"/>
                </a:lnTo>
                <a:lnTo>
                  <a:pt x="1570" y="441"/>
                </a:lnTo>
                <a:lnTo>
                  <a:pt x="1589" y="449"/>
                </a:lnTo>
                <a:lnTo>
                  <a:pt x="1614" y="469"/>
                </a:lnTo>
                <a:lnTo>
                  <a:pt x="1627" y="478"/>
                </a:lnTo>
                <a:lnTo>
                  <a:pt x="1641" y="490"/>
                </a:lnTo>
                <a:lnTo>
                  <a:pt x="1661" y="510"/>
                </a:lnTo>
                <a:lnTo>
                  <a:pt x="1693" y="516"/>
                </a:lnTo>
                <a:lnTo>
                  <a:pt x="1722" y="531"/>
                </a:lnTo>
                <a:lnTo>
                  <a:pt x="1742" y="550"/>
                </a:lnTo>
                <a:lnTo>
                  <a:pt x="1766" y="550"/>
                </a:lnTo>
                <a:lnTo>
                  <a:pt x="1775" y="542"/>
                </a:lnTo>
                <a:lnTo>
                  <a:pt x="1797" y="536"/>
                </a:lnTo>
                <a:lnTo>
                  <a:pt x="1802" y="554"/>
                </a:lnTo>
                <a:lnTo>
                  <a:pt x="1801" y="562"/>
                </a:lnTo>
                <a:lnTo>
                  <a:pt x="1810" y="584"/>
                </a:lnTo>
                <a:lnTo>
                  <a:pt x="1811" y="604"/>
                </a:lnTo>
                <a:lnTo>
                  <a:pt x="1789" y="600"/>
                </a:lnTo>
                <a:lnTo>
                  <a:pt x="1779" y="607"/>
                </a:lnTo>
                <a:lnTo>
                  <a:pt x="1794" y="625"/>
                </a:lnTo>
                <a:lnTo>
                  <a:pt x="1806" y="649"/>
                </a:lnTo>
                <a:lnTo>
                  <a:pt x="1798" y="650"/>
                </a:lnTo>
                <a:lnTo>
                  <a:pt x="1804" y="660"/>
                </a:lnTo>
                <a:lnTo>
                  <a:pt x="1808" y="664"/>
                </a:lnTo>
                <a:lnTo>
                  <a:pt x="1807" y="657"/>
                </a:lnTo>
                <a:lnTo>
                  <a:pt x="1821" y="642"/>
                </a:lnTo>
                <a:lnTo>
                  <a:pt x="1837" y="652"/>
                </a:lnTo>
                <a:lnTo>
                  <a:pt x="1848" y="651"/>
                </a:lnTo>
                <a:lnTo>
                  <a:pt x="1863" y="639"/>
                </a:lnTo>
                <a:lnTo>
                  <a:pt x="1866" y="627"/>
                </a:lnTo>
                <a:lnTo>
                  <a:pt x="1873" y="604"/>
                </a:lnTo>
                <a:lnTo>
                  <a:pt x="1880" y="580"/>
                </a:lnTo>
                <a:lnTo>
                  <a:pt x="1876" y="566"/>
                </a:lnTo>
                <a:lnTo>
                  <a:pt x="1879" y="536"/>
                </a:lnTo>
                <a:lnTo>
                  <a:pt x="1862" y="504"/>
                </a:lnTo>
                <a:lnTo>
                  <a:pt x="1844" y="480"/>
                </a:lnTo>
                <a:lnTo>
                  <a:pt x="1840" y="460"/>
                </a:lnTo>
                <a:lnTo>
                  <a:pt x="1825" y="443"/>
                </a:lnTo>
                <a:lnTo>
                  <a:pt x="1784" y="421"/>
                </a:lnTo>
                <a:lnTo>
                  <a:pt x="1766" y="420"/>
                </a:lnTo>
                <a:lnTo>
                  <a:pt x="1764" y="430"/>
                </a:lnTo>
                <a:lnTo>
                  <a:pt x="1746" y="425"/>
                </a:lnTo>
                <a:lnTo>
                  <a:pt x="1728" y="413"/>
                </a:lnTo>
                <a:lnTo>
                  <a:pt x="1701" y="410"/>
                </a:lnTo>
                <a:lnTo>
                  <a:pt x="1718" y="364"/>
                </a:lnTo>
                <a:lnTo>
                  <a:pt x="1729" y="326"/>
                </a:lnTo>
                <a:lnTo>
                  <a:pt x="1772" y="320"/>
                </a:lnTo>
                <a:lnTo>
                  <a:pt x="1821" y="323"/>
                </a:lnTo>
                <a:lnTo>
                  <a:pt x="1829" y="314"/>
                </a:lnTo>
                <a:lnTo>
                  <a:pt x="1855" y="317"/>
                </a:lnTo>
                <a:lnTo>
                  <a:pt x="1869" y="331"/>
                </a:lnTo>
                <a:lnTo>
                  <a:pt x="1890" y="329"/>
                </a:lnTo>
                <a:lnTo>
                  <a:pt x="1917" y="324"/>
                </a:lnTo>
                <a:lnTo>
                  <a:pt x="1892" y="312"/>
                </a:lnTo>
                <a:lnTo>
                  <a:pt x="1892" y="280"/>
                </a:lnTo>
                <a:lnTo>
                  <a:pt x="1921" y="273"/>
                </a:lnTo>
                <a:lnTo>
                  <a:pt x="1961" y="297"/>
                </a:lnTo>
                <a:lnTo>
                  <a:pt x="1972" y="275"/>
                </a:lnTo>
                <a:lnTo>
                  <a:pt x="1961" y="260"/>
                </a:lnTo>
                <a:lnTo>
                  <a:pt x="1977" y="258"/>
                </a:lnTo>
                <a:lnTo>
                  <a:pt x="1999" y="285"/>
                </a:lnTo>
                <a:lnTo>
                  <a:pt x="1992" y="301"/>
                </a:lnTo>
                <a:lnTo>
                  <a:pt x="1989" y="320"/>
                </a:lnTo>
                <a:lnTo>
                  <a:pt x="1990" y="345"/>
                </a:lnTo>
                <a:lnTo>
                  <a:pt x="1972" y="349"/>
                </a:lnTo>
                <a:lnTo>
                  <a:pt x="1981" y="358"/>
                </a:lnTo>
                <a:lnTo>
                  <a:pt x="1980" y="370"/>
                </a:lnTo>
                <a:lnTo>
                  <a:pt x="2001" y="397"/>
                </a:lnTo>
                <a:lnTo>
                  <a:pt x="2053" y="441"/>
                </a:lnTo>
                <a:lnTo>
                  <a:pt x="2086" y="471"/>
                </a:lnTo>
                <a:lnTo>
                  <a:pt x="2105" y="485"/>
                </a:lnTo>
                <a:lnTo>
                  <a:pt x="2110" y="466"/>
                </a:lnTo>
                <a:lnTo>
                  <a:pt x="2096" y="446"/>
                </a:lnTo>
                <a:lnTo>
                  <a:pt x="2115" y="441"/>
                </a:lnTo>
                <a:lnTo>
                  <a:pt x="2098" y="418"/>
                </a:lnTo>
                <a:lnTo>
                  <a:pt x="2114" y="408"/>
                </a:lnTo>
                <a:lnTo>
                  <a:pt x="2099" y="399"/>
                </a:lnTo>
                <a:lnTo>
                  <a:pt x="2088" y="383"/>
                </a:lnTo>
                <a:lnTo>
                  <a:pt x="2102" y="382"/>
                </a:lnTo>
                <a:lnTo>
                  <a:pt x="2072" y="354"/>
                </a:lnTo>
                <a:lnTo>
                  <a:pt x="2050" y="349"/>
                </a:lnTo>
                <a:lnTo>
                  <a:pt x="2041" y="341"/>
                </a:lnTo>
                <a:lnTo>
                  <a:pt x="2037" y="322"/>
                </a:lnTo>
                <a:lnTo>
                  <a:pt x="2027" y="310"/>
                </a:lnTo>
                <a:lnTo>
                  <a:pt x="2050" y="312"/>
                </a:lnTo>
                <a:lnTo>
                  <a:pt x="2054" y="304"/>
                </a:lnTo>
                <a:lnTo>
                  <a:pt x="2069" y="311"/>
                </a:lnTo>
                <a:lnTo>
                  <a:pt x="2089" y="296"/>
                </a:lnTo>
                <a:lnTo>
                  <a:pt x="2127" y="309"/>
                </a:lnTo>
                <a:lnTo>
                  <a:pt x="2121" y="301"/>
                </a:lnTo>
                <a:lnTo>
                  <a:pt x="2127" y="289"/>
                </a:lnTo>
                <a:lnTo>
                  <a:pt x="2132" y="275"/>
                </a:lnTo>
                <a:lnTo>
                  <a:pt x="2142" y="273"/>
                </a:lnTo>
                <a:lnTo>
                  <a:pt x="2162" y="259"/>
                </a:lnTo>
                <a:lnTo>
                  <a:pt x="2195" y="263"/>
                </a:lnTo>
                <a:lnTo>
                  <a:pt x="2192" y="258"/>
                </a:lnTo>
                <a:lnTo>
                  <a:pt x="2179" y="250"/>
                </a:lnTo>
                <a:lnTo>
                  <a:pt x="2165" y="245"/>
                </a:lnTo>
                <a:lnTo>
                  <a:pt x="2135" y="230"/>
                </a:lnTo>
                <a:lnTo>
                  <a:pt x="2107" y="220"/>
                </a:lnTo>
                <a:lnTo>
                  <a:pt x="2128" y="221"/>
                </a:lnTo>
                <a:lnTo>
                  <a:pt x="2134" y="213"/>
                </a:lnTo>
                <a:lnTo>
                  <a:pt x="2128" y="210"/>
                </a:lnTo>
                <a:lnTo>
                  <a:pt x="2117" y="188"/>
                </a:lnTo>
                <a:lnTo>
                  <a:pt x="2124" y="183"/>
                </a:lnTo>
                <a:lnTo>
                  <a:pt x="2127" y="194"/>
                </a:lnTo>
                <a:lnTo>
                  <a:pt x="2139" y="195"/>
                </a:lnTo>
                <a:lnTo>
                  <a:pt x="2136" y="183"/>
                </a:lnTo>
                <a:lnTo>
                  <a:pt x="2149" y="185"/>
                </a:lnTo>
                <a:lnTo>
                  <a:pt x="2158" y="186"/>
                </a:lnTo>
                <a:lnTo>
                  <a:pt x="2154" y="172"/>
                </a:lnTo>
                <a:lnTo>
                  <a:pt x="2163" y="168"/>
                </a:lnTo>
                <a:lnTo>
                  <a:pt x="2150" y="158"/>
                </a:lnTo>
                <a:lnTo>
                  <a:pt x="2155" y="143"/>
                </a:lnTo>
                <a:lnTo>
                  <a:pt x="2167" y="151"/>
                </a:lnTo>
                <a:lnTo>
                  <a:pt x="2166" y="129"/>
                </a:lnTo>
                <a:lnTo>
                  <a:pt x="2163" y="113"/>
                </a:lnTo>
                <a:lnTo>
                  <a:pt x="2134" y="115"/>
                </a:lnTo>
                <a:lnTo>
                  <a:pt x="2116" y="123"/>
                </a:lnTo>
                <a:lnTo>
                  <a:pt x="2102" y="129"/>
                </a:lnTo>
                <a:lnTo>
                  <a:pt x="2098" y="133"/>
                </a:lnTo>
                <a:lnTo>
                  <a:pt x="2081" y="119"/>
                </a:lnTo>
                <a:lnTo>
                  <a:pt x="2021" y="141"/>
                </a:lnTo>
                <a:lnTo>
                  <a:pt x="2020" y="142"/>
                </a:lnTo>
                <a:lnTo>
                  <a:pt x="2020" y="142"/>
                </a:lnTo>
                <a:lnTo>
                  <a:pt x="1988" y="134"/>
                </a:lnTo>
                <a:lnTo>
                  <a:pt x="1936" y="126"/>
                </a:lnTo>
                <a:lnTo>
                  <a:pt x="1911" y="126"/>
                </a:lnTo>
                <a:lnTo>
                  <a:pt x="1861" y="122"/>
                </a:lnTo>
                <a:lnTo>
                  <a:pt x="1867" y="130"/>
                </a:lnTo>
                <a:lnTo>
                  <a:pt x="1896" y="141"/>
                </a:lnTo>
                <a:lnTo>
                  <a:pt x="1888" y="146"/>
                </a:lnTo>
                <a:lnTo>
                  <a:pt x="1841" y="131"/>
                </a:lnTo>
                <a:lnTo>
                  <a:pt x="1818" y="132"/>
                </a:lnTo>
                <a:lnTo>
                  <a:pt x="1788" y="129"/>
                </a:lnTo>
                <a:lnTo>
                  <a:pt x="1765" y="130"/>
                </a:lnTo>
                <a:lnTo>
                  <a:pt x="1753" y="133"/>
                </a:lnTo>
                <a:lnTo>
                  <a:pt x="1729" y="128"/>
                </a:lnTo>
                <a:lnTo>
                  <a:pt x="1711" y="115"/>
                </a:lnTo>
                <a:lnTo>
                  <a:pt x="1690" y="109"/>
                </a:lnTo>
                <a:lnTo>
                  <a:pt x="1660" y="106"/>
                </a:lnTo>
                <a:lnTo>
                  <a:pt x="1612" y="109"/>
                </a:lnTo>
                <a:lnTo>
                  <a:pt x="1559" y="96"/>
                </a:lnTo>
                <a:lnTo>
                  <a:pt x="1533" y="86"/>
                </a:lnTo>
                <a:lnTo>
                  <a:pt x="1402" y="75"/>
                </a:lnTo>
                <a:lnTo>
                  <a:pt x="1395" y="82"/>
                </a:lnTo>
                <a:lnTo>
                  <a:pt x="1426" y="98"/>
                </a:lnTo>
                <a:lnTo>
                  <a:pt x="1402" y="96"/>
                </a:lnTo>
                <a:lnTo>
                  <a:pt x="1399" y="101"/>
                </a:lnTo>
                <a:lnTo>
                  <a:pt x="1367" y="95"/>
                </a:lnTo>
                <a:lnTo>
                  <a:pt x="1351" y="100"/>
                </a:lnTo>
                <a:lnTo>
                  <a:pt x="1320" y="92"/>
                </a:lnTo>
                <a:lnTo>
                  <a:pt x="1331" y="110"/>
                </a:lnTo>
                <a:lnTo>
                  <a:pt x="1301" y="103"/>
                </a:lnTo>
                <a:lnTo>
                  <a:pt x="1268" y="90"/>
                </a:lnTo>
                <a:lnTo>
                  <a:pt x="1267" y="83"/>
                </a:lnTo>
                <a:lnTo>
                  <a:pt x="1247" y="72"/>
                </a:lnTo>
                <a:lnTo>
                  <a:pt x="1215" y="64"/>
                </a:lnTo>
                <a:lnTo>
                  <a:pt x="1195" y="64"/>
                </a:lnTo>
                <a:lnTo>
                  <a:pt x="1165" y="61"/>
                </a:lnTo>
                <a:lnTo>
                  <a:pt x="1180" y="73"/>
                </a:lnTo>
                <a:lnTo>
                  <a:pt x="1124" y="71"/>
                </a:lnTo>
                <a:lnTo>
                  <a:pt x="1111" y="63"/>
                </a:lnTo>
                <a:lnTo>
                  <a:pt x="1068" y="61"/>
                </a:lnTo>
                <a:lnTo>
                  <a:pt x="1051" y="63"/>
                </a:lnTo>
                <a:lnTo>
                  <a:pt x="1051" y="68"/>
                </a:lnTo>
                <a:lnTo>
                  <a:pt x="1032" y="57"/>
                </a:lnTo>
                <a:lnTo>
                  <a:pt x="1024" y="60"/>
                </a:lnTo>
                <a:lnTo>
                  <a:pt x="1001" y="56"/>
                </a:lnTo>
                <a:lnTo>
                  <a:pt x="983" y="54"/>
                </a:lnTo>
                <a:lnTo>
                  <a:pt x="986" y="49"/>
                </a:lnTo>
                <a:lnTo>
                  <a:pt x="1008" y="40"/>
                </a:lnTo>
                <a:lnTo>
                  <a:pt x="1016" y="36"/>
                </a:lnTo>
                <a:lnTo>
                  <a:pt x="1009" y="28"/>
                </a:lnTo>
                <a:lnTo>
                  <a:pt x="992" y="22"/>
                </a:lnTo>
                <a:lnTo>
                  <a:pt x="955" y="15"/>
                </a:lnTo>
                <a:lnTo>
                  <a:pt x="920" y="14"/>
                </a:lnTo>
                <a:lnTo>
                  <a:pt x="913" y="18"/>
                </a:lnTo>
                <a:lnTo>
                  <a:pt x="901" y="11"/>
                </a:lnTo>
                <a:lnTo>
                  <a:pt x="901" y="11"/>
                </a:lnTo>
                <a:lnTo>
                  <a:pt x="871" y="8"/>
                </a:lnTo>
                <a:lnTo>
                  <a:pt x="883" y="5"/>
                </a:lnTo>
                <a:lnTo>
                  <a:pt x="856" y="0"/>
                </a:lnTo>
                <a:close/>
              </a:path>
            </a:pathLst>
          </a:custGeom>
          <a:solidFill>
            <a:srgbClr val="889AD2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83" name="Freeform 117"/>
          <p:cNvSpPr>
            <a:spLocks/>
          </p:cNvSpPr>
          <p:nvPr/>
        </p:nvSpPr>
        <p:spPr bwMode="auto">
          <a:xfrm>
            <a:off x="-588465" y="4578638"/>
            <a:ext cx="620821" cy="648326"/>
          </a:xfrm>
          <a:custGeom>
            <a:avLst/>
            <a:gdLst>
              <a:gd name="T0" fmla="*/ 227 w 287"/>
              <a:gd name="T1" fmla="*/ 9 h 297"/>
              <a:gd name="T2" fmla="*/ 261 w 287"/>
              <a:gd name="T3" fmla="*/ 12 h 297"/>
              <a:gd name="T4" fmla="*/ 275 w 287"/>
              <a:gd name="T5" fmla="*/ 25 h 297"/>
              <a:gd name="T6" fmla="*/ 282 w 287"/>
              <a:gd name="T7" fmla="*/ 60 h 297"/>
              <a:gd name="T8" fmla="*/ 284 w 287"/>
              <a:gd name="T9" fmla="*/ 72 h 297"/>
              <a:gd name="T10" fmla="*/ 253 w 287"/>
              <a:gd name="T11" fmla="*/ 84 h 297"/>
              <a:gd name="T12" fmla="*/ 242 w 287"/>
              <a:gd name="T13" fmla="*/ 101 h 297"/>
              <a:gd name="T14" fmla="*/ 214 w 287"/>
              <a:gd name="T15" fmla="*/ 119 h 297"/>
              <a:gd name="T16" fmla="*/ 182 w 287"/>
              <a:gd name="T17" fmla="*/ 128 h 297"/>
              <a:gd name="T18" fmla="*/ 153 w 287"/>
              <a:gd name="T19" fmla="*/ 168 h 297"/>
              <a:gd name="T20" fmla="*/ 150 w 287"/>
              <a:gd name="T21" fmla="*/ 168 h 297"/>
              <a:gd name="T22" fmla="*/ 139 w 287"/>
              <a:gd name="T23" fmla="*/ 180 h 297"/>
              <a:gd name="T24" fmla="*/ 125 w 287"/>
              <a:gd name="T25" fmla="*/ 184 h 297"/>
              <a:gd name="T26" fmla="*/ 104 w 287"/>
              <a:gd name="T27" fmla="*/ 184 h 297"/>
              <a:gd name="T28" fmla="*/ 92 w 287"/>
              <a:gd name="T29" fmla="*/ 202 h 297"/>
              <a:gd name="T30" fmla="*/ 58 w 287"/>
              <a:gd name="T31" fmla="*/ 250 h 297"/>
              <a:gd name="T32" fmla="*/ 43 w 287"/>
              <a:gd name="T33" fmla="*/ 288 h 297"/>
              <a:gd name="T34" fmla="*/ 0 w 287"/>
              <a:gd name="T35" fmla="*/ 297 h 297"/>
              <a:gd name="T36" fmla="*/ 1 w 287"/>
              <a:gd name="T37" fmla="*/ 288 h 297"/>
              <a:gd name="T38" fmla="*/ 14 w 287"/>
              <a:gd name="T39" fmla="*/ 271 h 297"/>
              <a:gd name="T40" fmla="*/ 20 w 287"/>
              <a:gd name="T41" fmla="*/ 249 h 297"/>
              <a:gd name="T42" fmla="*/ 37 w 287"/>
              <a:gd name="T43" fmla="*/ 233 h 297"/>
              <a:gd name="T44" fmla="*/ 42 w 287"/>
              <a:gd name="T45" fmla="*/ 210 h 297"/>
              <a:gd name="T46" fmla="*/ 61 w 287"/>
              <a:gd name="T47" fmla="*/ 189 h 297"/>
              <a:gd name="T48" fmla="*/ 74 w 287"/>
              <a:gd name="T49" fmla="*/ 168 h 297"/>
              <a:gd name="T50" fmla="*/ 99 w 287"/>
              <a:gd name="T51" fmla="*/ 158 h 297"/>
              <a:gd name="T52" fmla="*/ 123 w 287"/>
              <a:gd name="T53" fmla="*/ 138 h 297"/>
              <a:gd name="T54" fmla="*/ 134 w 287"/>
              <a:gd name="T55" fmla="*/ 95 h 297"/>
              <a:gd name="T56" fmla="*/ 144 w 287"/>
              <a:gd name="T57" fmla="*/ 66 h 297"/>
              <a:gd name="T58" fmla="*/ 173 w 287"/>
              <a:gd name="T59" fmla="*/ 43 h 297"/>
              <a:gd name="T60" fmla="*/ 198 w 287"/>
              <a:gd name="T61" fmla="*/ 13 h 297"/>
              <a:gd name="T62" fmla="*/ 217 w 287"/>
              <a:gd name="T63" fmla="*/ 0 h 297"/>
              <a:gd name="connsiteX0" fmla="*/ 7561 w 10000"/>
              <a:gd name="connsiteY0" fmla="*/ 0 h 10000"/>
              <a:gd name="connsiteX1" fmla="*/ 7909 w 10000"/>
              <a:gd name="connsiteY1" fmla="*/ 303 h 10000"/>
              <a:gd name="connsiteX2" fmla="*/ 8502 w 10000"/>
              <a:gd name="connsiteY2" fmla="*/ 236 h 10000"/>
              <a:gd name="connsiteX3" fmla="*/ 9094 w 10000"/>
              <a:gd name="connsiteY3" fmla="*/ 404 h 10000"/>
              <a:gd name="connsiteX4" fmla="*/ 9373 w 10000"/>
              <a:gd name="connsiteY4" fmla="*/ 404 h 10000"/>
              <a:gd name="connsiteX5" fmla="*/ 9582 w 10000"/>
              <a:gd name="connsiteY5" fmla="*/ 842 h 10000"/>
              <a:gd name="connsiteX6" fmla="*/ 9617 w 10000"/>
              <a:gd name="connsiteY6" fmla="*/ 1279 h 10000"/>
              <a:gd name="connsiteX7" fmla="*/ 9826 w 10000"/>
              <a:gd name="connsiteY7" fmla="*/ 2020 h 10000"/>
              <a:gd name="connsiteX8" fmla="*/ 10000 w 10000"/>
              <a:gd name="connsiteY8" fmla="*/ 2155 h 10000"/>
              <a:gd name="connsiteX9" fmla="*/ 9895 w 10000"/>
              <a:gd name="connsiteY9" fmla="*/ 2424 h 10000"/>
              <a:gd name="connsiteX10" fmla="*/ 9094 w 10000"/>
              <a:gd name="connsiteY10" fmla="*/ 2559 h 10000"/>
              <a:gd name="connsiteX11" fmla="*/ 8815 w 10000"/>
              <a:gd name="connsiteY11" fmla="*/ 2828 h 10000"/>
              <a:gd name="connsiteX12" fmla="*/ 8432 w 10000"/>
              <a:gd name="connsiteY12" fmla="*/ 2862 h 10000"/>
              <a:gd name="connsiteX13" fmla="*/ 8432 w 10000"/>
              <a:gd name="connsiteY13" fmla="*/ 3401 h 10000"/>
              <a:gd name="connsiteX14" fmla="*/ 7700 w 10000"/>
              <a:gd name="connsiteY14" fmla="*/ 3670 h 10000"/>
              <a:gd name="connsiteX15" fmla="*/ 7456 w 10000"/>
              <a:gd name="connsiteY15" fmla="*/ 4007 h 10000"/>
              <a:gd name="connsiteX16" fmla="*/ 6969 w 10000"/>
              <a:gd name="connsiteY16" fmla="*/ 4209 h 10000"/>
              <a:gd name="connsiteX17" fmla="*/ 6341 w 10000"/>
              <a:gd name="connsiteY17" fmla="*/ 4310 h 10000"/>
              <a:gd name="connsiteX18" fmla="*/ 5331 w 10000"/>
              <a:gd name="connsiteY18" fmla="*/ 4815 h 10000"/>
              <a:gd name="connsiteX19" fmla="*/ 5331 w 10000"/>
              <a:gd name="connsiteY19" fmla="*/ 5657 h 10000"/>
              <a:gd name="connsiteX20" fmla="*/ 5226 w 10000"/>
              <a:gd name="connsiteY20" fmla="*/ 5657 h 10000"/>
              <a:gd name="connsiteX21" fmla="*/ 5226 w 10000"/>
              <a:gd name="connsiteY21" fmla="*/ 5657 h 10000"/>
              <a:gd name="connsiteX22" fmla="*/ 5226 w 10000"/>
              <a:gd name="connsiteY22" fmla="*/ 6027 h 10000"/>
              <a:gd name="connsiteX23" fmla="*/ 4843 w 10000"/>
              <a:gd name="connsiteY23" fmla="*/ 6061 h 10000"/>
              <a:gd name="connsiteX24" fmla="*/ 4634 w 10000"/>
              <a:gd name="connsiteY24" fmla="*/ 6195 h 10000"/>
              <a:gd name="connsiteX25" fmla="*/ 4355 w 10000"/>
              <a:gd name="connsiteY25" fmla="*/ 6195 h 10000"/>
              <a:gd name="connsiteX26" fmla="*/ 4146 w 10000"/>
              <a:gd name="connsiteY26" fmla="*/ 6128 h 10000"/>
              <a:gd name="connsiteX27" fmla="*/ 3624 w 10000"/>
              <a:gd name="connsiteY27" fmla="*/ 6195 h 10000"/>
              <a:gd name="connsiteX28" fmla="*/ 3415 w 10000"/>
              <a:gd name="connsiteY28" fmla="*/ 6734 h 10000"/>
              <a:gd name="connsiteX29" fmla="*/ 3206 w 10000"/>
              <a:gd name="connsiteY29" fmla="*/ 6801 h 10000"/>
              <a:gd name="connsiteX30" fmla="*/ 2892 w 10000"/>
              <a:gd name="connsiteY30" fmla="*/ 7677 h 10000"/>
              <a:gd name="connsiteX31" fmla="*/ 2021 w 10000"/>
              <a:gd name="connsiteY31" fmla="*/ 8418 h 10000"/>
              <a:gd name="connsiteX32" fmla="*/ 1777 w 10000"/>
              <a:gd name="connsiteY32" fmla="*/ 9394 h 10000"/>
              <a:gd name="connsiteX33" fmla="*/ 1498 w 10000"/>
              <a:gd name="connsiteY33" fmla="*/ 9697 h 10000"/>
              <a:gd name="connsiteX34" fmla="*/ 1429 w 10000"/>
              <a:gd name="connsiteY34" fmla="*/ 9966 h 10000"/>
              <a:gd name="connsiteX35" fmla="*/ 0 w 10000"/>
              <a:gd name="connsiteY35" fmla="*/ 10000 h 10000"/>
              <a:gd name="connsiteX36" fmla="*/ 0 w 10000"/>
              <a:gd name="connsiteY36" fmla="*/ 10000 h 10000"/>
              <a:gd name="connsiteX37" fmla="*/ 35 w 10000"/>
              <a:gd name="connsiteY37" fmla="*/ 9697 h 10000"/>
              <a:gd name="connsiteX38" fmla="*/ 279 w 10000"/>
              <a:gd name="connsiteY38" fmla="*/ 9495 h 10000"/>
              <a:gd name="connsiteX39" fmla="*/ 488 w 10000"/>
              <a:gd name="connsiteY39" fmla="*/ 9125 h 10000"/>
              <a:gd name="connsiteX40" fmla="*/ 453 w 10000"/>
              <a:gd name="connsiteY40" fmla="*/ 8889 h 10000"/>
              <a:gd name="connsiteX41" fmla="*/ 697 w 10000"/>
              <a:gd name="connsiteY41" fmla="*/ 8384 h 10000"/>
              <a:gd name="connsiteX42" fmla="*/ 1045 w 10000"/>
              <a:gd name="connsiteY42" fmla="*/ 7946 h 10000"/>
              <a:gd name="connsiteX43" fmla="*/ 1289 w 10000"/>
              <a:gd name="connsiteY43" fmla="*/ 7845 h 10000"/>
              <a:gd name="connsiteX44" fmla="*/ 1463 w 10000"/>
              <a:gd name="connsiteY44" fmla="*/ 7441 h 10000"/>
              <a:gd name="connsiteX45" fmla="*/ 1463 w 10000"/>
              <a:gd name="connsiteY45" fmla="*/ 7071 h 10000"/>
              <a:gd name="connsiteX46" fmla="*/ 1707 w 10000"/>
              <a:gd name="connsiteY46" fmla="*/ 6633 h 10000"/>
              <a:gd name="connsiteX47" fmla="*/ 2125 w 10000"/>
              <a:gd name="connsiteY47" fmla="*/ 6364 h 10000"/>
              <a:gd name="connsiteX48" fmla="*/ 2544 w 10000"/>
              <a:gd name="connsiteY48" fmla="*/ 5657 h 10000"/>
              <a:gd name="connsiteX49" fmla="*/ 2578 w 10000"/>
              <a:gd name="connsiteY49" fmla="*/ 5657 h 10000"/>
              <a:gd name="connsiteX50" fmla="*/ 2892 w 10000"/>
              <a:gd name="connsiteY50" fmla="*/ 5387 h 10000"/>
              <a:gd name="connsiteX51" fmla="*/ 3449 w 10000"/>
              <a:gd name="connsiteY51" fmla="*/ 5320 h 10000"/>
              <a:gd name="connsiteX52" fmla="*/ 3972 w 10000"/>
              <a:gd name="connsiteY52" fmla="*/ 4848 h 10000"/>
              <a:gd name="connsiteX53" fmla="*/ 4286 w 10000"/>
              <a:gd name="connsiteY53" fmla="*/ 4646 h 10000"/>
              <a:gd name="connsiteX54" fmla="*/ 4808 w 10000"/>
              <a:gd name="connsiteY54" fmla="*/ 4074 h 10000"/>
              <a:gd name="connsiteX55" fmla="*/ 4669 w 10000"/>
              <a:gd name="connsiteY55" fmla="*/ 3199 h 10000"/>
              <a:gd name="connsiteX56" fmla="*/ 4913 w 10000"/>
              <a:gd name="connsiteY56" fmla="*/ 2593 h 10000"/>
              <a:gd name="connsiteX57" fmla="*/ 5017 w 10000"/>
              <a:gd name="connsiteY57" fmla="*/ 2222 h 10000"/>
              <a:gd name="connsiteX58" fmla="*/ 5436 w 10000"/>
              <a:gd name="connsiteY58" fmla="*/ 1751 h 10000"/>
              <a:gd name="connsiteX59" fmla="*/ 6028 w 10000"/>
              <a:gd name="connsiteY59" fmla="*/ 1448 h 10000"/>
              <a:gd name="connsiteX60" fmla="*/ 6481 w 10000"/>
              <a:gd name="connsiteY60" fmla="*/ 1145 h 10000"/>
              <a:gd name="connsiteX61" fmla="*/ 6899 w 10000"/>
              <a:gd name="connsiteY61" fmla="*/ 438 h 10000"/>
              <a:gd name="connsiteX62" fmla="*/ 7561 w 10000"/>
              <a:gd name="connsiteY62" fmla="*/ 0 h 10000"/>
              <a:gd name="connsiteX0" fmla="*/ 6899 w 10000"/>
              <a:gd name="connsiteY0" fmla="*/ 202 h 9764"/>
              <a:gd name="connsiteX1" fmla="*/ 7909 w 10000"/>
              <a:gd name="connsiteY1" fmla="*/ 67 h 9764"/>
              <a:gd name="connsiteX2" fmla="*/ 8502 w 10000"/>
              <a:gd name="connsiteY2" fmla="*/ 0 h 9764"/>
              <a:gd name="connsiteX3" fmla="*/ 9094 w 10000"/>
              <a:gd name="connsiteY3" fmla="*/ 168 h 9764"/>
              <a:gd name="connsiteX4" fmla="*/ 9373 w 10000"/>
              <a:gd name="connsiteY4" fmla="*/ 168 h 9764"/>
              <a:gd name="connsiteX5" fmla="*/ 9582 w 10000"/>
              <a:gd name="connsiteY5" fmla="*/ 606 h 9764"/>
              <a:gd name="connsiteX6" fmla="*/ 9617 w 10000"/>
              <a:gd name="connsiteY6" fmla="*/ 1043 h 9764"/>
              <a:gd name="connsiteX7" fmla="*/ 9826 w 10000"/>
              <a:gd name="connsiteY7" fmla="*/ 1784 h 9764"/>
              <a:gd name="connsiteX8" fmla="*/ 10000 w 10000"/>
              <a:gd name="connsiteY8" fmla="*/ 1919 h 9764"/>
              <a:gd name="connsiteX9" fmla="*/ 9895 w 10000"/>
              <a:gd name="connsiteY9" fmla="*/ 2188 h 9764"/>
              <a:gd name="connsiteX10" fmla="*/ 9094 w 10000"/>
              <a:gd name="connsiteY10" fmla="*/ 2323 h 9764"/>
              <a:gd name="connsiteX11" fmla="*/ 8815 w 10000"/>
              <a:gd name="connsiteY11" fmla="*/ 2592 h 9764"/>
              <a:gd name="connsiteX12" fmla="*/ 8432 w 10000"/>
              <a:gd name="connsiteY12" fmla="*/ 2626 h 9764"/>
              <a:gd name="connsiteX13" fmla="*/ 8432 w 10000"/>
              <a:gd name="connsiteY13" fmla="*/ 3165 h 9764"/>
              <a:gd name="connsiteX14" fmla="*/ 7700 w 10000"/>
              <a:gd name="connsiteY14" fmla="*/ 3434 h 9764"/>
              <a:gd name="connsiteX15" fmla="*/ 7456 w 10000"/>
              <a:gd name="connsiteY15" fmla="*/ 3771 h 9764"/>
              <a:gd name="connsiteX16" fmla="*/ 6969 w 10000"/>
              <a:gd name="connsiteY16" fmla="*/ 3973 h 9764"/>
              <a:gd name="connsiteX17" fmla="*/ 6341 w 10000"/>
              <a:gd name="connsiteY17" fmla="*/ 4074 h 9764"/>
              <a:gd name="connsiteX18" fmla="*/ 5331 w 10000"/>
              <a:gd name="connsiteY18" fmla="*/ 4579 h 9764"/>
              <a:gd name="connsiteX19" fmla="*/ 5331 w 10000"/>
              <a:gd name="connsiteY19" fmla="*/ 5421 h 9764"/>
              <a:gd name="connsiteX20" fmla="*/ 5226 w 10000"/>
              <a:gd name="connsiteY20" fmla="*/ 5421 h 9764"/>
              <a:gd name="connsiteX21" fmla="*/ 5226 w 10000"/>
              <a:gd name="connsiteY21" fmla="*/ 5421 h 9764"/>
              <a:gd name="connsiteX22" fmla="*/ 5226 w 10000"/>
              <a:gd name="connsiteY22" fmla="*/ 5791 h 9764"/>
              <a:gd name="connsiteX23" fmla="*/ 4843 w 10000"/>
              <a:gd name="connsiteY23" fmla="*/ 5825 h 9764"/>
              <a:gd name="connsiteX24" fmla="*/ 4634 w 10000"/>
              <a:gd name="connsiteY24" fmla="*/ 5959 h 9764"/>
              <a:gd name="connsiteX25" fmla="*/ 4355 w 10000"/>
              <a:gd name="connsiteY25" fmla="*/ 5959 h 9764"/>
              <a:gd name="connsiteX26" fmla="*/ 4146 w 10000"/>
              <a:gd name="connsiteY26" fmla="*/ 5892 h 9764"/>
              <a:gd name="connsiteX27" fmla="*/ 3624 w 10000"/>
              <a:gd name="connsiteY27" fmla="*/ 5959 h 9764"/>
              <a:gd name="connsiteX28" fmla="*/ 3415 w 10000"/>
              <a:gd name="connsiteY28" fmla="*/ 6498 h 9764"/>
              <a:gd name="connsiteX29" fmla="*/ 3206 w 10000"/>
              <a:gd name="connsiteY29" fmla="*/ 6565 h 9764"/>
              <a:gd name="connsiteX30" fmla="*/ 2892 w 10000"/>
              <a:gd name="connsiteY30" fmla="*/ 7441 h 9764"/>
              <a:gd name="connsiteX31" fmla="*/ 2021 w 10000"/>
              <a:gd name="connsiteY31" fmla="*/ 8182 h 9764"/>
              <a:gd name="connsiteX32" fmla="*/ 1777 w 10000"/>
              <a:gd name="connsiteY32" fmla="*/ 9158 h 9764"/>
              <a:gd name="connsiteX33" fmla="*/ 1498 w 10000"/>
              <a:gd name="connsiteY33" fmla="*/ 9461 h 9764"/>
              <a:gd name="connsiteX34" fmla="*/ 1429 w 10000"/>
              <a:gd name="connsiteY34" fmla="*/ 9730 h 9764"/>
              <a:gd name="connsiteX35" fmla="*/ 0 w 10000"/>
              <a:gd name="connsiteY35" fmla="*/ 9764 h 9764"/>
              <a:gd name="connsiteX36" fmla="*/ 0 w 10000"/>
              <a:gd name="connsiteY36" fmla="*/ 9764 h 9764"/>
              <a:gd name="connsiteX37" fmla="*/ 35 w 10000"/>
              <a:gd name="connsiteY37" fmla="*/ 9461 h 9764"/>
              <a:gd name="connsiteX38" fmla="*/ 279 w 10000"/>
              <a:gd name="connsiteY38" fmla="*/ 9259 h 9764"/>
              <a:gd name="connsiteX39" fmla="*/ 488 w 10000"/>
              <a:gd name="connsiteY39" fmla="*/ 8889 h 9764"/>
              <a:gd name="connsiteX40" fmla="*/ 453 w 10000"/>
              <a:gd name="connsiteY40" fmla="*/ 8653 h 9764"/>
              <a:gd name="connsiteX41" fmla="*/ 697 w 10000"/>
              <a:gd name="connsiteY41" fmla="*/ 8148 h 9764"/>
              <a:gd name="connsiteX42" fmla="*/ 1045 w 10000"/>
              <a:gd name="connsiteY42" fmla="*/ 7710 h 9764"/>
              <a:gd name="connsiteX43" fmla="*/ 1289 w 10000"/>
              <a:gd name="connsiteY43" fmla="*/ 7609 h 9764"/>
              <a:gd name="connsiteX44" fmla="*/ 1463 w 10000"/>
              <a:gd name="connsiteY44" fmla="*/ 7205 h 9764"/>
              <a:gd name="connsiteX45" fmla="*/ 1463 w 10000"/>
              <a:gd name="connsiteY45" fmla="*/ 6835 h 9764"/>
              <a:gd name="connsiteX46" fmla="*/ 1707 w 10000"/>
              <a:gd name="connsiteY46" fmla="*/ 6397 h 9764"/>
              <a:gd name="connsiteX47" fmla="*/ 2125 w 10000"/>
              <a:gd name="connsiteY47" fmla="*/ 6128 h 9764"/>
              <a:gd name="connsiteX48" fmla="*/ 2544 w 10000"/>
              <a:gd name="connsiteY48" fmla="*/ 5421 h 9764"/>
              <a:gd name="connsiteX49" fmla="*/ 2578 w 10000"/>
              <a:gd name="connsiteY49" fmla="*/ 5421 h 9764"/>
              <a:gd name="connsiteX50" fmla="*/ 2892 w 10000"/>
              <a:gd name="connsiteY50" fmla="*/ 5151 h 9764"/>
              <a:gd name="connsiteX51" fmla="*/ 3449 w 10000"/>
              <a:gd name="connsiteY51" fmla="*/ 5084 h 9764"/>
              <a:gd name="connsiteX52" fmla="*/ 3972 w 10000"/>
              <a:gd name="connsiteY52" fmla="*/ 4612 h 9764"/>
              <a:gd name="connsiteX53" fmla="*/ 4286 w 10000"/>
              <a:gd name="connsiteY53" fmla="*/ 4410 h 9764"/>
              <a:gd name="connsiteX54" fmla="*/ 4808 w 10000"/>
              <a:gd name="connsiteY54" fmla="*/ 3838 h 9764"/>
              <a:gd name="connsiteX55" fmla="*/ 4669 w 10000"/>
              <a:gd name="connsiteY55" fmla="*/ 2963 h 9764"/>
              <a:gd name="connsiteX56" fmla="*/ 4913 w 10000"/>
              <a:gd name="connsiteY56" fmla="*/ 2357 h 9764"/>
              <a:gd name="connsiteX57" fmla="*/ 5017 w 10000"/>
              <a:gd name="connsiteY57" fmla="*/ 1986 h 9764"/>
              <a:gd name="connsiteX58" fmla="*/ 5436 w 10000"/>
              <a:gd name="connsiteY58" fmla="*/ 1515 h 9764"/>
              <a:gd name="connsiteX59" fmla="*/ 6028 w 10000"/>
              <a:gd name="connsiteY59" fmla="*/ 1212 h 9764"/>
              <a:gd name="connsiteX60" fmla="*/ 6481 w 10000"/>
              <a:gd name="connsiteY60" fmla="*/ 909 h 9764"/>
              <a:gd name="connsiteX61" fmla="*/ 6899 w 10000"/>
              <a:gd name="connsiteY61" fmla="*/ 202 h 9764"/>
              <a:gd name="connsiteX0" fmla="*/ 6899 w 10000"/>
              <a:gd name="connsiteY0" fmla="*/ 207 h 10000"/>
              <a:gd name="connsiteX1" fmla="*/ 8502 w 10000"/>
              <a:gd name="connsiteY1" fmla="*/ 0 h 10000"/>
              <a:gd name="connsiteX2" fmla="*/ 9094 w 10000"/>
              <a:gd name="connsiteY2" fmla="*/ 172 h 10000"/>
              <a:gd name="connsiteX3" fmla="*/ 9373 w 10000"/>
              <a:gd name="connsiteY3" fmla="*/ 172 h 10000"/>
              <a:gd name="connsiteX4" fmla="*/ 9582 w 10000"/>
              <a:gd name="connsiteY4" fmla="*/ 621 h 10000"/>
              <a:gd name="connsiteX5" fmla="*/ 9617 w 10000"/>
              <a:gd name="connsiteY5" fmla="*/ 1068 h 10000"/>
              <a:gd name="connsiteX6" fmla="*/ 9826 w 10000"/>
              <a:gd name="connsiteY6" fmla="*/ 1827 h 10000"/>
              <a:gd name="connsiteX7" fmla="*/ 10000 w 10000"/>
              <a:gd name="connsiteY7" fmla="*/ 1965 h 10000"/>
              <a:gd name="connsiteX8" fmla="*/ 9895 w 10000"/>
              <a:gd name="connsiteY8" fmla="*/ 2241 h 10000"/>
              <a:gd name="connsiteX9" fmla="*/ 9094 w 10000"/>
              <a:gd name="connsiteY9" fmla="*/ 2379 h 10000"/>
              <a:gd name="connsiteX10" fmla="*/ 8815 w 10000"/>
              <a:gd name="connsiteY10" fmla="*/ 2655 h 10000"/>
              <a:gd name="connsiteX11" fmla="*/ 8432 w 10000"/>
              <a:gd name="connsiteY11" fmla="*/ 2689 h 10000"/>
              <a:gd name="connsiteX12" fmla="*/ 8432 w 10000"/>
              <a:gd name="connsiteY12" fmla="*/ 3241 h 10000"/>
              <a:gd name="connsiteX13" fmla="*/ 7700 w 10000"/>
              <a:gd name="connsiteY13" fmla="*/ 3517 h 10000"/>
              <a:gd name="connsiteX14" fmla="*/ 7456 w 10000"/>
              <a:gd name="connsiteY14" fmla="*/ 3862 h 10000"/>
              <a:gd name="connsiteX15" fmla="*/ 6969 w 10000"/>
              <a:gd name="connsiteY15" fmla="*/ 4069 h 10000"/>
              <a:gd name="connsiteX16" fmla="*/ 6341 w 10000"/>
              <a:gd name="connsiteY16" fmla="*/ 4172 h 10000"/>
              <a:gd name="connsiteX17" fmla="*/ 5331 w 10000"/>
              <a:gd name="connsiteY17" fmla="*/ 4690 h 10000"/>
              <a:gd name="connsiteX18" fmla="*/ 5331 w 10000"/>
              <a:gd name="connsiteY18" fmla="*/ 5552 h 10000"/>
              <a:gd name="connsiteX19" fmla="*/ 5226 w 10000"/>
              <a:gd name="connsiteY19" fmla="*/ 5552 h 10000"/>
              <a:gd name="connsiteX20" fmla="*/ 5226 w 10000"/>
              <a:gd name="connsiteY20" fmla="*/ 5552 h 10000"/>
              <a:gd name="connsiteX21" fmla="*/ 5226 w 10000"/>
              <a:gd name="connsiteY21" fmla="*/ 5931 h 10000"/>
              <a:gd name="connsiteX22" fmla="*/ 4843 w 10000"/>
              <a:gd name="connsiteY22" fmla="*/ 5966 h 10000"/>
              <a:gd name="connsiteX23" fmla="*/ 4634 w 10000"/>
              <a:gd name="connsiteY23" fmla="*/ 6103 h 10000"/>
              <a:gd name="connsiteX24" fmla="*/ 4355 w 10000"/>
              <a:gd name="connsiteY24" fmla="*/ 6103 h 10000"/>
              <a:gd name="connsiteX25" fmla="*/ 4146 w 10000"/>
              <a:gd name="connsiteY25" fmla="*/ 6034 h 10000"/>
              <a:gd name="connsiteX26" fmla="*/ 3624 w 10000"/>
              <a:gd name="connsiteY26" fmla="*/ 6103 h 10000"/>
              <a:gd name="connsiteX27" fmla="*/ 3415 w 10000"/>
              <a:gd name="connsiteY27" fmla="*/ 6655 h 10000"/>
              <a:gd name="connsiteX28" fmla="*/ 3206 w 10000"/>
              <a:gd name="connsiteY28" fmla="*/ 6724 h 10000"/>
              <a:gd name="connsiteX29" fmla="*/ 2892 w 10000"/>
              <a:gd name="connsiteY29" fmla="*/ 7621 h 10000"/>
              <a:gd name="connsiteX30" fmla="*/ 2021 w 10000"/>
              <a:gd name="connsiteY30" fmla="*/ 8380 h 10000"/>
              <a:gd name="connsiteX31" fmla="*/ 1777 w 10000"/>
              <a:gd name="connsiteY31" fmla="*/ 9379 h 10000"/>
              <a:gd name="connsiteX32" fmla="*/ 1498 w 10000"/>
              <a:gd name="connsiteY32" fmla="*/ 9690 h 10000"/>
              <a:gd name="connsiteX33" fmla="*/ 1429 w 10000"/>
              <a:gd name="connsiteY33" fmla="*/ 9965 h 10000"/>
              <a:gd name="connsiteX34" fmla="*/ 0 w 10000"/>
              <a:gd name="connsiteY34" fmla="*/ 10000 h 10000"/>
              <a:gd name="connsiteX35" fmla="*/ 0 w 10000"/>
              <a:gd name="connsiteY35" fmla="*/ 10000 h 10000"/>
              <a:gd name="connsiteX36" fmla="*/ 35 w 10000"/>
              <a:gd name="connsiteY36" fmla="*/ 9690 h 10000"/>
              <a:gd name="connsiteX37" fmla="*/ 279 w 10000"/>
              <a:gd name="connsiteY37" fmla="*/ 9483 h 10000"/>
              <a:gd name="connsiteX38" fmla="*/ 488 w 10000"/>
              <a:gd name="connsiteY38" fmla="*/ 9104 h 10000"/>
              <a:gd name="connsiteX39" fmla="*/ 453 w 10000"/>
              <a:gd name="connsiteY39" fmla="*/ 8862 h 10000"/>
              <a:gd name="connsiteX40" fmla="*/ 697 w 10000"/>
              <a:gd name="connsiteY40" fmla="*/ 8345 h 10000"/>
              <a:gd name="connsiteX41" fmla="*/ 1045 w 10000"/>
              <a:gd name="connsiteY41" fmla="*/ 7896 h 10000"/>
              <a:gd name="connsiteX42" fmla="*/ 1289 w 10000"/>
              <a:gd name="connsiteY42" fmla="*/ 7793 h 10000"/>
              <a:gd name="connsiteX43" fmla="*/ 1463 w 10000"/>
              <a:gd name="connsiteY43" fmla="*/ 7379 h 10000"/>
              <a:gd name="connsiteX44" fmla="*/ 1463 w 10000"/>
              <a:gd name="connsiteY44" fmla="*/ 7000 h 10000"/>
              <a:gd name="connsiteX45" fmla="*/ 1707 w 10000"/>
              <a:gd name="connsiteY45" fmla="*/ 6552 h 10000"/>
              <a:gd name="connsiteX46" fmla="*/ 2125 w 10000"/>
              <a:gd name="connsiteY46" fmla="*/ 6276 h 10000"/>
              <a:gd name="connsiteX47" fmla="*/ 2544 w 10000"/>
              <a:gd name="connsiteY47" fmla="*/ 5552 h 10000"/>
              <a:gd name="connsiteX48" fmla="*/ 2578 w 10000"/>
              <a:gd name="connsiteY48" fmla="*/ 5552 h 10000"/>
              <a:gd name="connsiteX49" fmla="*/ 2892 w 10000"/>
              <a:gd name="connsiteY49" fmla="*/ 5276 h 10000"/>
              <a:gd name="connsiteX50" fmla="*/ 3449 w 10000"/>
              <a:gd name="connsiteY50" fmla="*/ 5207 h 10000"/>
              <a:gd name="connsiteX51" fmla="*/ 3972 w 10000"/>
              <a:gd name="connsiteY51" fmla="*/ 4723 h 10000"/>
              <a:gd name="connsiteX52" fmla="*/ 4286 w 10000"/>
              <a:gd name="connsiteY52" fmla="*/ 4517 h 10000"/>
              <a:gd name="connsiteX53" fmla="*/ 4808 w 10000"/>
              <a:gd name="connsiteY53" fmla="*/ 3931 h 10000"/>
              <a:gd name="connsiteX54" fmla="*/ 4669 w 10000"/>
              <a:gd name="connsiteY54" fmla="*/ 3035 h 10000"/>
              <a:gd name="connsiteX55" fmla="*/ 4913 w 10000"/>
              <a:gd name="connsiteY55" fmla="*/ 2414 h 10000"/>
              <a:gd name="connsiteX56" fmla="*/ 5017 w 10000"/>
              <a:gd name="connsiteY56" fmla="*/ 2034 h 10000"/>
              <a:gd name="connsiteX57" fmla="*/ 5436 w 10000"/>
              <a:gd name="connsiteY57" fmla="*/ 1552 h 10000"/>
              <a:gd name="connsiteX58" fmla="*/ 6028 w 10000"/>
              <a:gd name="connsiteY58" fmla="*/ 1241 h 10000"/>
              <a:gd name="connsiteX59" fmla="*/ 6481 w 10000"/>
              <a:gd name="connsiteY59" fmla="*/ 931 h 10000"/>
              <a:gd name="connsiteX60" fmla="*/ 6899 w 10000"/>
              <a:gd name="connsiteY60" fmla="*/ 207 h 10000"/>
              <a:gd name="connsiteX0" fmla="*/ 6481 w 10000"/>
              <a:gd name="connsiteY0" fmla="*/ 931 h 10000"/>
              <a:gd name="connsiteX1" fmla="*/ 8502 w 10000"/>
              <a:gd name="connsiteY1" fmla="*/ 0 h 10000"/>
              <a:gd name="connsiteX2" fmla="*/ 9094 w 10000"/>
              <a:gd name="connsiteY2" fmla="*/ 172 h 10000"/>
              <a:gd name="connsiteX3" fmla="*/ 9373 w 10000"/>
              <a:gd name="connsiteY3" fmla="*/ 172 h 10000"/>
              <a:gd name="connsiteX4" fmla="*/ 9582 w 10000"/>
              <a:gd name="connsiteY4" fmla="*/ 621 h 10000"/>
              <a:gd name="connsiteX5" fmla="*/ 9617 w 10000"/>
              <a:gd name="connsiteY5" fmla="*/ 1068 h 10000"/>
              <a:gd name="connsiteX6" fmla="*/ 9826 w 10000"/>
              <a:gd name="connsiteY6" fmla="*/ 1827 h 10000"/>
              <a:gd name="connsiteX7" fmla="*/ 10000 w 10000"/>
              <a:gd name="connsiteY7" fmla="*/ 1965 h 10000"/>
              <a:gd name="connsiteX8" fmla="*/ 9895 w 10000"/>
              <a:gd name="connsiteY8" fmla="*/ 2241 h 10000"/>
              <a:gd name="connsiteX9" fmla="*/ 9094 w 10000"/>
              <a:gd name="connsiteY9" fmla="*/ 2379 h 10000"/>
              <a:gd name="connsiteX10" fmla="*/ 8815 w 10000"/>
              <a:gd name="connsiteY10" fmla="*/ 2655 h 10000"/>
              <a:gd name="connsiteX11" fmla="*/ 8432 w 10000"/>
              <a:gd name="connsiteY11" fmla="*/ 2689 h 10000"/>
              <a:gd name="connsiteX12" fmla="*/ 8432 w 10000"/>
              <a:gd name="connsiteY12" fmla="*/ 3241 h 10000"/>
              <a:gd name="connsiteX13" fmla="*/ 7700 w 10000"/>
              <a:gd name="connsiteY13" fmla="*/ 3517 h 10000"/>
              <a:gd name="connsiteX14" fmla="*/ 7456 w 10000"/>
              <a:gd name="connsiteY14" fmla="*/ 3862 h 10000"/>
              <a:gd name="connsiteX15" fmla="*/ 6969 w 10000"/>
              <a:gd name="connsiteY15" fmla="*/ 4069 h 10000"/>
              <a:gd name="connsiteX16" fmla="*/ 6341 w 10000"/>
              <a:gd name="connsiteY16" fmla="*/ 4172 h 10000"/>
              <a:gd name="connsiteX17" fmla="*/ 5331 w 10000"/>
              <a:gd name="connsiteY17" fmla="*/ 4690 h 10000"/>
              <a:gd name="connsiteX18" fmla="*/ 5331 w 10000"/>
              <a:gd name="connsiteY18" fmla="*/ 5552 h 10000"/>
              <a:gd name="connsiteX19" fmla="*/ 5226 w 10000"/>
              <a:gd name="connsiteY19" fmla="*/ 5552 h 10000"/>
              <a:gd name="connsiteX20" fmla="*/ 5226 w 10000"/>
              <a:gd name="connsiteY20" fmla="*/ 5552 h 10000"/>
              <a:gd name="connsiteX21" fmla="*/ 5226 w 10000"/>
              <a:gd name="connsiteY21" fmla="*/ 5931 h 10000"/>
              <a:gd name="connsiteX22" fmla="*/ 4843 w 10000"/>
              <a:gd name="connsiteY22" fmla="*/ 5966 h 10000"/>
              <a:gd name="connsiteX23" fmla="*/ 4634 w 10000"/>
              <a:gd name="connsiteY23" fmla="*/ 6103 h 10000"/>
              <a:gd name="connsiteX24" fmla="*/ 4355 w 10000"/>
              <a:gd name="connsiteY24" fmla="*/ 6103 h 10000"/>
              <a:gd name="connsiteX25" fmla="*/ 4146 w 10000"/>
              <a:gd name="connsiteY25" fmla="*/ 6034 h 10000"/>
              <a:gd name="connsiteX26" fmla="*/ 3624 w 10000"/>
              <a:gd name="connsiteY26" fmla="*/ 6103 h 10000"/>
              <a:gd name="connsiteX27" fmla="*/ 3415 w 10000"/>
              <a:gd name="connsiteY27" fmla="*/ 6655 h 10000"/>
              <a:gd name="connsiteX28" fmla="*/ 3206 w 10000"/>
              <a:gd name="connsiteY28" fmla="*/ 6724 h 10000"/>
              <a:gd name="connsiteX29" fmla="*/ 2892 w 10000"/>
              <a:gd name="connsiteY29" fmla="*/ 7621 h 10000"/>
              <a:gd name="connsiteX30" fmla="*/ 2021 w 10000"/>
              <a:gd name="connsiteY30" fmla="*/ 8380 h 10000"/>
              <a:gd name="connsiteX31" fmla="*/ 1777 w 10000"/>
              <a:gd name="connsiteY31" fmla="*/ 9379 h 10000"/>
              <a:gd name="connsiteX32" fmla="*/ 1498 w 10000"/>
              <a:gd name="connsiteY32" fmla="*/ 9690 h 10000"/>
              <a:gd name="connsiteX33" fmla="*/ 1429 w 10000"/>
              <a:gd name="connsiteY33" fmla="*/ 9965 h 10000"/>
              <a:gd name="connsiteX34" fmla="*/ 0 w 10000"/>
              <a:gd name="connsiteY34" fmla="*/ 10000 h 10000"/>
              <a:gd name="connsiteX35" fmla="*/ 0 w 10000"/>
              <a:gd name="connsiteY35" fmla="*/ 10000 h 10000"/>
              <a:gd name="connsiteX36" fmla="*/ 35 w 10000"/>
              <a:gd name="connsiteY36" fmla="*/ 9690 h 10000"/>
              <a:gd name="connsiteX37" fmla="*/ 279 w 10000"/>
              <a:gd name="connsiteY37" fmla="*/ 9483 h 10000"/>
              <a:gd name="connsiteX38" fmla="*/ 488 w 10000"/>
              <a:gd name="connsiteY38" fmla="*/ 9104 h 10000"/>
              <a:gd name="connsiteX39" fmla="*/ 453 w 10000"/>
              <a:gd name="connsiteY39" fmla="*/ 8862 h 10000"/>
              <a:gd name="connsiteX40" fmla="*/ 697 w 10000"/>
              <a:gd name="connsiteY40" fmla="*/ 8345 h 10000"/>
              <a:gd name="connsiteX41" fmla="*/ 1045 w 10000"/>
              <a:gd name="connsiteY41" fmla="*/ 7896 h 10000"/>
              <a:gd name="connsiteX42" fmla="*/ 1289 w 10000"/>
              <a:gd name="connsiteY42" fmla="*/ 7793 h 10000"/>
              <a:gd name="connsiteX43" fmla="*/ 1463 w 10000"/>
              <a:gd name="connsiteY43" fmla="*/ 7379 h 10000"/>
              <a:gd name="connsiteX44" fmla="*/ 1463 w 10000"/>
              <a:gd name="connsiteY44" fmla="*/ 7000 h 10000"/>
              <a:gd name="connsiteX45" fmla="*/ 1707 w 10000"/>
              <a:gd name="connsiteY45" fmla="*/ 6552 h 10000"/>
              <a:gd name="connsiteX46" fmla="*/ 2125 w 10000"/>
              <a:gd name="connsiteY46" fmla="*/ 6276 h 10000"/>
              <a:gd name="connsiteX47" fmla="*/ 2544 w 10000"/>
              <a:gd name="connsiteY47" fmla="*/ 5552 h 10000"/>
              <a:gd name="connsiteX48" fmla="*/ 2578 w 10000"/>
              <a:gd name="connsiteY48" fmla="*/ 5552 h 10000"/>
              <a:gd name="connsiteX49" fmla="*/ 2892 w 10000"/>
              <a:gd name="connsiteY49" fmla="*/ 5276 h 10000"/>
              <a:gd name="connsiteX50" fmla="*/ 3449 w 10000"/>
              <a:gd name="connsiteY50" fmla="*/ 5207 h 10000"/>
              <a:gd name="connsiteX51" fmla="*/ 3972 w 10000"/>
              <a:gd name="connsiteY51" fmla="*/ 4723 h 10000"/>
              <a:gd name="connsiteX52" fmla="*/ 4286 w 10000"/>
              <a:gd name="connsiteY52" fmla="*/ 4517 h 10000"/>
              <a:gd name="connsiteX53" fmla="*/ 4808 w 10000"/>
              <a:gd name="connsiteY53" fmla="*/ 3931 h 10000"/>
              <a:gd name="connsiteX54" fmla="*/ 4669 w 10000"/>
              <a:gd name="connsiteY54" fmla="*/ 3035 h 10000"/>
              <a:gd name="connsiteX55" fmla="*/ 4913 w 10000"/>
              <a:gd name="connsiteY55" fmla="*/ 2414 h 10000"/>
              <a:gd name="connsiteX56" fmla="*/ 5017 w 10000"/>
              <a:gd name="connsiteY56" fmla="*/ 2034 h 10000"/>
              <a:gd name="connsiteX57" fmla="*/ 5436 w 10000"/>
              <a:gd name="connsiteY57" fmla="*/ 1552 h 10000"/>
              <a:gd name="connsiteX58" fmla="*/ 6028 w 10000"/>
              <a:gd name="connsiteY58" fmla="*/ 1241 h 10000"/>
              <a:gd name="connsiteX59" fmla="*/ 6481 w 10000"/>
              <a:gd name="connsiteY59" fmla="*/ 931 h 10000"/>
              <a:gd name="connsiteX0" fmla="*/ 6481 w 10000"/>
              <a:gd name="connsiteY0" fmla="*/ 759 h 9828"/>
              <a:gd name="connsiteX1" fmla="*/ 9094 w 10000"/>
              <a:gd name="connsiteY1" fmla="*/ 0 h 9828"/>
              <a:gd name="connsiteX2" fmla="*/ 9373 w 10000"/>
              <a:gd name="connsiteY2" fmla="*/ 0 h 9828"/>
              <a:gd name="connsiteX3" fmla="*/ 9582 w 10000"/>
              <a:gd name="connsiteY3" fmla="*/ 449 h 9828"/>
              <a:gd name="connsiteX4" fmla="*/ 9617 w 10000"/>
              <a:gd name="connsiteY4" fmla="*/ 896 h 9828"/>
              <a:gd name="connsiteX5" fmla="*/ 9826 w 10000"/>
              <a:gd name="connsiteY5" fmla="*/ 1655 h 9828"/>
              <a:gd name="connsiteX6" fmla="*/ 10000 w 10000"/>
              <a:gd name="connsiteY6" fmla="*/ 1793 h 9828"/>
              <a:gd name="connsiteX7" fmla="*/ 9895 w 10000"/>
              <a:gd name="connsiteY7" fmla="*/ 2069 h 9828"/>
              <a:gd name="connsiteX8" fmla="*/ 9094 w 10000"/>
              <a:gd name="connsiteY8" fmla="*/ 2207 h 9828"/>
              <a:gd name="connsiteX9" fmla="*/ 8815 w 10000"/>
              <a:gd name="connsiteY9" fmla="*/ 2483 h 9828"/>
              <a:gd name="connsiteX10" fmla="*/ 8432 w 10000"/>
              <a:gd name="connsiteY10" fmla="*/ 2517 h 9828"/>
              <a:gd name="connsiteX11" fmla="*/ 8432 w 10000"/>
              <a:gd name="connsiteY11" fmla="*/ 3069 h 9828"/>
              <a:gd name="connsiteX12" fmla="*/ 7700 w 10000"/>
              <a:gd name="connsiteY12" fmla="*/ 3345 h 9828"/>
              <a:gd name="connsiteX13" fmla="*/ 7456 w 10000"/>
              <a:gd name="connsiteY13" fmla="*/ 3690 h 9828"/>
              <a:gd name="connsiteX14" fmla="*/ 6969 w 10000"/>
              <a:gd name="connsiteY14" fmla="*/ 3897 h 9828"/>
              <a:gd name="connsiteX15" fmla="*/ 6341 w 10000"/>
              <a:gd name="connsiteY15" fmla="*/ 4000 h 9828"/>
              <a:gd name="connsiteX16" fmla="*/ 5331 w 10000"/>
              <a:gd name="connsiteY16" fmla="*/ 4518 h 9828"/>
              <a:gd name="connsiteX17" fmla="*/ 5331 w 10000"/>
              <a:gd name="connsiteY17" fmla="*/ 5380 h 9828"/>
              <a:gd name="connsiteX18" fmla="*/ 5226 w 10000"/>
              <a:gd name="connsiteY18" fmla="*/ 5380 h 9828"/>
              <a:gd name="connsiteX19" fmla="*/ 5226 w 10000"/>
              <a:gd name="connsiteY19" fmla="*/ 5380 h 9828"/>
              <a:gd name="connsiteX20" fmla="*/ 5226 w 10000"/>
              <a:gd name="connsiteY20" fmla="*/ 5759 h 9828"/>
              <a:gd name="connsiteX21" fmla="*/ 4843 w 10000"/>
              <a:gd name="connsiteY21" fmla="*/ 5794 h 9828"/>
              <a:gd name="connsiteX22" fmla="*/ 4634 w 10000"/>
              <a:gd name="connsiteY22" fmla="*/ 5931 h 9828"/>
              <a:gd name="connsiteX23" fmla="*/ 4355 w 10000"/>
              <a:gd name="connsiteY23" fmla="*/ 5931 h 9828"/>
              <a:gd name="connsiteX24" fmla="*/ 4146 w 10000"/>
              <a:gd name="connsiteY24" fmla="*/ 5862 h 9828"/>
              <a:gd name="connsiteX25" fmla="*/ 3624 w 10000"/>
              <a:gd name="connsiteY25" fmla="*/ 5931 h 9828"/>
              <a:gd name="connsiteX26" fmla="*/ 3415 w 10000"/>
              <a:gd name="connsiteY26" fmla="*/ 6483 h 9828"/>
              <a:gd name="connsiteX27" fmla="*/ 3206 w 10000"/>
              <a:gd name="connsiteY27" fmla="*/ 6552 h 9828"/>
              <a:gd name="connsiteX28" fmla="*/ 2892 w 10000"/>
              <a:gd name="connsiteY28" fmla="*/ 7449 h 9828"/>
              <a:gd name="connsiteX29" fmla="*/ 2021 w 10000"/>
              <a:gd name="connsiteY29" fmla="*/ 8208 h 9828"/>
              <a:gd name="connsiteX30" fmla="*/ 1777 w 10000"/>
              <a:gd name="connsiteY30" fmla="*/ 9207 h 9828"/>
              <a:gd name="connsiteX31" fmla="*/ 1498 w 10000"/>
              <a:gd name="connsiteY31" fmla="*/ 9518 h 9828"/>
              <a:gd name="connsiteX32" fmla="*/ 1429 w 10000"/>
              <a:gd name="connsiteY32" fmla="*/ 9793 h 9828"/>
              <a:gd name="connsiteX33" fmla="*/ 0 w 10000"/>
              <a:gd name="connsiteY33" fmla="*/ 9828 h 9828"/>
              <a:gd name="connsiteX34" fmla="*/ 0 w 10000"/>
              <a:gd name="connsiteY34" fmla="*/ 9828 h 9828"/>
              <a:gd name="connsiteX35" fmla="*/ 35 w 10000"/>
              <a:gd name="connsiteY35" fmla="*/ 9518 h 9828"/>
              <a:gd name="connsiteX36" fmla="*/ 279 w 10000"/>
              <a:gd name="connsiteY36" fmla="*/ 9311 h 9828"/>
              <a:gd name="connsiteX37" fmla="*/ 488 w 10000"/>
              <a:gd name="connsiteY37" fmla="*/ 8932 h 9828"/>
              <a:gd name="connsiteX38" fmla="*/ 453 w 10000"/>
              <a:gd name="connsiteY38" fmla="*/ 8690 h 9828"/>
              <a:gd name="connsiteX39" fmla="*/ 697 w 10000"/>
              <a:gd name="connsiteY39" fmla="*/ 8173 h 9828"/>
              <a:gd name="connsiteX40" fmla="*/ 1045 w 10000"/>
              <a:gd name="connsiteY40" fmla="*/ 7724 h 9828"/>
              <a:gd name="connsiteX41" fmla="*/ 1289 w 10000"/>
              <a:gd name="connsiteY41" fmla="*/ 7621 h 9828"/>
              <a:gd name="connsiteX42" fmla="*/ 1463 w 10000"/>
              <a:gd name="connsiteY42" fmla="*/ 7207 h 9828"/>
              <a:gd name="connsiteX43" fmla="*/ 1463 w 10000"/>
              <a:gd name="connsiteY43" fmla="*/ 6828 h 9828"/>
              <a:gd name="connsiteX44" fmla="*/ 1707 w 10000"/>
              <a:gd name="connsiteY44" fmla="*/ 6380 h 9828"/>
              <a:gd name="connsiteX45" fmla="*/ 2125 w 10000"/>
              <a:gd name="connsiteY45" fmla="*/ 6104 h 9828"/>
              <a:gd name="connsiteX46" fmla="*/ 2544 w 10000"/>
              <a:gd name="connsiteY46" fmla="*/ 5380 h 9828"/>
              <a:gd name="connsiteX47" fmla="*/ 2578 w 10000"/>
              <a:gd name="connsiteY47" fmla="*/ 5380 h 9828"/>
              <a:gd name="connsiteX48" fmla="*/ 2892 w 10000"/>
              <a:gd name="connsiteY48" fmla="*/ 5104 h 9828"/>
              <a:gd name="connsiteX49" fmla="*/ 3449 w 10000"/>
              <a:gd name="connsiteY49" fmla="*/ 5035 h 9828"/>
              <a:gd name="connsiteX50" fmla="*/ 3972 w 10000"/>
              <a:gd name="connsiteY50" fmla="*/ 4551 h 9828"/>
              <a:gd name="connsiteX51" fmla="*/ 4286 w 10000"/>
              <a:gd name="connsiteY51" fmla="*/ 4345 h 9828"/>
              <a:gd name="connsiteX52" fmla="*/ 4808 w 10000"/>
              <a:gd name="connsiteY52" fmla="*/ 3759 h 9828"/>
              <a:gd name="connsiteX53" fmla="*/ 4669 w 10000"/>
              <a:gd name="connsiteY53" fmla="*/ 2863 h 9828"/>
              <a:gd name="connsiteX54" fmla="*/ 4913 w 10000"/>
              <a:gd name="connsiteY54" fmla="*/ 2242 h 9828"/>
              <a:gd name="connsiteX55" fmla="*/ 5017 w 10000"/>
              <a:gd name="connsiteY55" fmla="*/ 1862 h 9828"/>
              <a:gd name="connsiteX56" fmla="*/ 5436 w 10000"/>
              <a:gd name="connsiteY56" fmla="*/ 1380 h 9828"/>
              <a:gd name="connsiteX57" fmla="*/ 6028 w 10000"/>
              <a:gd name="connsiteY57" fmla="*/ 1069 h 9828"/>
              <a:gd name="connsiteX58" fmla="*/ 6481 w 10000"/>
              <a:gd name="connsiteY58" fmla="*/ 759 h 9828"/>
              <a:gd name="connsiteX0" fmla="*/ 6481 w 10000"/>
              <a:gd name="connsiteY0" fmla="*/ 772 h 10000"/>
              <a:gd name="connsiteX1" fmla="*/ 9094 w 10000"/>
              <a:gd name="connsiteY1" fmla="*/ 0 h 10000"/>
              <a:gd name="connsiteX2" fmla="*/ 9582 w 10000"/>
              <a:gd name="connsiteY2" fmla="*/ 457 h 10000"/>
              <a:gd name="connsiteX3" fmla="*/ 9617 w 10000"/>
              <a:gd name="connsiteY3" fmla="*/ 912 h 10000"/>
              <a:gd name="connsiteX4" fmla="*/ 9826 w 10000"/>
              <a:gd name="connsiteY4" fmla="*/ 1684 h 10000"/>
              <a:gd name="connsiteX5" fmla="*/ 10000 w 10000"/>
              <a:gd name="connsiteY5" fmla="*/ 1824 h 10000"/>
              <a:gd name="connsiteX6" fmla="*/ 9895 w 10000"/>
              <a:gd name="connsiteY6" fmla="*/ 2105 h 10000"/>
              <a:gd name="connsiteX7" fmla="*/ 9094 w 10000"/>
              <a:gd name="connsiteY7" fmla="*/ 2246 h 10000"/>
              <a:gd name="connsiteX8" fmla="*/ 8815 w 10000"/>
              <a:gd name="connsiteY8" fmla="*/ 2526 h 10000"/>
              <a:gd name="connsiteX9" fmla="*/ 8432 w 10000"/>
              <a:gd name="connsiteY9" fmla="*/ 2561 h 10000"/>
              <a:gd name="connsiteX10" fmla="*/ 8432 w 10000"/>
              <a:gd name="connsiteY10" fmla="*/ 3123 h 10000"/>
              <a:gd name="connsiteX11" fmla="*/ 7700 w 10000"/>
              <a:gd name="connsiteY11" fmla="*/ 3404 h 10000"/>
              <a:gd name="connsiteX12" fmla="*/ 7456 w 10000"/>
              <a:gd name="connsiteY12" fmla="*/ 3755 h 10000"/>
              <a:gd name="connsiteX13" fmla="*/ 6969 w 10000"/>
              <a:gd name="connsiteY13" fmla="*/ 3965 h 10000"/>
              <a:gd name="connsiteX14" fmla="*/ 6341 w 10000"/>
              <a:gd name="connsiteY14" fmla="*/ 4070 h 10000"/>
              <a:gd name="connsiteX15" fmla="*/ 5331 w 10000"/>
              <a:gd name="connsiteY15" fmla="*/ 4597 h 10000"/>
              <a:gd name="connsiteX16" fmla="*/ 5331 w 10000"/>
              <a:gd name="connsiteY16" fmla="*/ 5474 h 10000"/>
              <a:gd name="connsiteX17" fmla="*/ 5226 w 10000"/>
              <a:gd name="connsiteY17" fmla="*/ 5474 h 10000"/>
              <a:gd name="connsiteX18" fmla="*/ 5226 w 10000"/>
              <a:gd name="connsiteY18" fmla="*/ 5474 h 10000"/>
              <a:gd name="connsiteX19" fmla="*/ 5226 w 10000"/>
              <a:gd name="connsiteY19" fmla="*/ 5860 h 10000"/>
              <a:gd name="connsiteX20" fmla="*/ 4843 w 10000"/>
              <a:gd name="connsiteY20" fmla="*/ 5895 h 10000"/>
              <a:gd name="connsiteX21" fmla="*/ 4634 w 10000"/>
              <a:gd name="connsiteY21" fmla="*/ 6035 h 10000"/>
              <a:gd name="connsiteX22" fmla="*/ 4355 w 10000"/>
              <a:gd name="connsiteY22" fmla="*/ 6035 h 10000"/>
              <a:gd name="connsiteX23" fmla="*/ 4146 w 10000"/>
              <a:gd name="connsiteY23" fmla="*/ 5965 h 10000"/>
              <a:gd name="connsiteX24" fmla="*/ 3624 w 10000"/>
              <a:gd name="connsiteY24" fmla="*/ 6035 h 10000"/>
              <a:gd name="connsiteX25" fmla="*/ 3415 w 10000"/>
              <a:gd name="connsiteY25" fmla="*/ 6596 h 10000"/>
              <a:gd name="connsiteX26" fmla="*/ 3206 w 10000"/>
              <a:gd name="connsiteY26" fmla="*/ 6667 h 10000"/>
              <a:gd name="connsiteX27" fmla="*/ 2892 w 10000"/>
              <a:gd name="connsiteY27" fmla="*/ 7579 h 10000"/>
              <a:gd name="connsiteX28" fmla="*/ 2021 w 10000"/>
              <a:gd name="connsiteY28" fmla="*/ 8352 h 10000"/>
              <a:gd name="connsiteX29" fmla="*/ 1777 w 10000"/>
              <a:gd name="connsiteY29" fmla="*/ 9368 h 10000"/>
              <a:gd name="connsiteX30" fmla="*/ 1498 w 10000"/>
              <a:gd name="connsiteY30" fmla="*/ 9685 h 10000"/>
              <a:gd name="connsiteX31" fmla="*/ 1429 w 10000"/>
              <a:gd name="connsiteY31" fmla="*/ 9964 h 10000"/>
              <a:gd name="connsiteX32" fmla="*/ 0 w 10000"/>
              <a:gd name="connsiteY32" fmla="*/ 10000 h 10000"/>
              <a:gd name="connsiteX33" fmla="*/ 0 w 10000"/>
              <a:gd name="connsiteY33" fmla="*/ 10000 h 10000"/>
              <a:gd name="connsiteX34" fmla="*/ 35 w 10000"/>
              <a:gd name="connsiteY34" fmla="*/ 9685 h 10000"/>
              <a:gd name="connsiteX35" fmla="*/ 279 w 10000"/>
              <a:gd name="connsiteY35" fmla="*/ 9474 h 10000"/>
              <a:gd name="connsiteX36" fmla="*/ 488 w 10000"/>
              <a:gd name="connsiteY36" fmla="*/ 9088 h 10000"/>
              <a:gd name="connsiteX37" fmla="*/ 453 w 10000"/>
              <a:gd name="connsiteY37" fmla="*/ 8842 h 10000"/>
              <a:gd name="connsiteX38" fmla="*/ 697 w 10000"/>
              <a:gd name="connsiteY38" fmla="*/ 8316 h 10000"/>
              <a:gd name="connsiteX39" fmla="*/ 1045 w 10000"/>
              <a:gd name="connsiteY39" fmla="*/ 7859 h 10000"/>
              <a:gd name="connsiteX40" fmla="*/ 1289 w 10000"/>
              <a:gd name="connsiteY40" fmla="*/ 7754 h 10000"/>
              <a:gd name="connsiteX41" fmla="*/ 1463 w 10000"/>
              <a:gd name="connsiteY41" fmla="*/ 7333 h 10000"/>
              <a:gd name="connsiteX42" fmla="*/ 1463 w 10000"/>
              <a:gd name="connsiteY42" fmla="*/ 6947 h 10000"/>
              <a:gd name="connsiteX43" fmla="*/ 1707 w 10000"/>
              <a:gd name="connsiteY43" fmla="*/ 6492 h 10000"/>
              <a:gd name="connsiteX44" fmla="*/ 2125 w 10000"/>
              <a:gd name="connsiteY44" fmla="*/ 6211 h 10000"/>
              <a:gd name="connsiteX45" fmla="*/ 2544 w 10000"/>
              <a:gd name="connsiteY45" fmla="*/ 5474 h 10000"/>
              <a:gd name="connsiteX46" fmla="*/ 2578 w 10000"/>
              <a:gd name="connsiteY46" fmla="*/ 5474 h 10000"/>
              <a:gd name="connsiteX47" fmla="*/ 2892 w 10000"/>
              <a:gd name="connsiteY47" fmla="*/ 5193 h 10000"/>
              <a:gd name="connsiteX48" fmla="*/ 3449 w 10000"/>
              <a:gd name="connsiteY48" fmla="*/ 5123 h 10000"/>
              <a:gd name="connsiteX49" fmla="*/ 3972 w 10000"/>
              <a:gd name="connsiteY49" fmla="*/ 4631 h 10000"/>
              <a:gd name="connsiteX50" fmla="*/ 4286 w 10000"/>
              <a:gd name="connsiteY50" fmla="*/ 4421 h 10000"/>
              <a:gd name="connsiteX51" fmla="*/ 4808 w 10000"/>
              <a:gd name="connsiteY51" fmla="*/ 3825 h 10000"/>
              <a:gd name="connsiteX52" fmla="*/ 4669 w 10000"/>
              <a:gd name="connsiteY52" fmla="*/ 2913 h 10000"/>
              <a:gd name="connsiteX53" fmla="*/ 4913 w 10000"/>
              <a:gd name="connsiteY53" fmla="*/ 2281 h 10000"/>
              <a:gd name="connsiteX54" fmla="*/ 5017 w 10000"/>
              <a:gd name="connsiteY54" fmla="*/ 1895 h 10000"/>
              <a:gd name="connsiteX55" fmla="*/ 5436 w 10000"/>
              <a:gd name="connsiteY55" fmla="*/ 1404 h 10000"/>
              <a:gd name="connsiteX56" fmla="*/ 6028 w 10000"/>
              <a:gd name="connsiteY56" fmla="*/ 1088 h 10000"/>
              <a:gd name="connsiteX57" fmla="*/ 6481 w 10000"/>
              <a:gd name="connsiteY57" fmla="*/ 772 h 10000"/>
              <a:gd name="connsiteX0" fmla="*/ 6481 w 10000"/>
              <a:gd name="connsiteY0" fmla="*/ 315 h 9543"/>
              <a:gd name="connsiteX1" fmla="*/ 9582 w 10000"/>
              <a:gd name="connsiteY1" fmla="*/ 0 h 9543"/>
              <a:gd name="connsiteX2" fmla="*/ 9617 w 10000"/>
              <a:gd name="connsiteY2" fmla="*/ 455 h 9543"/>
              <a:gd name="connsiteX3" fmla="*/ 9826 w 10000"/>
              <a:gd name="connsiteY3" fmla="*/ 1227 h 9543"/>
              <a:gd name="connsiteX4" fmla="*/ 10000 w 10000"/>
              <a:gd name="connsiteY4" fmla="*/ 1367 h 9543"/>
              <a:gd name="connsiteX5" fmla="*/ 9895 w 10000"/>
              <a:gd name="connsiteY5" fmla="*/ 1648 h 9543"/>
              <a:gd name="connsiteX6" fmla="*/ 9094 w 10000"/>
              <a:gd name="connsiteY6" fmla="*/ 1789 h 9543"/>
              <a:gd name="connsiteX7" fmla="*/ 8815 w 10000"/>
              <a:gd name="connsiteY7" fmla="*/ 2069 h 9543"/>
              <a:gd name="connsiteX8" fmla="*/ 8432 w 10000"/>
              <a:gd name="connsiteY8" fmla="*/ 2104 h 9543"/>
              <a:gd name="connsiteX9" fmla="*/ 8432 w 10000"/>
              <a:gd name="connsiteY9" fmla="*/ 2666 h 9543"/>
              <a:gd name="connsiteX10" fmla="*/ 7700 w 10000"/>
              <a:gd name="connsiteY10" fmla="*/ 2947 h 9543"/>
              <a:gd name="connsiteX11" fmla="*/ 7456 w 10000"/>
              <a:gd name="connsiteY11" fmla="*/ 3298 h 9543"/>
              <a:gd name="connsiteX12" fmla="*/ 6969 w 10000"/>
              <a:gd name="connsiteY12" fmla="*/ 3508 h 9543"/>
              <a:gd name="connsiteX13" fmla="*/ 6341 w 10000"/>
              <a:gd name="connsiteY13" fmla="*/ 3613 h 9543"/>
              <a:gd name="connsiteX14" fmla="*/ 5331 w 10000"/>
              <a:gd name="connsiteY14" fmla="*/ 4140 h 9543"/>
              <a:gd name="connsiteX15" fmla="*/ 5331 w 10000"/>
              <a:gd name="connsiteY15" fmla="*/ 5017 h 9543"/>
              <a:gd name="connsiteX16" fmla="*/ 5226 w 10000"/>
              <a:gd name="connsiteY16" fmla="*/ 5017 h 9543"/>
              <a:gd name="connsiteX17" fmla="*/ 5226 w 10000"/>
              <a:gd name="connsiteY17" fmla="*/ 5017 h 9543"/>
              <a:gd name="connsiteX18" fmla="*/ 5226 w 10000"/>
              <a:gd name="connsiteY18" fmla="*/ 5403 h 9543"/>
              <a:gd name="connsiteX19" fmla="*/ 4843 w 10000"/>
              <a:gd name="connsiteY19" fmla="*/ 5438 h 9543"/>
              <a:gd name="connsiteX20" fmla="*/ 4634 w 10000"/>
              <a:gd name="connsiteY20" fmla="*/ 5578 h 9543"/>
              <a:gd name="connsiteX21" fmla="*/ 4355 w 10000"/>
              <a:gd name="connsiteY21" fmla="*/ 5578 h 9543"/>
              <a:gd name="connsiteX22" fmla="*/ 4146 w 10000"/>
              <a:gd name="connsiteY22" fmla="*/ 5508 h 9543"/>
              <a:gd name="connsiteX23" fmla="*/ 3624 w 10000"/>
              <a:gd name="connsiteY23" fmla="*/ 5578 h 9543"/>
              <a:gd name="connsiteX24" fmla="*/ 3415 w 10000"/>
              <a:gd name="connsiteY24" fmla="*/ 6139 h 9543"/>
              <a:gd name="connsiteX25" fmla="*/ 3206 w 10000"/>
              <a:gd name="connsiteY25" fmla="*/ 6210 h 9543"/>
              <a:gd name="connsiteX26" fmla="*/ 2892 w 10000"/>
              <a:gd name="connsiteY26" fmla="*/ 7122 h 9543"/>
              <a:gd name="connsiteX27" fmla="*/ 2021 w 10000"/>
              <a:gd name="connsiteY27" fmla="*/ 7895 h 9543"/>
              <a:gd name="connsiteX28" fmla="*/ 1777 w 10000"/>
              <a:gd name="connsiteY28" fmla="*/ 8911 h 9543"/>
              <a:gd name="connsiteX29" fmla="*/ 1498 w 10000"/>
              <a:gd name="connsiteY29" fmla="*/ 9228 h 9543"/>
              <a:gd name="connsiteX30" fmla="*/ 1429 w 10000"/>
              <a:gd name="connsiteY30" fmla="*/ 9507 h 9543"/>
              <a:gd name="connsiteX31" fmla="*/ 0 w 10000"/>
              <a:gd name="connsiteY31" fmla="*/ 9543 h 9543"/>
              <a:gd name="connsiteX32" fmla="*/ 0 w 10000"/>
              <a:gd name="connsiteY32" fmla="*/ 9543 h 9543"/>
              <a:gd name="connsiteX33" fmla="*/ 35 w 10000"/>
              <a:gd name="connsiteY33" fmla="*/ 9228 h 9543"/>
              <a:gd name="connsiteX34" fmla="*/ 279 w 10000"/>
              <a:gd name="connsiteY34" fmla="*/ 9017 h 9543"/>
              <a:gd name="connsiteX35" fmla="*/ 488 w 10000"/>
              <a:gd name="connsiteY35" fmla="*/ 8631 h 9543"/>
              <a:gd name="connsiteX36" fmla="*/ 453 w 10000"/>
              <a:gd name="connsiteY36" fmla="*/ 8385 h 9543"/>
              <a:gd name="connsiteX37" fmla="*/ 697 w 10000"/>
              <a:gd name="connsiteY37" fmla="*/ 7859 h 9543"/>
              <a:gd name="connsiteX38" fmla="*/ 1045 w 10000"/>
              <a:gd name="connsiteY38" fmla="*/ 7402 h 9543"/>
              <a:gd name="connsiteX39" fmla="*/ 1289 w 10000"/>
              <a:gd name="connsiteY39" fmla="*/ 7297 h 9543"/>
              <a:gd name="connsiteX40" fmla="*/ 1463 w 10000"/>
              <a:gd name="connsiteY40" fmla="*/ 6876 h 9543"/>
              <a:gd name="connsiteX41" fmla="*/ 1463 w 10000"/>
              <a:gd name="connsiteY41" fmla="*/ 6490 h 9543"/>
              <a:gd name="connsiteX42" fmla="*/ 1707 w 10000"/>
              <a:gd name="connsiteY42" fmla="*/ 6035 h 9543"/>
              <a:gd name="connsiteX43" fmla="*/ 2125 w 10000"/>
              <a:gd name="connsiteY43" fmla="*/ 5754 h 9543"/>
              <a:gd name="connsiteX44" fmla="*/ 2544 w 10000"/>
              <a:gd name="connsiteY44" fmla="*/ 5017 h 9543"/>
              <a:gd name="connsiteX45" fmla="*/ 2578 w 10000"/>
              <a:gd name="connsiteY45" fmla="*/ 5017 h 9543"/>
              <a:gd name="connsiteX46" fmla="*/ 2892 w 10000"/>
              <a:gd name="connsiteY46" fmla="*/ 4736 h 9543"/>
              <a:gd name="connsiteX47" fmla="*/ 3449 w 10000"/>
              <a:gd name="connsiteY47" fmla="*/ 4666 h 9543"/>
              <a:gd name="connsiteX48" fmla="*/ 3972 w 10000"/>
              <a:gd name="connsiteY48" fmla="*/ 4174 h 9543"/>
              <a:gd name="connsiteX49" fmla="*/ 4286 w 10000"/>
              <a:gd name="connsiteY49" fmla="*/ 3964 h 9543"/>
              <a:gd name="connsiteX50" fmla="*/ 4808 w 10000"/>
              <a:gd name="connsiteY50" fmla="*/ 3368 h 9543"/>
              <a:gd name="connsiteX51" fmla="*/ 4669 w 10000"/>
              <a:gd name="connsiteY51" fmla="*/ 2456 h 9543"/>
              <a:gd name="connsiteX52" fmla="*/ 4913 w 10000"/>
              <a:gd name="connsiteY52" fmla="*/ 1824 h 9543"/>
              <a:gd name="connsiteX53" fmla="*/ 5017 w 10000"/>
              <a:gd name="connsiteY53" fmla="*/ 1438 h 9543"/>
              <a:gd name="connsiteX54" fmla="*/ 5436 w 10000"/>
              <a:gd name="connsiteY54" fmla="*/ 947 h 9543"/>
              <a:gd name="connsiteX55" fmla="*/ 6028 w 10000"/>
              <a:gd name="connsiteY55" fmla="*/ 631 h 9543"/>
              <a:gd name="connsiteX56" fmla="*/ 6481 w 10000"/>
              <a:gd name="connsiteY56" fmla="*/ 315 h 9543"/>
              <a:gd name="connsiteX0" fmla="*/ 6481 w 10000"/>
              <a:gd name="connsiteY0" fmla="*/ 330 h 10000"/>
              <a:gd name="connsiteX1" fmla="*/ 9582 w 10000"/>
              <a:gd name="connsiteY1" fmla="*/ 0 h 10000"/>
              <a:gd name="connsiteX2" fmla="*/ 9826 w 10000"/>
              <a:gd name="connsiteY2" fmla="*/ 1286 h 10000"/>
              <a:gd name="connsiteX3" fmla="*/ 10000 w 10000"/>
              <a:gd name="connsiteY3" fmla="*/ 1432 h 10000"/>
              <a:gd name="connsiteX4" fmla="*/ 9895 w 10000"/>
              <a:gd name="connsiteY4" fmla="*/ 1727 h 10000"/>
              <a:gd name="connsiteX5" fmla="*/ 9094 w 10000"/>
              <a:gd name="connsiteY5" fmla="*/ 1875 h 10000"/>
              <a:gd name="connsiteX6" fmla="*/ 8815 w 10000"/>
              <a:gd name="connsiteY6" fmla="*/ 2168 h 10000"/>
              <a:gd name="connsiteX7" fmla="*/ 8432 w 10000"/>
              <a:gd name="connsiteY7" fmla="*/ 2205 h 10000"/>
              <a:gd name="connsiteX8" fmla="*/ 8432 w 10000"/>
              <a:gd name="connsiteY8" fmla="*/ 2794 h 10000"/>
              <a:gd name="connsiteX9" fmla="*/ 7700 w 10000"/>
              <a:gd name="connsiteY9" fmla="*/ 3088 h 10000"/>
              <a:gd name="connsiteX10" fmla="*/ 7456 w 10000"/>
              <a:gd name="connsiteY10" fmla="*/ 3456 h 10000"/>
              <a:gd name="connsiteX11" fmla="*/ 6969 w 10000"/>
              <a:gd name="connsiteY11" fmla="*/ 3676 h 10000"/>
              <a:gd name="connsiteX12" fmla="*/ 6341 w 10000"/>
              <a:gd name="connsiteY12" fmla="*/ 3786 h 10000"/>
              <a:gd name="connsiteX13" fmla="*/ 5331 w 10000"/>
              <a:gd name="connsiteY13" fmla="*/ 4338 h 10000"/>
              <a:gd name="connsiteX14" fmla="*/ 5331 w 10000"/>
              <a:gd name="connsiteY14" fmla="*/ 5257 h 10000"/>
              <a:gd name="connsiteX15" fmla="*/ 5226 w 10000"/>
              <a:gd name="connsiteY15" fmla="*/ 5257 h 10000"/>
              <a:gd name="connsiteX16" fmla="*/ 5226 w 10000"/>
              <a:gd name="connsiteY16" fmla="*/ 5257 h 10000"/>
              <a:gd name="connsiteX17" fmla="*/ 5226 w 10000"/>
              <a:gd name="connsiteY17" fmla="*/ 5662 h 10000"/>
              <a:gd name="connsiteX18" fmla="*/ 4843 w 10000"/>
              <a:gd name="connsiteY18" fmla="*/ 5698 h 10000"/>
              <a:gd name="connsiteX19" fmla="*/ 4634 w 10000"/>
              <a:gd name="connsiteY19" fmla="*/ 5845 h 10000"/>
              <a:gd name="connsiteX20" fmla="*/ 4355 w 10000"/>
              <a:gd name="connsiteY20" fmla="*/ 5845 h 10000"/>
              <a:gd name="connsiteX21" fmla="*/ 4146 w 10000"/>
              <a:gd name="connsiteY21" fmla="*/ 5772 h 10000"/>
              <a:gd name="connsiteX22" fmla="*/ 3624 w 10000"/>
              <a:gd name="connsiteY22" fmla="*/ 5845 h 10000"/>
              <a:gd name="connsiteX23" fmla="*/ 3415 w 10000"/>
              <a:gd name="connsiteY23" fmla="*/ 6433 h 10000"/>
              <a:gd name="connsiteX24" fmla="*/ 3206 w 10000"/>
              <a:gd name="connsiteY24" fmla="*/ 6507 h 10000"/>
              <a:gd name="connsiteX25" fmla="*/ 2892 w 10000"/>
              <a:gd name="connsiteY25" fmla="*/ 7463 h 10000"/>
              <a:gd name="connsiteX26" fmla="*/ 2021 w 10000"/>
              <a:gd name="connsiteY26" fmla="*/ 8273 h 10000"/>
              <a:gd name="connsiteX27" fmla="*/ 1777 w 10000"/>
              <a:gd name="connsiteY27" fmla="*/ 9338 h 10000"/>
              <a:gd name="connsiteX28" fmla="*/ 1498 w 10000"/>
              <a:gd name="connsiteY28" fmla="*/ 9670 h 10000"/>
              <a:gd name="connsiteX29" fmla="*/ 1429 w 10000"/>
              <a:gd name="connsiteY29" fmla="*/ 9962 h 10000"/>
              <a:gd name="connsiteX30" fmla="*/ 0 w 10000"/>
              <a:gd name="connsiteY30" fmla="*/ 10000 h 10000"/>
              <a:gd name="connsiteX31" fmla="*/ 0 w 10000"/>
              <a:gd name="connsiteY31" fmla="*/ 10000 h 10000"/>
              <a:gd name="connsiteX32" fmla="*/ 35 w 10000"/>
              <a:gd name="connsiteY32" fmla="*/ 9670 h 10000"/>
              <a:gd name="connsiteX33" fmla="*/ 279 w 10000"/>
              <a:gd name="connsiteY33" fmla="*/ 9449 h 10000"/>
              <a:gd name="connsiteX34" fmla="*/ 488 w 10000"/>
              <a:gd name="connsiteY34" fmla="*/ 9044 h 10000"/>
              <a:gd name="connsiteX35" fmla="*/ 453 w 10000"/>
              <a:gd name="connsiteY35" fmla="*/ 8787 h 10000"/>
              <a:gd name="connsiteX36" fmla="*/ 697 w 10000"/>
              <a:gd name="connsiteY36" fmla="*/ 8235 h 10000"/>
              <a:gd name="connsiteX37" fmla="*/ 1045 w 10000"/>
              <a:gd name="connsiteY37" fmla="*/ 7756 h 10000"/>
              <a:gd name="connsiteX38" fmla="*/ 1289 w 10000"/>
              <a:gd name="connsiteY38" fmla="*/ 7646 h 10000"/>
              <a:gd name="connsiteX39" fmla="*/ 1463 w 10000"/>
              <a:gd name="connsiteY39" fmla="*/ 7205 h 10000"/>
              <a:gd name="connsiteX40" fmla="*/ 1463 w 10000"/>
              <a:gd name="connsiteY40" fmla="*/ 6801 h 10000"/>
              <a:gd name="connsiteX41" fmla="*/ 1707 w 10000"/>
              <a:gd name="connsiteY41" fmla="*/ 6324 h 10000"/>
              <a:gd name="connsiteX42" fmla="*/ 2125 w 10000"/>
              <a:gd name="connsiteY42" fmla="*/ 6030 h 10000"/>
              <a:gd name="connsiteX43" fmla="*/ 2544 w 10000"/>
              <a:gd name="connsiteY43" fmla="*/ 5257 h 10000"/>
              <a:gd name="connsiteX44" fmla="*/ 2578 w 10000"/>
              <a:gd name="connsiteY44" fmla="*/ 5257 h 10000"/>
              <a:gd name="connsiteX45" fmla="*/ 2892 w 10000"/>
              <a:gd name="connsiteY45" fmla="*/ 4963 h 10000"/>
              <a:gd name="connsiteX46" fmla="*/ 3449 w 10000"/>
              <a:gd name="connsiteY46" fmla="*/ 4889 h 10000"/>
              <a:gd name="connsiteX47" fmla="*/ 3972 w 10000"/>
              <a:gd name="connsiteY47" fmla="*/ 4374 h 10000"/>
              <a:gd name="connsiteX48" fmla="*/ 4286 w 10000"/>
              <a:gd name="connsiteY48" fmla="*/ 4154 h 10000"/>
              <a:gd name="connsiteX49" fmla="*/ 4808 w 10000"/>
              <a:gd name="connsiteY49" fmla="*/ 3529 h 10000"/>
              <a:gd name="connsiteX50" fmla="*/ 4669 w 10000"/>
              <a:gd name="connsiteY50" fmla="*/ 2574 h 10000"/>
              <a:gd name="connsiteX51" fmla="*/ 4913 w 10000"/>
              <a:gd name="connsiteY51" fmla="*/ 1911 h 10000"/>
              <a:gd name="connsiteX52" fmla="*/ 5017 w 10000"/>
              <a:gd name="connsiteY52" fmla="*/ 1507 h 10000"/>
              <a:gd name="connsiteX53" fmla="*/ 5436 w 10000"/>
              <a:gd name="connsiteY53" fmla="*/ 992 h 10000"/>
              <a:gd name="connsiteX54" fmla="*/ 6028 w 10000"/>
              <a:gd name="connsiteY54" fmla="*/ 661 h 10000"/>
              <a:gd name="connsiteX55" fmla="*/ 6481 w 10000"/>
              <a:gd name="connsiteY55" fmla="*/ 330 h 10000"/>
              <a:gd name="connsiteX0" fmla="*/ 6481 w 10000"/>
              <a:gd name="connsiteY0" fmla="*/ 0 h 9670"/>
              <a:gd name="connsiteX1" fmla="*/ 9826 w 10000"/>
              <a:gd name="connsiteY1" fmla="*/ 956 h 9670"/>
              <a:gd name="connsiteX2" fmla="*/ 10000 w 10000"/>
              <a:gd name="connsiteY2" fmla="*/ 1102 h 9670"/>
              <a:gd name="connsiteX3" fmla="*/ 9895 w 10000"/>
              <a:gd name="connsiteY3" fmla="*/ 1397 h 9670"/>
              <a:gd name="connsiteX4" fmla="*/ 9094 w 10000"/>
              <a:gd name="connsiteY4" fmla="*/ 1545 h 9670"/>
              <a:gd name="connsiteX5" fmla="*/ 8815 w 10000"/>
              <a:gd name="connsiteY5" fmla="*/ 1838 h 9670"/>
              <a:gd name="connsiteX6" fmla="*/ 8432 w 10000"/>
              <a:gd name="connsiteY6" fmla="*/ 1875 h 9670"/>
              <a:gd name="connsiteX7" fmla="*/ 8432 w 10000"/>
              <a:gd name="connsiteY7" fmla="*/ 2464 h 9670"/>
              <a:gd name="connsiteX8" fmla="*/ 7700 w 10000"/>
              <a:gd name="connsiteY8" fmla="*/ 2758 h 9670"/>
              <a:gd name="connsiteX9" fmla="*/ 7456 w 10000"/>
              <a:gd name="connsiteY9" fmla="*/ 3126 h 9670"/>
              <a:gd name="connsiteX10" fmla="*/ 6969 w 10000"/>
              <a:gd name="connsiteY10" fmla="*/ 3346 h 9670"/>
              <a:gd name="connsiteX11" fmla="*/ 6341 w 10000"/>
              <a:gd name="connsiteY11" fmla="*/ 3456 h 9670"/>
              <a:gd name="connsiteX12" fmla="*/ 5331 w 10000"/>
              <a:gd name="connsiteY12" fmla="*/ 4008 h 9670"/>
              <a:gd name="connsiteX13" fmla="*/ 5331 w 10000"/>
              <a:gd name="connsiteY13" fmla="*/ 4927 h 9670"/>
              <a:gd name="connsiteX14" fmla="*/ 5226 w 10000"/>
              <a:gd name="connsiteY14" fmla="*/ 4927 h 9670"/>
              <a:gd name="connsiteX15" fmla="*/ 5226 w 10000"/>
              <a:gd name="connsiteY15" fmla="*/ 4927 h 9670"/>
              <a:gd name="connsiteX16" fmla="*/ 5226 w 10000"/>
              <a:gd name="connsiteY16" fmla="*/ 5332 h 9670"/>
              <a:gd name="connsiteX17" fmla="*/ 4843 w 10000"/>
              <a:gd name="connsiteY17" fmla="*/ 5368 h 9670"/>
              <a:gd name="connsiteX18" fmla="*/ 4634 w 10000"/>
              <a:gd name="connsiteY18" fmla="*/ 5515 h 9670"/>
              <a:gd name="connsiteX19" fmla="*/ 4355 w 10000"/>
              <a:gd name="connsiteY19" fmla="*/ 5515 h 9670"/>
              <a:gd name="connsiteX20" fmla="*/ 4146 w 10000"/>
              <a:gd name="connsiteY20" fmla="*/ 5442 h 9670"/>
              <a:gd name="connsiteX21" fmla="*/ 3624 w 10000"/>
              <a:gd name="connsiteY21" fmla="*/ 5515 h 9670"/>
              <a:gd name="connsiteX22" fmla="*/ 3415 w 10000"/>
              <a:gd name="connsiteY22" fmla="*/ 6103 h 9670"/>
              <a:gd name="connsiteX23" fmla="*/ 3206 w 10000"/>
              <a:gd name="connsiteY23" fmla="*/ 6177 h 9670"/>
              <a:gd name="connsiteX24" fmla="*/ 2892 w 10000"/>
              <a:gd name="connsiteY24" fmla="*/ 7133 h 9670"/>
              <a:gd name="connsiteX25" fmla="*/ 2021 w 10000"/>
              <a:gd name="connsiteY25" fmla="*/ 7943 h 9670"/>
              <a:gd name="connsiteX26" fmla="*/ 1777 w 10000"/>
              <a:gd name="connsiteY26" fmla="*/ 9008 h 9670"/>
              <a:gd name="connsiteX27" fmla="*/ 1498 w 10000"/>
              <a:gd name="connsiteY27" fmla="*/ 9340 h 9670"/>
              <a:gd name="connsiteX28" fmla="*/ 1429 w 10000"/>
              <a:gd name="connsiteY28" fmla="*/ 9632 h 9670"/>
              <a:gd name="connsiteX29" fmla="*/ 0 w 10000"/>
              <a:gd name="connsiteY29" fmla="*/ 9670 h 9670"/>
              <a:gd name="connsiteX30" fmla="*/ 0 w 10000"/>
              <a:gd name="connsiteY30" fmla="*/ 9670 h 9670"/>
              <a:gd name="connsiteX31" fmla="*/ 35 w 10000"/>
              <a:gd name="connsiteY31" fmla="*/ 9340 h 9670"/>
              <a:gd name="connsiteX32" fmla="*/ 279 w 10000"/>
              <a:gd name="connsiteY32" fmla="*/ 9119 h 9670"/>
              <a:gd name="connsiteX33" fmla="*/ 488 w 10000"/>
              <a:gd name="connsiteY33" fmla="*/ 8714 h 9670"/>
              <a:gd name="connsiteX34" fmla="*/ 453 w 10000"/>
              <a:gd name="connsiteY34" fmla="*/ 8457 h 9670"/>
              <a:gd name="connsiteX35" fmla="*/ 697 w 10000"/>
              <a:gd name="connsiteY35" fmla="*/ 7905 h 9670"/>
              <a:gd name="connsiteX36" fmla="*/ 1045 w 10000"/>
              <a:gd name="connsiteY36" fmla="*/ 7426 h 9670"/>
              <a:gd name="connsiteX37" fmla="*/ 1289 w 10000"/>
              <a:gd name="connsiteY37" fmla="*/ 7316 h 9670"/>
              <a:gd name="connsiteX38" fmla="*/ 1463 w 10000"/>
              <a:gd name="connsiteY38" fmla="*/ 6875 h 9670"/>
              <a:gd name="connsiteX39" fmla="*/ 1463 w 10000"/>
              <a:gd name="connsiteY39" fmla="*/ 6471 h 9670"/>
              <a:gd name="connsiteX40" fmla="*/ 1707 w 10000"/>
              <a:gd name="connsiteY40" fmla="*/ 5994 h 9670"/>
              <a:gd name="connsiteX41" fmla="*/ 2125 w 10000"/>
              <a:gd name="connsiteY41" fmla="*/ 5700 h 9670"/>
              <a:gd name="connsiteX42" fmla="*/ 2544 w 10000"/>
              <a:gd name="connsiteY42" fmla="*/ 4927 h 9670"/>
              <a:gd name="connsiteX43" fmla="*/ 2578 w 10000"/>
              <a:gd name="connsiteY43" fmla="*/ 4927 h 9670"/>
              <a:gd name="connsiteX44" fmla="*/ 2892 w 10000"/>
              <a:gd name="connsiteY44" fmla="*/ 4633 h 9670"/>
              <a:gd name="connsiteX45" fmla="*/ 3449 w 10000"/>
              <a:gd name="connsiteY45" fmla="*/ 4559 h 9670"/>
              <a:gd name="connsiteX46" fmla="*/ 3972 w 10000"/>
              <a:gd name="connsiteY46" fmla="*/ 4044 h 9670"/>
              <a:gd name="connsiteX47" fmla="*/ 4286 w 10000"/>
              <a:gd name="connsiteY47" fmla="*/ 3824 h 9670"/>
              <a:gd name="connsiteX48" fmla="*/ 4808 w 10000"/>
              <a:gd name="connsiteY48" fmla="*/ 3199 h 9670"/>
              <a:gd name="connsiteX49" fmla="*/ 4669 w 10000"/>
              <a:gd name="connsiteY49" fmla="*/ 2244 h 9670"/>
              <a:gd name="connsiteX50" fmla="*/ 4913 w 10000"/>
              <a:gd name="connsiteY50" fmla="*/ 1581 h 9670"/>
              <a:gd name="connsiteX51" fmla="*/ 5017 w 10000"/>
              <a:gd name="connsiteY51" fmla="*/ 1177 h 9670"/>
              <a:gd name="connsiteX52" fmla="*/ 5436 w 10000"/>
              <a:gd name="connsiteY52" fmla="*/ 662 h 9670"/>
              <a:gd name="connsiteX53" fmla="*/ 6028 w 10000"/>
              <a:gd name="connsiteY53" fmla="*/ 331 h 9670"/>
              <a:gd name="connsiteX54" fmla="*/ 6481 w 10000"/>
              <a:gd name="connsiteY54" fmla="*/ 0 h 9670"/>
              <a:gd name="connsiteX0" fmla="*/ 6028 w 10000"/>
              <a:gd name="connsiteY0" fmla="*/ 0 h 9658"/>
              <a:gd name="connsiteX1" fmla="*/ 9826 w 10000"/>
              <a:gd name="connsiteY1" fmla="*/ 647 h 9658"/>
              <a:gd name="connsiteX2" fmla="*/ 10000 w 10000"/>
              <a:gd name="connsiteY2" fmla="*/ 798 h 9658"/>
              <a:gd name="connsiteX3" fmla="*/ 9895 w 10000"/>
              <a:gd name="connsiteY3" fmla="*/ 1103 h 9658"/>
              <a:gd name="connsiteX4" fmla="*/ 9094 w 10000"/>
              <a:gd name="connsiteY4" fmla="*/ 1256 h 9658"/>
              <a:gd name="connsiteX5" fmla="*/ 8815 w 10000"/>
              <a:gd name="connsiteY5" fmla="*/ 1559 h 9658"/>
              <a:gd name="connsiteX6" fmla="*/ 8432 w 10000"/>
              <a:gd name="connsiteY6" fmla="*/ 1597 h 9658"/>
              <a:gd name="connsiteX7" fmla="*/ 8432 w 10000"/>
              <a:gd name="connsiteY7" fmla="*/ 2206 h 9658"/>
              <a:gd name="connsiteX8" fmla="*/ 7700 w 10000"/>
              <a:gd name="connsiteY8" fmla="*/ 2510 h 9658"/>
              <a:gd name="connsiteX9" fmla="*/ 7456 w 10000"/>
              <a:gd name="connsiteY9" fmla="*/ 2891 h 9658"/>
              <a:gd name="connsiteX10" fmla="*/ 6969 w 10000"/>
              <a:gd name="connsiteY10" fmla="*/ 3118 h 9658"/>
              <a:gd name="connsiteX11" fmla="*/ 6341 w 10000"/>
              <a:gd name="connsiteY11" fmla="*/ 3232 h 9658"/>
              <a:gd name="connsiteX12" fmla="*/ 5331 w 10000"/>
              <a:gd name="connsiteY12" fmla="*/ 3803 h 9658"/>
              <a:gd name="connsiteX13" fmla="*/ 5331 w 10000"/>
              <a:gd name="connsiteY13" fmla="*/ 4753 h 9658"/>
              <a:gd name="connsiteX14" fmla="*/ 5226 w 10000"/>
              <a:gd name="connsiteY14" fmla="*/ 4753 h 9658"/>
              <a:gd name="connsiteX15" fmla="*/ 5226 w 10000"/>
              <a:gd name="connsiteY15" fmla="*/ 4753 h 9658"/>
              <a:gd name="connsiteX16" fmla="*/ 5226 w 10000"/>
              <a:gd name="connsiteY16" fmla="*/ 5172 h 9658"/>
              <a:gd name="connsiteX17" fmla="*/ 4843 w 10000"/>
              <a:gd name="connsiteY17" fmla="*/ 5209 h 9658"/>
              <a:gd name="connsiteX18" fmla="*/ 4634 w 10000"/>
              <a:gd name="connsiteY18" fmla="*/ 5361 h 9658"/>
              <a:gd name="connsiteX19" fmla="*/ 4355 w 10000"/>
              <a:gd name="connsiteY19" fmla="*/ 5361 h 9658"/>
              <a:gd name="connsiteX20" fmla="*/ 4146 w 10000"/>
              <a:gd name="connsiteY20" fmla="*/ 5286 h 9658"/>
              <a:gd name="connsiteX21" fmla="*/ 3624 w 10000"/>
              <a:gd name="connsiteY21" fmla="*/ 5361 h 9658"/>
              <a:gd name="connsiteX22" fmla="*/ 3415 w 10000"/>
              <a:gd name="connsiteY22" fmla="*/ 5969 h 9658"/>
              <a:gd name="connsiteX23" fmla="*/ 3206 w 10000"/>
              <a:gd name="connsiteY23" fmla="*/ 6046 h 9658"/>
              <a:gd name="connsiteX24" fmla="*/ 2892 w 10000"/>
              <a:gd name="connsiteY24" fmla="*/ 7034 h 9658"/>
              <a:gd name="connsiteX25" fmla="*/ 2021 w 10000"/>
              <a:gd name="connsiteY25" fmla="*/ 7872 h 9658"/>
              <a:gd name="connsiteX26" fmla="*/ 1777 w 10000"/>
              <a:gd name="connsiteY26" fmla="*/ 8973 h 9658"/>
              <a:gd name="connsiteX27" fmla="*/ 1498 w 10000"/>
              <a:gd name="connsiteY27" fmla="*/ 9317 h 9658"/>
              <a:gd name="connsiteX28" fmla="*/ 1429 w 10000"/>
              <a:gd name="connsiteY28" fmla="*/ 9619 h 9658"/>
              <a:gd name="connsiteX29" fmla="*/ 0 w 10000"/>
              <a:gd name="connsiteY29" fmla="*/ 9658 h 9658"/>
              <a:gd name="connsiteX30" fmla="*/ 0 w 10000"/>
              <a:gd name="connsiteY30" fmla="*/ 9658 h 9658"/>
              <a:gd name="connsiteX31" fmla="*/ 35 w 10000"/>
              <a:gd name="connsiteY31" fmla="*/ 9317 h 9658"/>
              <a:gd name="connsiteX32" fmla="*/ 279 w 10000"/>
              <a:gd name="connsiteY32" fmla="*/ 9088 h 9658"/>
              <a:gd name="connsiteX33" fmla="*/ 488 w 10000"/>
              <a:gd name="connsiteY33" fmla="*/ 8669 h 9658"/>
              <a:gd name="connsiteX34" fmla="*/ 453 w 10000"/>
              <a:gd name="connsiteY34" fmla="*/ 8404 h 9658"/>
              <a:gd name="connsiteX35" fmla="*/ 697 w 10000"/>
              <a:gd name="connsiteY35" fmla="*/ 7833 h 9658"/>
              <a:gd name="connsiteX36" fmla="*/ 1045 w 10000"/>
              <a:gd name="connsiteY36" fmla="*/ 7337 h 9658"/>
              <a:gd name="connsiteX37" fmla="*/ 1289 w 10000"/>
              <a:gd name="connsiteY37" fmla="*/ 7224 h 9658"/>
              <a:gd name="connsiteX38" fmla="*/ 1463 w 10000"/>
              <a:gd name="connsiteY38" fmla="*/ 6768 h 9658"/>
              <a:gd name="connsiteX39" fmla="*/ 1463 w 10000"/>
              <a:gd name="connsiteY39" fmla="*/ 6350 h 9658"/>
              <a:gd name="connsiteX40" fmla="*/ 1707 w 10000"/>
              <a:gd name="connsiteY40" fmla="*/ 5857 h 9658"/>
              <a:gd name="connsiteX41" fmla="*/ 2125 w 10000"/>
              <a:gd name="connsiteY41" fmla="*/ 5553 h 9658"/>
              <a:gd name="connsiteX42" fmla="*/ 2544 w 10000"/>
              <a:gd name="connsiteY42" fmla="*/ 4753 h 9658"/>
              <a:gd name="connsiteX43" fmla="*/ 2578 w 10000"/>
              <a:gd name="connsiteY43" fmla="*/ 4753 h 9658"/>
              <a:gd name="connsiteX44" fmla="*/ 2892 w 10000"/>
              <a:gd name="connsiteY44" fmla="*/ 4449 h 9658"/>
              <a:gd name="connsiteX45" fmla="*/ 3449 w 10000"/>
              <a:gd name="connsiteY45" fmla="*/ 4373 h 9658"/>
              <a:gd name="connsiteX46" fmla="*/ 3972 w 10000"/>
              <a:gd name="connsiteY46" fmla="*/ 3840 h 9658"/>
              <a:gd name="connsiteX47" fmla="*/ 4286 w 10000"/>
              <a:gd name="connsiteY47" fmla="*/ 3612 h 9658"/>
              <a:gd name="connsiteX48" fmla="*/ 4808 w 10000"/>
              <a:gd name="connsiteY48" fmla="*/ 2966 h 9658"/>
              <a:gd name="connsiteX49" fmla="*/ 4669 w 10000"/>
              <a:gd name="connsiteY49" fmla="*/ 1979 h 9658"/>
              <a:gd name="connsiteX50" fmla="*/ 4913 w 10000"/>
              <a:gd name="connsiteY50" fmla="*/ 1293 h 9658"/>
              <a:gd name="connsiteX51" fmla="*/ 5017 w 10000"/>
              <a:gd name="connsiteY51" fmla="*/ 875 h 9658"/>
              <a:gd name="connsiteX52" fmla="*/ 5436 w 10000"/>
              <a:gd name="connsiteY52" fmla="*/ 343 h 9658"/>
              <a:gd name="connsiteX53" fmla="*/ 6028 w 10000"/>
              <a:gd name="connsiteY53" fmla="*/ 0 h 9658"/>
              <a:gd name="connsiteX0" fmla="*/ 5436 w 10000"/>
              <a:gd name="connsiteY0" fmla="*/ 0 h 9645"/>
              <a:gd name="connsiteX1" fmla="*/ 9826 w 10000"/>
              <a:gd name="connsiteY1" fmla="*/ 315 h 9645"/>
              <a:gd name="connsiteX2" fmla="*/ 10000 w 10000"/>
              <a:gd name="connsiteY2" fmla="*/ 471 h 9645"/>
              <a:gd name="connsiteX3" fmla="*/ 9895 w 10000"/>
              <a:gd name="connsiteY3" fmla="*/ 787 h 9645"/>
              <a:gd name="connsiteX4" fmla="*/ 9094 w 10000"/>
              <a:gd name="connsiteY4" fmla="*/ 945 h 9645"/>
              <a:gd name="connsiteX5" fmla="*/ 8815 w 10000"/>
              <a:gd name="connsiteY5" fmla="*/ 1259 h 9645"/>
              <a:gd name="connsiteX6" fmla="*/ 8432 w 10000"/>
              <a:gd name="connsiteY6" fmla="*/ 1299 h 9645"/>
              <a:gd name="connsiteX7" fmla="*/ 8432 w 10000"/>
              <a:gd name="connsiteY7" fmla="*/ 1929 h 9645"/>
              <a:gd name="connsiteX8" fmla="*/ 7700 w 10000"/>
              <a:gd name="connsiteY8" fmla="*/ 2244 h 9645"/>
              <a:gd name="connsiteX9" fmla="*/ 7456 w 10000"/>
              <a:gd name="connsiteY9" fmla="*/ 2638 h 9645"/>
              <a:gd name="connsiteX10" fmla="*/ 6969 w 10000"/>
              <a:gd name="connsiteY10" fmla="*/ 2873 h 9645"/>
              <a:gd name="connsiteX11" fmla="*/ 6341 w 10000"/>
              <a:gd name="connsiteY11" fmla="*/ 2991 h 9645"/>
              <a:gd name="connsiteX12" fmla="*/ 5331 w 10000"/>
              <a:gd name="connsiteY12" fmla="*/ 3583 h 9645"/>
              <a:gd name="connsiteX13" fmla="*/ 5331 w 10000"/>
              <a:gd name="connsiteY13" fmla="*/ 4566 h 9645"/>
              <a:gd name="connsiteX14" fmla="*/ 5226 w 10000"/>
              <a:gd name="connsiteY14" fmla="*/ 4566 h 9645"/>
              <a:gd name="connsiteX15" fmla="*/ 5226 w 10000"/>
              <a:gd name="connsiteY15" fmla="*/ 4566 h 9645"/>
              <a:gd name="connsiteX16" fmla="*/ 5226 w 10000"/>
              <a:gd name="connsiteY16" fmla="*/ 5000 h 9645"/>
              <a:gd name="connsiteX17" fmla="*/ 4843 w 10000"/>
              <a:gd name="connsiteY17" fmla="*/ 5038 h 9645"/>
              <a:gd name="connsiteX18" fmla="*/ 4634 w 10000"/>
              <a:gd name="connsiteY18" fmla="*/ 5196 h 9645"/>
              <a:gd name="connsiteX19" fmla="*/ 4355 w 10000"/>
              <a:gd name="connsiteY19" fmla="*/ 5196 h 9645"/>
              <a:gd name="connsiteX20" fmla="*/ 4146 w 10000"/>
              <a:gd name="connsiteY20" fmla="*/ 5118 h 9645"/>
              <a:gd name="connsiteX21" fmla="*/ 3624 w 10000"/>
              <a:gd name="connsiteY21" fmla="*/ 5196 h 9645"/>
              <a:gd name="connsiteX22" fmla="*/ 3415 w 10000"/>
              <a:gd name="connsiteY22" fmla="*/ 5825 h 9645"/>
              <a:gd name="connsiteX23" fmla="*/ 3206 w 10000"/>
              <a:gd name="connsiteY23" fmla="*/ 5905 h 9645"/>
              <a:gd name="connsiteX24" fmla="*/ 2892 w 10000"/>
              <a:gd name="connsiteY24" fmla="*/ 6928 h 9645"/>
              <a:gd name="connsiteX25" fmla="*/ 2021 w 10000"/>
              <a:gd name="connsiteY25" fmla="*/ 7796 h 9645"/>
              <a:gd name="connsiteX26" fmla="*/ 1777 w 10000"/>
              <a:gd name="connsiteY26" fmla="*/ 8936 h 9645"/>
              <a:gd name="connsiteX27" fmla="*/ 1498 w 10000"/>
              <a:gd name="connsiteY27" fmla="*/ 9292 h 9645"/>
              <a:gd name="connsiteX28" fmla="*/ 1429 w 10000"/>
              <a:gd name="connsiteY28" fmla="*/ 9605 h 9645"/>
              <a:gd name="connsiteX29" fmla="*/ 0 w 10000"/>
              <a:gd name="connsiteY29" fmla="*/ 9645 h 9645"/>
              <a:gd name="connsiteX30" fmla="*/ 0 w 10000"/>
              <a:gd name="connsiteY30" fmla="*/ 9645 h 9645"/>
              <a:gd name="connsiteX31" fmla="*/ 35 w 10000"/>
              <a:gd name="connsiteY31" fmla="*/ 9292 h 9645"/>
              <a:gd name="connsiteX32" fmla="*/ 279 w 10000"/>
              <a:gd name="connsiteY32" fmla="*/ 9055 h 9645"/>
              <a:gd name="connsiteX33" fmla="*/ 488 w 10000"/>
              <a:gd name="connsiteY33" fmla="*/ 8621 h 9645"/>
              <a:gd name="connsiteX34" fmla="*/ 453 w 10000"/>
              <a:gd name="connsiteY34" fmla="*/ 8347 h 9645"/>
              <a:gd name="connsiteX35" fmla="*/ 697 w 10000"/>
              <a:gd name="connsiteY35" fmla="*/ 7755 h 9645"/>
              <a:gd name="connsiteX36" fmla="*/ 1045 w 10000"/>
              <a:gd name="connsiteY36" fmla="*/ 7242 h 9645"/>
              <a:gd name="connsiteX37" fmla="*/ 1289 w 10000"/>
              <a:gd name="connsiteY37" fmla="*/ 7125 h 9645"/>
              <a:gd name="connsiteX38" fmla="*/ 1463 w 10000"/>
              <a:gd name="connsiteY38" fmla="*/ 6653 h 9645"/>
              <a:gd name="connsiteX39" fmla="*/ 1463 w 10000"/>
              <a:gd name="connsiteY39" fmla="*/ 6220 h 9645"/>
              <a:gd name="connsiteX40" fmla="*/ 1707 w 10000"/>
              <a:gd name="connsiteY40" fmla="*/ 5709 h 9645"/>
              <a:gd name="connsiteX41" fmla="*/ 2125 w 10000"/>
              <a:gd name="connsiteY41" fmla="*/ 5395 h 9645"/>
              <a:gd name="connsiteX42" fmla="*/ 2544 w 10000"/>
              <a:gd name="connsiteY42" fmla="*/ 4566 h 9645"/>
              <a:gd name="connsiteX43" fmla="*/ 2578 w 10000"/>
              <a:gd name="connsiteY43" fmla="*/ 4566 h 9645"/>
              <a:gd name="connsiteX44" fmla="*/ 2892 w 10000"/>
              <a:gd name="connsiteY44" fmla="*/ 4252 h 9645"/>
              <a:gd name="connsiteX45" fmla="*/ 3449 w 10000"/>
              <a:gd name="connsiteY45" fmla="*/ 4173 h 9645"/>
              <a:gd name="connsiteX46" fmla="*/ 3972 w 10000"/>
              <a:gd name="connsiteY46" fmla="*/ 3621 h 9645"/>
              <a:gd name="connsiteX47" fmla="*/ 4286 w 10000"/>
              <a:gd name="connsiteY47" fmla="*/ 3385 h 9645"/>
              <a:gd name="connsiteX48" fmla="*/ 4808 w 10000"/>
              <a:gd name="connsiteY48" fmla="*/ 2716 h 9645"/>
              <a:gd name="connsiteX49" fmla="*/ 4669 w 10000"/>
              <a:gd name="connsiteY49" fmla="*/ 1694 h 9645"/>
              <a:gd name="connsiteX50" fmla="*/ 4913 w 10000"/>
              <a:gd name="connsiteY50" fmla="*/ 984 h 9645"/>
              <a:gd name="connsiteX51" fmla="*/ 5017 w 10000"/>
              <a:gd name="connsiteY51" fmla="*/ 551 h 9645"/>
              <a:gd name="connsiteX52" fmla="*/ 5436 w 10000"/>
              <a:gd name="connsiteY52" fmla="*/ 0 h 9645"/>
              <a:gd name="connsiteX0" fmla="*/ 5017 w 10000"/>
              <a:gd name="connsiteY0" fmla="*/ 244 h 9673"/>
              <a:gd name="connsiteX1" fmla="*/ 9826 w 10000"/>
              <a:gd name="connsiteY1" fmla="*/ 0 h 9673"/>
              <a:gd name="connsiteX2" fmla="*/ 10000 w 10000"/>
              <a:gd name="connsiteY2" fmla="*/ 161 h 9673"/>
              <a:gd name="connsiteX3" fmla="*/ 9895 w 10000"/>
              <a:gd name="connsiteY3" fmla="*/ 489 h 9673"/>
              <a:gd name="connsiteX4" fmla="*/ 9094 w 10000"/>
              <a:gd name="connsiteY4" fmla="*/ 653 h 9673"/>
              <a:gd name="connsiteX5" fmla="*/ 8815 w 10000"/>
              <a:gd name="connsiteY5" fmla="*/ 978 h 9673"/>
              <a:gd name="connsiteX6" fmla="*/ 8432 w 10000"/>
              <a:gd name="connsiteY6" fmla="*/ 1020 h 9673"/>
              <a:gd name="connsiteX7" fmla="*/ 8432 w 10000"/>
              <a:gd name="connsiteY7" fmla="*/ 1673 h 9673"/>
              <a:gd name="connsiteX8" fmla="*/ 7700 w 10000"/>
              <a:gd name="connsiteY8" fmla="*/ 2000 h 9673"/>
              <a:gd name="connsiteX9" fmla="*/ 7456 w 10000"/>
              <a:gd name="connsiteY9" fmla="*/ 2408 h 9673"/>
              <a:gd name="connsiteX10" fmla="*/ 6969 w 10000"/>
              <a:gd name="connsiteY10" fmla="*/ 2652 h 9673"/>
              <a:gd name="connsiteX11" fmla="*/ 6341 w 10000"/>
              <a:gd name="connsiteY11" fmla="*/ 2774 h 9673"/>
              <a:gd name="connsiteX12" fmla="*/ 5331 w 10000"/>
              <a:gd name="connsiteY12" fmla="*/ 3388 h 9673"/>
              <a:gd name="connsiteX13" fmla="*/ 5331 w 10000"/>
              <a:gd name="connsiteY13" fmla="*/ 4407 h 9673"/>
              <a:gd name="connsiteX14" fmla="*/ 5226 w 10000"/>
              <a:gd name="connsiteY14" fmla="*/ 4407 h 9673"/>
              <a:gd name="connsiteX15" fmla="*/ 5226 w 10000"/>
              <a:gd name="connsiteY15" fmla="*/ 4407 h 9673"/>
              <a:gd name="connsiteX16" fmla="*/ 5226 w 10000"/>
              <a:gd name="connsiteY16" fmla="*/ 4857 h 9673"/>
              <a:gd name="connsiteX17" fmla="*/ 4843 w 10000"/>
              <a:gd name="connsiteY17" fmla="*/ 4896 h 9673"/>
              <a:gd name="connsiteX18" fmla="*/ 4634 w 10000"/>
              <a:gd name="connsiteY18" fmla="*/ 5060 h 9673"/>
              <a:gd name="connsiteX19" fmla="*/ 4355 w 10000"/>
              <a:gd name="connsiteY19" fmla="*/ 5060 h 9673"/>
              <a:gd name="connsiteX20" fmla="*/ 4146 w 10000"/>
              <a:gd name="connsiteY20" fmla="*/ 4979 h 9673"/>
              <a:gd name="connsiteX21" fmla="*/ 3624 w 10000"/>
              <a:gd name="connsiteY21" fmla="*/ 5060 h 9673"/>
              <a:gd name="connsiteX22" fmla="*/ 3415 w 10000"/>
              <a:gd name="connsiteY22" fmla="*/ 5712 h 9673"/>
              <a:gd name="connsiteX23" fmla="*/ 3206 w 10000"/>
              <a:gd name="connsiteY23" fmla="*/ 5795 h 9673"/>
              <a:gd name="connsiteX24" fmla="*/ 2892 w 10000"/>
              <a:gd name="connsiteY24" fmla="*/ 6856 h 9673"/>
              <a:gd name="connsiteX25" fmla="*/ 2021 w 10000"/>
              <a:gd name="connsiteY25" fmla="*/ 7756 h 9673"/>
              <a:gd name="connsiteX26" fmla="*/ 1777 w 10000"/>
              <a:gd name="connsiteY26" fmla="*/ 8938 h 9673"/>
              <a:gd name="connsiteX27" fmla="*/ 1498 w 10000"/>
              <a:gd name="connsiteY27" fmla="*/ 9307 h 9673"/>
              <a:gd name="connsiteX28" fmla="*/ 1429 w 10000"/>
              <a:gd name="connsiteY28" fmla="*/ 9632 h 9673"/>
              <a:gd name="connsiteX29" fmla="*/ 0 w 10000"/>
              <a:gd name="connsiteY29" fmla="*/ 9673 h 9673"/>
              <a:gd name="connsiteX30" fmla="*/ 0 w 10000"/>
              <a:gd name="connsiteY30" fmla="*/ 9673 h 9673"/>
              <a:gd name="connsiteX31" fmla="*/ 35 w 10000"/>
              <a:gd name="connsiteY31" fmla="*/ 9307 h 9673"/>
              <a:gd name="connsiteX32" fmla="*/ 279 w 10000"/>
              <a:gd name="connsiteY32" fmla="*/ 9061 h 9673"/>
              <a:gd name="connsiteX33" fmla="*/ 488 w 10000"/>
              <a:gd name="connsiteY33" fmla="*/ 8611 h 9673"/>
              <a:gd name="connsiteX34" fmla="*/ 453 w 10000"/>
              <a:gd name="connsiteY34" fmla="*/ 8327 h 9673"/>
              <a:gd name="connsiteX35" fmla="*/ 697 w 10000"/>
              <a:gd name="connsiteY35" fmla="*/ 7713 h 9673"/>
              <a:gd name="connsiteX36" fmla="*/ 1045 w 10000"/>
              <a:gd name="connsiteY36" fmla="*/ 7182 h 9673"/>
              <a:gd name="connsiteX37" fmla="*/ 1289 w 10000"/>
              <a:gd name="connsiteY37" fmla="*/ 7060 h 9673"/>
              <a:gd name="connsiteX38" fmla="*/ 1463 w 10000"/>
              <a:gd name="connsiteY38" fmla="*/ 6571 h 9673"/>
              <a:gd name="connsiteX39" fmla="*/ 1463 w 10000"/>
              <a:gd name="connsiteY39" fmla="*/ 6122 h 9673"/>
              <a:gd name="connsiteX40" fmla="*/ 1707 w 10000"/>
              <a:gd name="connsiteY40" fmla="*/ 5592 h 9673"/>
              <a:gd name="connsiteX41" fmla="*/ 2125 w 10000"/>
              <a:gd name="connsiteY41" fmla="*/ 5267 h 9673"/>
              <a:gd name="connsiteX42" fmla="*/ 2544 w 10000"/>
              <a:gd name="connsiteY42" fmla="*/ 4407 h 9673"/>
              <a:gd name="connsiteX43" fmla="*/ 2578 w 10000"/>
              <a:gd name="connsiteY43" fmla="*/ 4407 h 9673"/>
              <a:gd name="connsiteX44" fmla="*/ 2892 w 10000"/>
              <a:gd name="connsiteY44" fmla="*/ 4082 h 9673"/>
              <a:gd name="connsiteX45" fmla="*/ 3449 w 10000"/>
              <a:gd name="connsiteY45" fmla="*/ 4000 h 9673"/>
              <a:gd name="connsiteX46" fmla="*/ 3972 w 10000"/>
              <a:gd name="connsiteY46" fmla="*/ 3427 h 9673"/>
              <a:gd name="connsiteX47" fmla="*/ 4286 w 10000"/>
              <a:gd name="connsiteY47" fmla="*/ 3183 h 9673"/>
              <a:gd name="connsiteX48" fmla="*/ 4808 w 10000"/>
              <a:gd name="connsiteY48" fmla="*/ 2489 h 9673"/>
              <a:gd name="connsiteX49" fmla="*/ 4669 w 10000"/>
              <a:gd name="connsiteY49" fmla="*/ 1429 h 9673"/>
              <a:gd name="connsiteX50" fmla="*/ 4913 w 10000"/>
              <a:gd name="connsiteY50" fmla="*/ 693 h 9673"/>
              <a:gd name="connsiteX51" fmla="*/ 5017 w 10000"/>
              <a:gd name="connsiteY51" fmla="*/ 244 h 9673"/>
              <a:gd name="connsiteX0" fmla="*/ 5017 w 9895"/>
              <a:gd name="connsiteY0" fmla="*/ 252 h 10000"/>
              <a:gd name="connsiteX1" fmla="*/ 9826 w 9895"/>
              <a:gd name="connsiteY1" fmla="*/ 0 h 10000"/>
              <a:gd name="connsiteX2" fmla="*/ 9895 w 9895"/>
              <a:gd name="connsiteY2" fmla="*/ 506 h 10000"/>
              <a:gd name="connsiteX3" fmla="*/ 9094 w 9895"/>
              <a:gd name="connsiteY3" fmla="*/ 675 h 10000"/>
              <a:gd name="connsiteX4" fmla="*/ 8815 w 9895"/>
              <a:gd name="connsiteY4" fmla="*/ 1011 h 10000"/>
              <a:gd name="connsiteX5" fmla="*/ 8432 w 9895"/>
              <a:gd name="connsiteY5" fmla="*/ 1054 h 10000"/>
              <a:gd name="connsiteX6" fmla="*/ 8432 w 9895"/>
              <a:gd name="connsiteY6" fmla="*/ 1730 h 10000"/>
              <a:gd name="connsiteX7" fmla="*/ 7700 w 9895"/>
              <a:gd name="connsiteY7" fmla="*/ 2068 h 10000"/>
              <a:gd name="connsiteX8" fmla="*/ 7456 w 9895"/>
              <a:gd name="connsiteY8" fmla="*/ 2489 h 10000"/>
              <a:gd name="connsiteX9" fmla="*/ 6969 w 9895"/>
              <a:gd name="connsiteY9" fmla="*/ 2742 h 10000"/>
              <a:gd name="connsiteX10" fmla="*/ 6341 w 9895"/>
              <a:gd name="connsiteY10" fmla="*/ 2868 h 10000"/>
              <a:gd name="connsiteX11" fmla="*/ 5331 w 9895"/>
              <a:gd name="connsiteY11" fmla="*/ 3503 h 10000"/>
              <a:gd name="connsiteX12" fmla="*/ 5331 w 9895"/>
              <a:gd name="connsiteY12" fmla="*/ 4556 h 10000"/>
              <a:gd name="connsiteX13" fmla="*/ 5226 w 9895"/>
              <a:gd name="connsiteY13" fmla="*/ 4556 h 10000"/>
              <a:gd name="connsiteX14" fmla="*/ 5226 w 9895"/>
              <a:gd name="connsiteY14" fmla="*/ 4556 h 10000"/>
              <a:gd name="connsiteX15" fmla="*/ 5226 w 9895"/>
              <a:gd name="connsiteY15" fmla="*/ 5021 h 10000"/>
              <a:gd name="connsiteX16" fmla="*/ 4843 w 9895"/>
              <a:gd name="connsiteY16" fmla="*/ 5062 h 10000"/>
              <a:gd name="connsiteX17" fmla="*/ 4634 w 9895"/>
              <a:gd name="connsiteY17" fmla="*/ 5231 h 10000"/>
              <a:gd name="connsiteX18" fmla="*/ 4355 w 9895"/>
              <a:gd name="connsiteY18" fmla="*/ 5231 h 10000"/>
              <a:gd name="connsiteX19" fmla="*/ 4146 w 9895"/>
              <a:gd name="connsiteY19" fmla="*/ 5147 h 10000"/>
              <a:gd name="connsiteX20" fmla="*/ 3624 w 9895"/>
              <a:gd name="connsiteY20" fmla="*/ 5231 h 10000"/>
              <a:gd name="connsiteX21" fmla="*/ 3415 w 9895"/>
              <a:gd name="connsiteY21" fmla="*/ 5905 h 10000"/>
              <a:gd name="connsiteX22" fmla="*/ 3206 w 9895"/>
              <a:gd name="connsiteY22" fmla="*/ 5991 h 10000"/>
              <a:gd name="connsiteX23" fmla="*/ 2892 w 9895"/>
              <a:gd name="connsiteY23" fmla="*/ 7088 h 10000"/>
              <a:gd name="connsiteX24" fmla="*/ 2021 w 9895"/>
              <a:gd name="connsiteY24" fmla="*/ 8018 h 10000"/>
              <a:gd name="connsiteX25" fmla="*/ 1777 w 9895"/>
              <a:gd name="connsiteY25" fmla="*/ 9240 h 10000"/>
              <a:gd name="connsiteX26" fmla="*/ 1498 w 9895"/>
              <a:gd name="connsiteY26" fmla="*/ 9622 h 10000"/>
              <a:gd name="connsiteX27" fmla="*/ 1429 w 9895"/>
              <a:gd name="connsiteY27" fmla="*/ 9958 h 10000"/>
              <a:gd name="connsiteX28" fmla="*/ 0 w 9895"/>
              <a:gd name="connsiteY28" fmla="*/ 10000 h 10000"/>
              <a:gd name="connsiteX29" fmla="*/ 0 w 9895"/>
              <a:gd name="connsiteY29" fmla="*/ 10000 h 10000"/>
              <a:gd name="connsiteX30" fmla="*/ 35 w 9895"/>
              <a:gd name="connsiteY30" fmla="*/ 9622 h 10000"/>
              <a:gd name="connsiteX31" fmla="*/ 279 w 9895"/>
              <a:gd name="connsiteY31" fmla="*/ 9367 h 10000"/>
              <a:gd name="connsiteX32" fmla="*/ 488 w 9895"/>
              <a:gd name="connsiteY32" fmla="*/ 8902 h 10000"/>
              <a:gd name="connsiteX33" fmla="*/ 453 w 9895"/>
              <a:gd name="connsiteY33" fmla="*/ 8608 h 10000"/>
              <a:gd name="connsiteX34" fmla="*/ 697 w 9895"/>
              <a:gd name="connsiteY34" fmla="*/ 7974 h 10000"/>
              <a:gd name="connsiteX35" fmla="*/ 1045 w 9895"/>
              <a:gd name="connsiteY35" fmla="*/ 7425 h 10000"/>
              <a:gd name="connsiteX36" fmla="*/ 1289 w 9895"/>
              <a:gd name="connsiteY36" fmla="*/ 7299 h 10000"/>
              <a:gd name="connsiteX37" fmla="*/ 1463 w 9895"/>
              <a:gd name="connsiteY37" fmla="*/ 6793 h 10000"/>
              <a:gd name="connsiteX38" fmla="*/ 1463 w 9895"/>
              <a:gd name="connsiteY38" fmla="*/ 6329 h 10000"/>
              <a:gd name="connsiteX39" fmla="*/ 1707 w 9895"/>
              <a:gd name="connsiteY39" fmla="*/ 5781 h 10000"/>
              <a:gd name="connsiteX40" fmla="*/ 2125 w 9895"/>
              <a:gd name="connsiteY40" fmla="*/ 5445 h 10000"/>
              <a:gd name="connsiteX41" fmla="*/ 2544 w 9895"/>
              <a:gd name="connsiteY41" fmla="*/ 4556 h 10000"/>
              <a:gd name="connsiteX42" fmla="*/ 2578 w 9895"/>
              <a:gd name="connsiteY42" fmla="*/ 4556 h 10000"/>
              <a:gd name="connsiteX43" fmla="*/ 2892 w 9895"/>
              <a:gd name="connsiteY43" fmla="*/ 4220 h 10000"/>
              <a:gd name="connsiteX44" fmla="*/ 3449 w 9895"/>
              <a:gd name="connsiteY44" fmla="*/ 4135 h 10000"/>
              <a:gd name="connsiteX45" fmla="*/ 3972 w 9895"/>
              <a:gd name="connsiteY45" fmla="*/ 3543 h 10000"/>
              <a:gd name="connsiteX46" fmla="*/ 4286 w 9895"/>
              <a:gd name="connsiteY46" fmla="*/ 3291 h 10000"/>
              <a:gd name="connsiteX47" fmla="*/ 4808 w 9895"/>
              <a:gd name="connsiteY47" fmla="*/ 2573 h 10000"/>
              <a:gd name="connsiteX48" fmla="*/ 4669 w 9895"/>
              <a:gd name="connsiteY48" fmla="*/ 1477 h 10000"/>
              <a:gd name="connsiteX49" fmla="*/ 4913 w 9895"/>
              <a:gd name="connsiteY49" fmla="*/ 716 h 10000"/>
              <a:gd name="connsiteX50" fmla="*/ 5017 w 9895"/>
              <a:gd name="connsiteY50" fmla="*/ 252 h 10000"/>
              <a:gd name="connsiteX0" fmla="*/ 5070 w 10000"/>
              <a:gd name="connsiteY0" fmla="*/ 0 h 9748"/>
              <a:gd name="connsiteX1" fmla="*/ 10000 w 10000"/>
              <a:gd name="connsiteY1" fmla="*/ 254 h 9748"/>
              <a:gd name="connsiteX2" fmla="*/ 9191 w 10000"/>
              <a:gd name="connsiteY2" fmla="*/ 423 h 9748"/>
              <a:gd name="connsiteX3" fmla="*/ 8909 w 10000"/>
              <a:gd name="connsiteY3" fmla="*/ 759 h 9748"/>
              <a:gd name="connsiteX4" fmla="*/ 8521 w 10000"/>
              <a:gd name="connsiteY4" fmla="*/ 802 h 9748"/>
              <a:gd name="connsiteX5" fmla="*/ 8521 w 10000"/>
              <a:gd name="connsiteY5" fmla="*/ 1478 h 9748"/>
              <a:gd name="connsiteX6" fmla="*/ 7782 w 10000"/>
              <a:gd name="connsiteY6" fmla="*/ 1816 h 9748"/>
              <a:gd name="connsiteX7" fmla="*/ 7535 w 10000"/>
              <a:gd name="connsiteY7" fmla="*/ 2237 h 9748"/>
              <a:gd name="connsiteX8" fmla="*/ 7043 w 10000"/>
              <a:gd name="connsiteY8" fmla="*/ 2490 h 9748"/>
              <a:gd name="connsiteX9" fmla="*/ 6408 w 10000"/>
              <a:gd name="connsiteY9" fmla="*/ 2616 h 9748"/>
              <a:gd name="connsiteX10" fmla="*/ 5388 w 10000"/>
              <a:gd name="connsiteY10" fmla="*/ 3251 h 9748"/>
              <a:gd name="connsiteX11" fmla="*/ 5388 w 10000"/>
              <a:gd name="connsiteY11" fmla="*/ 4304 h 9748"/>
              <a:gd name="connsiteX12" fmla="*/ 5281 w 10000"/>
              <a:gd name="connsiteY12" fmla="*/ 4304 h 9748"/>
              <a:gd name="connsiteX13" fmla="*/ 5281 w 10000"/>
              <a:gd name="connsiteY13" fmla="*/ 4304 h 9748"/>
              <a:gd name="connsiteX14" fmla="*/ 5281 w 10000"/>
              <a:gd name="connsiteY14" fmla="*/ 4769 h 9748"/>
              <a:gd name="connsiteX15" fmla="*/ 4894 w 10000"/>
              <a:gd name="connsiteY15" fmla="*/ 4810 h 9748"/>
              <a:gd name="connsiteX16" fmla="*/ 4683 w 10000"/>
              <a:gd name="connsiteY16" fmla="*/ 4979 h 9748"/>
              <a:gd name="connsiteX17" fmla="*/ 4401 w 10000"/>
              <a:gd name="connsiteY17" fmla="*/ 4979 h 9748"/>
              <a:gd name="connsiteX18" fmla="*/ 4190 w 10000"/>
              <a:gd name="connsiteY18" fmla="*/ 4895 h 9748"/>
              <a:gd name="connsiteX19" fmla="*/ 3662 w 10000"/>
              <a:gd name="connsiteY19" fmla="*/ 4979 h 9748"/>
              <a:gd name="connsiteX20" fmla="*/ 3451 w 10000"/>
              <a:gd name="connsiteY20" fmla="*/ 5653 h 9748"/>
              <a:gd name="connsiteX21" fmla="*/ 3240 w 10000"/>
              <a:gd name="connsiteY21" fmla="*/ 5739 h 9748"/>
              <a:gd name="connsiteX22" fmla="*/ 2923 w 10000"/>
              <a:gd name="connsiteY22" fmla="*/ 6836 h 9748"/>
              <a:gd name="connsiteX23" fmla="*/ 2042 w 10000"/>
              <a:gd name="connsiteY23" fmla="*/ 7766 h 9748"/>
              <a:gd name="connsiteX24" fmla="*/ 1796 w 10000"/>
              <a:gd name="connsiteY24" fmla="*/ 8988 h 9748"/>
              <a:gd name="connsiteX25" fmla="*/ 1514 w 10000"/>
              <a:gd name="connsiteY25" fmla="*/ 9370 h 9748"/>
              <a:gd name="connsiteX26" fmla="*/ 1444 w 10000"/>
              <a:gd name="connsiteY26" fmla="*/ 9706 h 9748"/>
              <a:gd name="connsiteX27" fmla="*/ 0 w 10000"/>
              <a:gd name="connsiteY27" fmla="*/ 9748 h 9748"/>
              <a:gd name="connsiteX28" fmla="*/ 0 w 10000"/>
              <a:gd name="connsiteY28" fmla="*/ 9748 h 9748"/>
              <a:gd name="connsiteX29" fmla="*/ 35 w 10000"/>
              <a:gd name="connsiteY29" fmla="*/ 9370 h 9748"/>
              <a:gd name="connsiteX30" fmla="*/ 282 w 10000"/>
              <a:gd name="connsiteY30" fmla="*/ 9115 h 9748"/>
              <a:gd name="connsiteX31" fmla="*/ 493 w 10000"/>
              <a:gd name="connsiteY31" fmla="*/ 8650 h 9748"/>
              <a:gd name="connsiteX32" fmla="*/ 458 w 10000"/>
              <a:gd name="connsiteY32" fmla="*/ 8356 h 9748"/>
              <a:gd name="connsiteX33" fmla="*/ 704 w 10000"/>
              <a:gd name="connsiteY33" fmla="*/ 7722 h 9748"/>
              <a:gd name="connsiteX34" fmla="*/ 1056 w 10000"/>
              <a:gd name="connsiteY34" fmla="*/ 7173 h 9748"/>
              <a:gd name="connsiteX35" fmla="*/ 1303 w 10000"/>
              <a:gd name="connsiteY35" fmla="*/ 7047 h 9748"/>
              <a:gd name="connsiteX36" fmla="*/ 1479 w 10000"/>
              <a:gd name="connsiteY36" fmla="*/ 6541 h 9748"/>
              <a:gd name="connsiteX37" fmla="*/ 1479 w 10000"/>
              <a:gd name="connsiteY37" fmla="*/ 6077 h 9748"/>
              <a:gd name="connsiteX38" fmla="*/ 1725 w 10000"/>
              <a:gd name="connsiteY38" fmla="*/ 5529 h 9748"/>
              <a:gd name="connsiteX39" fmla="*/ 2148 w 10000"/>
              <a:gd name="connsiteY39" fmla="*/ 5193 h 9748"/>
              <a:gd name="connsiteX40" fmla="*/ 2571 w 10000"/>
              <a:gd name="connsiteY40" fmla="*/ 4304 h 9748"/>
              <a:gd name="connsiteX41" fmla="*/ 2605 w 10000"/>
              <a:gd name="connsiteY41" fmla="*/ 4304 h 9748"/>
              <a:gd name="connsiteX42" fmla="*/ 2923 w 10000"/>
              <a:gd name="connsiteY42" fmla="*/ 3968 h 9748"/>
              <a:gd name="connsiteX43" fmla="*/ 3486 w 10000"/>
              <a:gd name="connsiteY43" fmla="*/ 3883 h 9748"/>
              <a:gd name="connsiteX44" fmla="*/ 4014 w 10000"/>
              <a:gd name="connsiteY44" fmla="*/ 3291 h 9748"/>
              <a:gd name="connsiteX45" fmla="*/ 4331 w 10000"/>
              <a:gd name="connsiteY45" fmla="*/ 3039 h 9748"/>
              <a:gd name="connsiteX46" fmla="*/ 4859 w 10000"/>
              <a:gd name="connsiteY46" fmla="*/ 2321 h 9748"/>
              <a:gd name="connsiteX47" fmla="*/ 4719 w 10000"/>
              <a:gd name="connsiteY47" fmla="*/ 1225 h 9748"/>
              <a:gd name="connsiteX48" fmla="*/ 4965 w 10000"/>
              <a:gd name="connsiteY48" fmla="*/ 464 h 9748"/>
              <a:gd name="connsiteX49" fmla="*/ 5070 w 10000"/>
              <a:gd name="connsiteY49" fmla="*/ 0 h 9748"/>
              <a:gd name="connsiteX0" fmla="*/ 5070 w 9191"/>
              <a:gd name="connsiteY0" fmla="*/ 0 h 10000"/>
              <a:gd name="connsiteX1" fmla="*/ 9191 w 9191"/>
              <a:gd name="connsiteY1" fmla="*/ 434 h 10000"/>
              <a:gd name="connsiteX2" fmla="*/ 8909 w 9191"/>
              <a:gd name="connsiteY2" fmla="*/ 779 h 10000"/>
              <a:gd name="connsiteX3" fmla="*/ 8521 w 9191"/>
              <a:gd name="connsiteY3" fmla="*/ 823 h 10000"/>
              <a:gd name="connsiteX4" fmla="*/ 8521 w 9191"/>
              <a:gd name="connsiteY4" fmla="*/ 1516 h 10000"/>
              <a:gd name="connsiteX5" fmla="*/ 7782 w 9191"/>
              <a:gd name="connsiteY5" fmla="*/ 1863 h 10000"/>
              <a:gd name="connsiteX6" fmla="*/ 7535 w 9191"/>
              <a:gd name="connsiteY6" fmla="*/ 2295 h 10000"/>
              <a:gd name="connsiteX7" fmla="*/ 7043 w 9191"/>
              <a:gd name="connsiteY7" fmla="*/ 2554 h 10000"/>
              <a:gd name="connsiteX8" fmla="*/ 6408 w 9191"/>
              <a:gd name="connsiteY8" fmla="*/ 2684 h 10000"/>
              <a:gd name="connsiteX9" fmla="*/ 5388 w 9191"/>
              <a:gd name="connsiteY9" fmla="*/ 3335 h 10000"/>
              <a:gd name="connsiteX10" fmla="*/ 5388 w 9191"/>
              <a:gd name="connsiteY10" fmla="*/ 4415 h 10000"/>
              <a:gd name="connsiteX11" fmla="*/ 5281 w 9191"/>
              <a:gd name="connsiteY11" fmla="*/ 4415 h 10000"/>
              <a:gd name="connsiteX12" fmla="*/ 5281 w 9191"/>
              <a:gd name="connsiteY12" fmla="*/ 4415 h 10000"/>
              <a:gd name="connsiteX13" fmla="*/ 5281 w 9191"/>
              <a:gd name="connsiteY13" fmla="*/ 4892 h 10000"/>
              <a:gd name="connsiteX14" fmla="*/ 4894 w 9191"/>
              <a:gd name="connsiteY14" fmla="*/ 4934 h 10000"/>
              <a:gd name="connsiteX15" fmla="*/ 4683 w 9191"/>
              <a:gd name="connsiteY15" fmla="*/ 5108 h 10000"/>
              <a:gd name="connsiteX16" fmla="*/ 4401 w 9191"/>
              <a:gd name="connsiteY16" fmla="*/ 5108 h 10000"/>
              <a:gd name="connsiteX17" fmla="*/ 4190 w 9191"/>
              <a:gd name="connsiteY17" fmla="*/ 5022 h 10000"/>
              <a:gd name="connsiteX18" fmla="*/ 3662 w 9191"/>
              <a:gd name="connsiteY18" fmla="*/ 5108 h 10000"/>
              <a:gd name="connsiteX19" fmla="*/ 3451 w 9191"/>
              <a:gd name="connsiteY19" fmla="*/ 5799 h 10000"/>
              <a:gd name="connsiteX20" fmla="*/ 3240 w 9191"/>
              <a:gd name="connsiteY20" fmla="*/ 5887 h 10000"/>
              <a:gd name="connsiteX21" fmla="*/ 2923 w 9191"/>
              <a:gd name="connsiteY21" fmla="*/ 7013 h 10000"/>
              <a:gd name="connsiteX22" fmla="*/ 2042 w 9191"/>
              <a:gd name="connsiteY22" fmla="*/ 7967 h 10000"/>
              <a:gd name="connsiteX23" fmla="*/ 1796 w 9191"/>
              <a:gd name="connsiteY23" fmla="*/ 9220 h 10000"/>
              <a:gd name="connsiteX24" fmla="*/ 1514 w 9191"/>
              <a:gd name="connsiteY24" fmla="*/ 9612 h 10000"/>
              <a:gd name="connsiteX25" fmla="*/ 1444 w 9191"/>
              <a:gd name="connsiteY25" fmla="*/ 9957 h 10000"/>
              <a:gd name="connsiteX26" fmla="*/ 0 w 9191"/>
              <a:gd name="connsiteY26" fmla="*/ 10000 h 10000"/>
              <a:gd name="connsiteX27" fmla="*/ 0 w 9191"/>
              <a:gd name="connsiteY27" fmla="*/ 10000 h 10000"/>
              <a:gd name="connsiteX28" fmla="*/ 35 w 9191"/>
              <a:gd name="connsiteY28" fmla="*/ 9612 h 10000"/>
              <a:gd name="connsiteX29" fmla="*/ 282 w 9191"/>
              <a:gd name="connsiteY29" fmla="*/ 9351 h 10000"/>
              <a:gd name="connsiteX30" fmla="*/ 493 w 9191"/>
              <a:gd name="connsiteY30" fmla="*/ 8874 h 10000"/>
              <a:gd name="connsiteX31" fmla="*/ 458 w 9191"/>
              <a:gd name="connsiteY31" fmla="*/ 8572 h 10000"/>
              <a:gd name="connsiteX32" fmla="*/ 704 w 9191"/>
              <a:gd name="connsiteY32" fmla="*/ 7922 h 10000"/>
              <a:gd name="connsiteX33" fmla="*/ 1056 w 9191"/>
              <a:gd name="connsiteY33" fmla="*/ 7358 h 10000"/>
              <a:gd name="connsiteX34" fmla="*/ 1303 w 9191"/>
              <a:gd name="connsiteY34" fmla="*/ 7229 h 10000"/>
              <a:gd name="connsiteX35" fmla="*/ 1479 w 9191"/>
              <a:gd name="connsiteY35" fmla="*/ 6710 h 10000"/>
              <a:gd name="connsiteX36" fmla="*/ 1479 w 9191"/>
              <a:gd name="connsiteY36" fmla="*/ 6234 h 10000"/>
              <a:gd name="connsiteX37" fmla="*/ 1725 w 9191"/>
              <a:gd name="connsiteY37" fmla="*/ 5672 h 10000"/>
              <a:gd name="connsiteX38" fmla="*/ 2148 w 9191"/>
              <a:gd name="connsiteY38" fmla="*/ 5327 h 10000"/>
              <a:gd name="connsiteX39" fmla="*/ 2571 w 9191"/>
              <a:gd name="connsiteY39" fmla="*/ 4415 h 10000"/>
              <a:gd name="connsiteX40" fmla="*/ 2605 w 9191"/>
              <a:gd name="connsiteY40" fmla="*/ 4415 h 10000"/>
              <a:gd name="connsiteX41" fmla="*/ 2923 w 9191"/>
              <a:gd name="connsiteY41" fmla="*/ 4071 h 10000"/>
              <a:gd name="connsiteX42" fmla="*/ 3486 w 9191"/>
              <a:gd name="connsiteY42" fmla="*/ 3983 h 10000"/>
              <a:gd name="connsiteX43" fmla="*/ 4014 w 9191"/>
              <a:gd name="connsiteY43" fmla="*/ 3376 h 10000"/>
              <a:gd name="connsiteX44" fmla="*/ 4331 w 9191"/>
              <a:gd name="connsiteY44" fmla="*/ 3118 h 10000"/>
              <a:gd name="connsiteX45" fmla="*/ 4859 w 9191"/>
              <a:gd name="connsiteY45" fmla="*/ 2381 h 10000"/>
              <a:gd name="connsiteX46" fmla="*/ 4719 w 9191"/>
              <a:gd name="connsiteY46" fmla="*/ 1257 h 10000"/>
              <a:gd name="connsiteX47" fmla="*/ 4965 w 9191"/>
              <a:gd name="connsiteY47" fmla="*/ 476 h 10000"/>
              <a:gd name="connsiteX48" fmla="*/ 5070 w 9191"/>
              <a:gd name="connsiteY48" fmla="*/ 0 h 10000"/>
              <a:gd name="connsiteX0" fmla="*/ 5516 w 9693"/>
              <a:gd name="connsiteY0" fmla="*/ 0 h 10000"/>
              <a:gd name="connsiteX1" fmla="*/ 9693 w 9693"/>
              <a:gd name="connsiteY1" fmla="*/ 779 h 10000"/>
              <a:gd name="connsiteX2" fmla="*/ 9271 w 9693"/>
              <a:gd name="connsiteY2" fmla="*/ 823 h 10000"/>
              <a:gd name="connsiteX3" fmla="*/ 9271 w 9693"/>
              <a:gd name="connsiteY3" fmla="*/ 1516 h 10000"/>
              <a:gd name="connsiteX4" fmla="*/ 8467 w 9693"/>
              <a:gd name="connsiteY4" fmla="*/ 1863 h 10000"/>
              <a:gd name="connsiteX5" fmla="*/ 8198 w 9693"/>
              <a:gd name="connsiteY5" fmla="*/ 2295 h 10000"/>
              <a:gd name="connsiteX6" fmla="*/ 7663 w 9693"/>
              <a:gd name="connsiteY6" fmla="*/ 2554 h 10000"/>
              <a:gd name="connsiteX7" fmla="*/ 6972 w 9693"/>
              <a:gd name="connsiteY7" fmla="*/ 2684 h 10000"/>
              <a:gd name="connsiteX8" fmla="*/ 5862 w 9693"/>
              <a:gd name="connsiteY8" fmla="*/ 3335 h 10000"/>
              <a:gd name="connsiteX9" fmla="*/ 5862 w 9693"/>
              <a:gd name="connsiteY9" fmla="*/ 4415 h 10000"/>
              <a:gd name="connsiteX10" fmla="*/ 5746 w 9693"/>
              <a:gd name="connsiteY10" fmla="*/ 4415 h 10000"/>
              <a:gd name="connsiteX11" fmla="*/ 5746 w 9693"/>
              <a:gd name="connsiteY11" fmla="*/ 4415 h 10000"/>
              <a:gd name="connsiteX12" fmla="*/ 5746 w 9693"/>
              <a:gd name="connsiteY12" fmla="*/ 4892 h 10000"/>
              <a:gd name="connsiteX13" fmla="*/ 5325 w 9693"/>
              <a:gd name="connsiteY13" fmla="*/ 4934 h 10000"/>
              <a:gd name="connsiteX14" fmla="*/ 5095 w 9693"/>
              <a:gd name="connsiteY14" fmla="*/ 5108 h 10000"/>
              <a:gd name="connsiteX15" fmla="*/ 4788 w 9693"/>
              <a:gd name="connsiteY15" fmla="*/ 5108 h 10000"/>
              <a:gd name="connsiteX16" fmla="*/ 4559 w 9693"/>
              <a:gd name="connsiteY16" fmla="*/ 5022 h 10000"/>
              <a:gd name="connsiteX17" fmla="*/ 3984 w 9693"/>
              <a:gd name="connsiteY17" fmla="*/ 5108 h 10000"/>
              <a:gd name="connsiteX18" fmla="*/ 3755 w 9693"/>
              <a:gd name="connsiteY18" fmla="*/ 5799 h 10000"/>
              <a:gd name="connsiteX19" fmla="*/ 3525 w 9693"/>
              <a:gd name="connsiteY19" fmla="*/ 5887 h 10000"/>
              <a:gd name="connsiteX20" fmla="*/ 3180 w 9693"/>
              <a:gd name="connsiteY20" fmla="*/ 7013 h 10000"/>
              <a:gd name="connsiteX21" fmla="*/ 2222 w 9693"/>
              <a:gd name="connsiteY21" fmla="*/ 7967 h 10000"/>
              <a:gd name="connsiteX22" fmla="*/ 1954 w 9693"/>
              <a:gd name="connsiteY22" fmla="*/ 9220 h 10000"/>
              <a:gd name="connsiteX23" fmla="*/ 1647 w 9693"/>
              <a:gd name="connsiteY23" fmla="*/ 9612 h 10000"/>
              <a:gd name="connsiteX24" fmla="*/ 1571 w 9693"/>
              <a:gd name="connsiteY24" fmla="*/ 9957 h 10000"/>
              <a:gd name="connsiteX25" fmla="*/ 0 w 9693"/>
              <a:gd name="connsiteY25" fmla="*/ 10000 h 10000"/>
              <a:gd name="connsiteX26" fmla="*/ 0 w 9693"/>
              <a:gd name="connsiteY26" fmla="*/ 10000 h 10000"/>
              <a:gd name="connsiteX27" fmla="*/ 38 w 9693"/>
              <a:gd name="connsiteY27" fmla="*/ 9612 h 10000"/>
              <a:gd name="connsiteX28" fmla="*/ 307 w 9693"/>
              <a:gd name="connsiteY28" fmla="*/ 9351 h 10000"/>
              <a:gd name="connsiteX29" fmla="*/ 536 w 9693"/>
              <a:gd name="connsiteY29" fmla="*/ 8874 h 10000"/>
              <a:gd name="connsiteX30" fmla="*/ 498 w 9693"/>
              <a:gd name="connsiteY30" fmla="*/ 8572 h 10000"/>
              <a:gd name="connsiteX31" fmla="*/ 766 w 9693"/>
              <a:gd name="connsiteY31" fmla="*/ 7922 h 10000"/>
              <a:gd name="connsiteX32" fmla="*/ 1149 w 9693"/>
              <a:gd name="connsiteY32" fmla="*/ 7358 h 10000"/>
              <a:gd name="connsiteX33" fmla="*/ 1418 w 9693"/>
              <a:gd name="connsiteY33" fmla="*/ 7229 h 10000"/>
              <a:gd name="connsiteX34" fmla="*/ 1609 w 9693"/>
              <a:gd name="connsiteY34" fmla="*/ 6710 h 10000"/>
              <a:gd name="connsiteX35" fmla="*/ 1609 w 9693"/>
              <a:gd name="connsiteY35" fmla="*/ 6234 h 10000"/>
              <a:gd name="connsiteX36" fmla="*/ 1877 w 9693"/>
              <a:gd name="connsiteY36" fmla="*/ 5672 h 10000"/>
              <a:gd name="connsiteX37" fmla="*/ 2337 w 9693"/>
              <a:gd name="connsiteY37" fmla="*/ 5327 h 10000"/>
              <a:gd name="connsiteX38" fmla="*/ 2797 w 9693"/>
              <a:gd name="connsiteY38" fmla="*/ 4415 h 10000"/>
              <a:gd name="connsiteX39" fmla="*/ 2834 w 9693"/>
              <a:gd name="connsiteY39" fmla="*/ 4415 h 10000"/>
              <a:gd name="connsiteX40" fmla="*/ 3180 w 9693"/>
              <a:gd name="connsiteY40" fmla="*/ 4071 h 10000"/>
              <a:gd name="connsiteX41" fmla="*/ 3793 w 9693"/>
              <a:gd name="connsiteY41" fmla="*/ 3983 h 10000"/>
              <a:gd name="connsiteX42" fmla="*/ 4367 w 9693"/>
              <a:gd name="connsiteY42" fmla="*/ 3376 h 10000"/>
              <a:gd name="connsiteX43" fmla="*/ 4712 w 9693"/>
              <a:gd name="connsiteY43" fmla="*/ 3118 h 10000"/>
              <a:gd name="connsiteX44" fmla="*/ 5287 w 9693"/>
              <a:gd name="connsiteY44" fmla="*/ 2381 h 10000"/>
              <a:gd name="connsiteX45" fmla="*/ 5134 w 9693"/>
              <a:gd name="connsiteY45" fmla="*/ 1257 h 10000"/>
              <a:gd name="connsiteX46" fmla="*/ 5402 w 9693"/>
              <a:gd name="connsiteY46" fmla="*/ 476 h 10000"/>
              <a:gd name="connsiteX47" fmla="*/ 5516 w 9693"/>
              <a:gd name="connsiteY47" fmla="*/ 0 h 10000"/>
              <a:gd name="connsiteX0" fmla="*/ 5573 w 10000"/>
              <a:gd name="connsiteY0" fmla="*/ 13 h 9537"/>
              <a:gd name="connsiteX1" fmla="*/ 10000 w 10000"/>
              <a:gd name="connsiteY1" fmla="*/ 316 h 9537"/>
              <a:gd name="connsiteX2" fmla="*/ 9565 w 10000"/>
              <a:gd name="connsiteY2" fmla="*/ 360 h 9537"/>
              <a:gd name="connsiteX3" fmla="*/ 9565 w 10000"/>
              <a:gd name="connsiteY3" fmla="*/ 1053 h 9537"/>
              <a:gd name="connsiteX4" fmla="*/ 8735 w 10000"/>
              <a:gd name="connsiteY4" fmla="*/ 1400 h 9537"/>
              <a:gd name="connsiteX5" fmla="*/ 8458 w 10000"/>
              <a:gd name="connsiteY5" fmla="*/ 1832 h 9537"/>
              <a:gd name="connsiteX6" fmla="*/ 7906 w 10000"/>
              <a:gd name="connsiteY6" fmla="*/ 2091 h 9537"/>
              <a:gd name="connsiteX7" fmla="*/ 7193 w 10000"/>
              <a:gd name="connsiteY7" fmla="*/ 2221 h 9537"/>
              <a:gd name="connsiteX8" fmla="*/ 6048 w 10000"/>
              <a:gd name="connsiteY8" fmla="*/ 2872 h 9537"/>
              <a:gd name="connsiteX9" fmla="*/ 6048 w 10000"/>
              <a:gd name="connsiteY9" fmla="*/ 3952 h 9537"/>
              <a:gd name="connsiteX10" fmla="*/ 5928 w 10000"/>
              <a:gd name="connsiteY10" fmla="*/ 3952 h 9537"/>
              <a:gd name="connsiteX11" fmla="*/ 5928 w 10000"/>
              <a:gd name="connsiteY11" fmla="*/ 3952 h 9537"/>
              <a:gd name="connsiteX12" fmla="*/ 5928 w 10000"/>
              <a:gd name="connsiteY12" fmla="*/ 4429 h 9537"/>
              <a:gd name="connsiteX13" fmla="*/ 5494 w 10000"/>
              <a:gd name="connsiteY13" fmla="*/ 4471 h 9537"/>
              <a:gd name="connsiteX14" fmla="*/ 5256 w 10000"/>
              <a:gd name="connsiteY14" fmla="*/ 4645 h 9537"/>
              <a:gd name="connsiteX15" fmla="*/ 4940 w 10000"/>
              <a:gd name="connsiteY15" fmla="*/ 4645 h 9537"/>
              <a:gd name="connsiteX16" fmla="*/ 4703 w 10000"/>
              <a:gd name="connsiteY16" fmla="*/ 4559 h 9537"/>
              <a:gd name="connsiteX17" fmla="*/ 4110 w 10000"/>
              <a:gd name="connsiteY17" fmla="*/ 4645 h 9537"/>
              <a:gd name="connsiteX18" fmla="*/ 3874 w 10000"/>
              <a:gd name="connsiteY18" fmla="*/ 5336 h 9537"/>
              <a:gd name="connsiteX19" fmla="*/ 3637 w 10000"/>
              <a:gd name="connsiteY19" fmla="*/ 5424 h 9537"/>
              <a:gd name="connsiteX20" fmla="*/ 3281 w 10000"/>
              <a:gd name="connsiteY20" fmla="*/ 6550 h 9537"/>
              <a:gd name="connsiteX21" fmla="*/ 2292 w 10000"/>
              <a:gd name="connsiteY21" fmla="*/ 7504 h 9537"/>
              <a:gd name="connsiteX22" fmla="*/ 2016 w 10000"/>
              <a:gd name="connsiteY22" fmla="*/ 8757 h 9537"/>
              <a:gd name="connsiteX23" fmla="*/ 1699 w 10000"/>
              <a:gd name="connsiteY23" fmla="*/ 9149 h 9537"/>
              <a:gd name="connsiteX24" fmla="*/ 1621 w 10000"/>
              <a:gd name="connsiteY24" fmla="*/ 9494 h 9537"/>
              <a:gd name="connsiteX25" fmla="*/ 0 w 10000"/>
              <a:gd name="connsiteY25" fmla="*/ 9537 h 9537"/>
              <a:gd name="connsiteX26" fmla="*/ 0 w 10000"/>
              <a:gd name="connsiteY26" fmla="*/ 9537 h 9537"/>
              <a:gd name="connsiteX27" fmla="*/ 39 w 10000"/>
              <a:gd name="connsiteY27" fmla="*/ 9149 h 9537"/>
              <a:gd name="connsiteX28" fmla="*/ 317 w 10000"/>
              <a:gd name="connsiteY28" fmla="*/ 8888 h 9537"/>
              <a:gd name="connsiteX29" fmla="*/ 553 w 10000"/>
              <a:gd name="connsiteY29" fmla="*/ 8411 h 9537"/>
              <a:gd name="connsiteX30" fmla="*/ 514 w 10000"/>
              <a:gd name="connsiteY30" fmla="*/ 8109 h 9537"/>
              <a:gd name="connsiteX31" fmla="*/ 790 w 10000"/>
              <a:gd name="connsiteY31" fmla="*/ 7459 h 9537"/>
              <a:gd name="connsiteX32" fmla="*/ 1185 w 10000"/>
              <a:gd name="connsiteY32" fmla="*/ 6895 h 9537"/>
              <a:gd name="connsiteX33" fmla="*/ 1463 w 10000"/>
              <a:gd name="connsiteY33" fmla="*/ 6766 h 9537"/>
              <a:gd name="connsiteX34" fmla="*/ 1660 w 10000"/>
              <a:gd name="connsiteY34" fmla="*/ 6247 h 9537"/>
              <a:gd name="connsiteX35" fmla="*/ 1660 w 10000"/>
              <a:gd name="connsiteY35" fmla="*/ 5771 h 9537"/>
              <a:gd name="connsiteX36" fmla="*/ 1936 w 10000"/>
              <a:gd name="connsiteY36" fmla="*/ 5209 h 9537"/>
              <a:gd name="connsiteX37" fmla="*/ 2411 w 10000"/>
              <a:gd name="connsiteY37" fmla="*/ 4864 h 9537"/>
              <a:gd name="connsiteX38" fmla="*/ 2886 w 10000"/>
              <a:gd name="connsiteY38" fmla="*/ 3952 h 9537"/>
              <a:gd name="connsiteX39" fmla="*/ 2924 w 10000"/>
              <a:gd name="connsiteY39" fmla="*/ 3952 h 9537"/>
              <a:gd name="connsiteX40" fmla="*/ 3281 w 10000"/>
              <a:gd name="connsiteY40" fmla="*/ 3608 h 9537"/>
              <a:gd name="connsiteX41" fmla="*/ 3913 w 10000"/>
              <a:gd name="connsiteY41" fmla="*/ 3520 h 9537"/>
              <a:gd name="connsiteX42" fmla="*/ 4505 w 10000"/>
              <a:gd name="connsiteY42" fmla="*/ 2913 h 9537"/>
              <a:gd name="connsiteX43" fmla="*/ 4861 w 10000"/>
              <a:gd name="connsiteY43" fmla="*/ 2655 h 9537"/>
              <a:gd name="connsiteX44" fmla="*/ 5454 w 10000"/>
              <a:gd name="connsiteY44" fmla="*/ 1918 h 9537"/>
              <a:gd name="connsiteX45" fmla="*/ 5297 w 10000"/>
              <a:gd name="connsiteY45" fmla="*/ 794 h 9537"/>
              <a:gd name="connsiteX46" fmla="*/ 5573 w 10000"/>
              <a:gd name="connsiteY46" fmla="*/ 13 h 9537"/>
              <a:gd name="connsiteX0" fmla="*/ 5297 w 10000"/>
              <a:gd name="connsiteY0" fmla="*/ 502 h 9669"/>
              <a:gd name="connsiteX1" fmla="*/ 10000 w 10000"/>
              <a:gd name="connsiteY1" fmla="*/ 0 h 9669"/>
              <a:gd name="connsiteX2" fmla="*/ 9565 w 10000"/>
              <a:gd name="connsiteY2" fmla="*/ 46 h 9669"/>
              <a:gd name="connsiteX3" fmla="*/ 9565 w 10000"/>
              <a:gd name="connsiteY3" fmla="*/ 773 h 9669"/>
              <a:gd name="connsiteX4" fmla="*/ 8735 w 10000"/>
              <a:gd name="connsiteY4" fmla="*/ 1137 h 9669"/>
              <a:gd name="connsiteX5" fmla="*/ 8458 w 10000"/>
              <a:gd name="connsiteY5" fmla="*/ 1590 h 9669"/>
              <a:gd name="connsiteX6" fmla="*/ 7906 w 10000"/>
              <a:gd name="connsiteY6" fmla="*/ 1862 h 9669"/>
              <a:gd name="connsiteX7" fmla="*/ 7193 w 10000"/>
              <a:gd name="connsiteY7" fmla="*/ 1998 h 9669"/>
              <a:gd name="connsiteX8" fmla="*/ 6048 w 10000"/>
              <a:gd name="connsiteY8" fmla="*/ 2680 h 9669"/>
              <a:gd name="connsiteX9" fmla="*/ 6048 w 10000"/>
              <a:gd name="connsiteY9" fmla="*/ 3813 h 9669"/>
              <a:gd name="connsiteX10" fmla="*/ 5928 w 10000"/>
              <a:gd name="connsiteY10" fmla="*/ 3813 h 9669"/>
              <a:gd name="connsiteX11" fmla="*/ 5928 w 10000"/>
              <a:gd name="connsiteY11" fmla="*/ 3813 h 9669"/>
              <a:gd name="connsiteX12" fmla="*/ 5928 w 10000"/>
              <a:gd name="connsiteY12" fmla="*/ 4313 h 9669"/>
              <a:gd name="connsiteX13" fmla="*/ 5494 w 10000"/>
              <a:gd name="connsiteY13" fmla="*/ 4357 h 9669"/>
              <a:gd name="connsiteX14" fmla="*/ 5256 w 10000"/>
              <a:gd name="connsiteY14" fmla="*/ 4540 h 9669"/>
              <a:gd name="connsiteX15" fmla="*/ 4940 w 10000"/>
              <a:gd name="connsiteY15" fmla="*/ 4540 h 9669"/>
              <a:gd name="connsiteX16" fmla="*/ 4703 w 10000"/>
              <a:gd name="connsiteY16" fmla="*/ 4449 h 9669"/>
              <a:gd name="connsiteX17" fmla="*/ 4110 w 10000"/>
              <a:gd name="connsiteY17" fmla="*/ 4540 h 9669"/>
              <a:gd name="connsiteX18" fmla="*/ 3874 w 10000"/>
              <a:gd name="connsiteY18" fmla="*/ 5264 h 9669"/>
              <a:gd name="connsiteX19" fmla="*/ 3637 w 10000"/>
              <a:gd name="connsiteY19" fmla="*/ 5356 h 9669"/>
              <a:gd name="connsiteX20" fmla="*/ 3281 w 10000"/>
              <a:gd name="connsiteY20" fmla="*/ 6537 h 9669"/>
              <a:gd name="connsiteX21" fmla="*/ 2292 w 10000"/>
              <a:gd name="connsiteY21" fmla="*/ 7537 h 9669"/>
              <a:gd name="connsiteX22" fmla="*/ 2016 w 10000"/>
              <a:gd name="connsiteY22" fmla="*/ 8851 h 9669"/>
              <a:gd name="connsiteX23" fmla="*/ 1699 w 10000"/>
              <a:gd name="connsiteY23" fmla="*/ 9262 h 9669"/>
              <a:gd name="connsiteX24" fmla="*/ 1621 w 10000"/>
              <a:gd name="connsiteY24" fmla="*/ 9624 h 9669"/>
              <a:gd name="connsiteX25" fmla="*/ 0 w 10000"/>
              <a:gd name="connsiteY25" fmla="*/ 9669 h 9669"/>
              <a:gd name="connsiteX26" fmla="*/ 0 w 10000"/>
              <a:gd name="connsiteY26" fmla="*/ 9669 h 9669"/>
              <a:gd name="connsiteX27" fmla="*/ 39 w 10000"/>
              <a:gd name="connsiteY27" fmla="*/ 9262 h 9669"/>
              <a:gd name="connsiteX28" fmla="*/ 317 w 10000"/>
              <a:gd name="connsiteY28" fmla="*/ 8988 h 9669"/>
              <a:gd name="connsiteX29" fmla="*/ 553 w 10000"/>
              <a:gd name="connsiteY29" fmla="*/ 8488 h 9669"/>
              <a:gd name="connsiteX30" fmla="*/ 514 w 10000"/>
              <a:gd name="connsiteY30" fmla="*/ 8172 h 9669"/>
              <a:gd name="connsiteX31" fmla="*/ 790 w 10000"/>
              <a:gd name="connsiteY31" fmla="*/ 7490 h 9669"/>
              <a:gd name="connsiteX32" fmla="*/ 1185 w 10000"/>
              <a:gd name="connsiteY32" fmla="*/ 6899 h 9669"/>
              <a:gd name="connsiteX33" fmla="*/ 1463 w 10000"/>
              <a:gd name="connsiteY33" fmla="*/ 6763 h 9669"/>
              <a:gd name="connsiteX34" fmla="*/ 1660 w 10000"/>
              <a:gd name="connsiteY34" fmla="*/ 6219 h 9669"/>
              <a:gd name="connsiteX35" fmla="*/ 1660 w 10000"/>
              <a:gd name="connsiteY35" fmla="*/ 5720 h 9669"/>
              <a:gd name="connsiteX36" fmla="*/ 1936 w 10000"/>
              <a:gd name="connsiteY36" fmla="*/ 5131 h 9669"/>
              <a:gd name="connsiteX37" fmla="*/ 2411 w 10000"/>
              <a:gd name="connsiteY37" fmla="*/ 4769 h 9669"/>
              <a:gd name="connsiteX38" fmla="*/ 2886 w 10000"/>
              <a:gd name="connsiteY38" fmla="*/ 3813 h 9669"/>
              <a:gd name="connsiteX39" fmla="*/ 2924 w 10000"/>
              <a:gd name="connsiteY39" fmla="*/ 3813 h 9669"/>
              <a:gd name="connsiteX40" fmla="*/ 3281 w 10000"/>
              <a:gd name="connsiteY40" fmla="*/ 3452 h 9669"/>
              <a:gd name="connsiteX41" fmla="*/ 3913 w 10000"/>
              <a:gd name="connsiteY41" fmla="*/ 3360 h 9669"/>
              <a:gd name="connsiteX42" fmla="*/ 4505 w 10000"/>
              <a:gd name="connsiteY42" fmla="*/ 2723 h 9669"/>
              <a:gd name="connsiteX43" fmla="*/ 4861 w 10000"/>
              <a:gd name="connsiteY43" fmla="*/ 2453 h 9669"/>
              <a:gd name="connsiteX44" fmla="*/ 5454 w 10000"/>
              <a:gd name="connsiteY44" fmla="*/ 1680 h 9669"/>
              <a:gd name="connsiteX45" fmla="*/ 5297 w 10000"/>
              <a:gd name="connsiteY45" fmla="*/ 502 h 9669"/>
              <a:gd name="connsiteX0" fmla="*/ 5297 w 10000"/>
              <a:gd name="connsiteY0" fmla="*/ 519 h 10000"/>
              <a:gd name="connsiteX1" fmla="*/ 10000 w 10000"/>
              <a:gd name="connsiteY1" fmla="*/ 0 h 10000"/>
              <a:gd name="connsiteX2" fmla="*/ 9565 w 10000"/>
              <a:gd name="connsiteY2" fmla="*/ 799 h 10000"/>
              <a:gd name="connsiteX3" fmla="*/ 8735 w 10000"/>
              <a:gd name="connsiteY3" fmla="*/ 1176 h 10000"/>
              <a:gd name="connsiteX4" fmla="*/ 8458 w 10000"/>
              <a:gd name="connsiteY4" fmla="*/ 1644 h 10000"/>
              <a:gd name="connsiteX5" fmla="*/ 7906 w 10000"/>
              <a:gd name="connsiteY5" fmla="*/ 1926 h 10000"/>
              <a:gd name="connsiteX6" fmla="*/ 7193 w 10000"/>
              <a:gd name="connsiteY6" fmla="*/ 2066 h 10000"/>
              <a:gd name="connsiteX7" fmla="*/ 6048 w 10000"/>
              <a:gd name="connsiteY7" fmla="*/ 2772 h 10000"/>
              <a:gd name="connsiteX8" fmla="*/ 6048 w 10000"/>
              <a:gd name="connsiteY8" fmla="*/ 3944 h 10000"/>
              <a:gd name="connsiteX9" fmla="*/ 5928 w 10000"/>
              <a:gd name="connsiteY9" fmla="*/ 3944 h 10000"/>
              <a:gd name="connsiteX10" fmla="*/ 5928 w 10000"/>
              <a:gd name="connsiteY10" fmla="*/ 3944 h 10000"/>
              <a:gd name="connsiteX11" fmla="*/ 5928 w 10000"/>
              <a:gd name="connsiteY11" fmla="*/ 4461 h 10000"/>
              <a:gd name="connsiteX12" fmla="*/ 5494 w 10000"/>
              <a:gd name="connsiteY12" fmla="*/ 4506 h 10000"/>
              <a:gd name="connsiteX13" fmla="*/ 5256 w 10000"/>
              <a:gd name="connsiteY13" fmla="*/ 4695 h 10000"/>
              <a:gd name="connsiteX14" fmla="*/ 4940 w 10000"/>
              <a:gd name="connsiteY14" fmla="*/ 4695 h 10000"/>
              <a:gd name="connsiteX15" fmla="*/ 4703 w 10000"/>
              <a:gd name="connsiteY15" fmla="*/ 4601 h 10000"/>
              <a:gd name="connsiteX16" fmla="*/ 4110 w 10000"/>
              <a:gd name="connsiteY16" fmla="*/ 4695 h 10000"/>
              <a:gd name="connsiteX17" fmla="*/ 3874 w 10000"/>
              <a:gd name="connsiteY17" fmla="*/ 5444 h 10000"/>
              <a:gd name="connsiteX18" fmla="*/ 3637 w 10000"/>
              <a:gd name="connsiteY18" fmla="*/ 5539 h 10000"/>
              <a:gd name="connsiteX19" fmla="*/ 3281 w 10000"/>
              <a:gd name="connsiteY19" fmla="*/ 6761 h 10000"/>
              <a:gd name="connsiteX20" fmla="*/ 2292 w 10000"/>
              <a:gd name="connsiteY20" fmla="*/ 7795 h 10000"/>
              <a:gd name="connsiteX21" fmla="*/ 2016 w 10000"/>
              <a:gd name="connsiteY21" fmla="*/ 9154 h 10000"/>
              <a:gd name="connsiteX22" fmla="*/ 1699 w 10000"/>
              <a:gd name="connsiteY22" fmla="*/ 9579 h 10000"/>
              <a:gd name="connsiteX23" fmla="*/ 1621 w 10000"/>
              <a:gd name="connsiteY23" fmla="*/ 9953 h 10000"/>
              <a:gd name="connsiteX24" fmla="*/ 0 w 10000"/>
              <a:gd name="connsiteY24" fmla="*/ 10000 h 10000"/>
              <a:gd name="connsiteX25" fmla="*/ 0 w 10000"/>
              <a:gd name="connsiteY25" fmla="*/ 10000 h 10000"/>
              <a:gd name="connsiteX26" fmla="*/ 39 w 10000"/>
              <a:gd name="connsiteY26" fmla="*/ 9579 h 10000"/>
              <a:gd name="connsiteX27" fmla="*/ 317 w 10000"/>
              <a:gd name="connsiteY27" fmla="*/ 9296 h 10000"/>
              <a:gd name="connsiteX28" fmla="*/ 553 w 10000"/>
              <a:gd name="connsiteY28" fmla="*/ 8779 h 10000"/>
              <a:gd name="connsiteX29" fmla="*/ 514 w 10000"/>
              <a:gd name="connsiteY29" fmla="*/ 8452 h 10000"/>
              <a:gd name="connsiteX30" fmla="*/ 790 w 10000"/>
              <a:gd name="connsiteY30" fmla="*/ 7746 h 10000"/>
              <a:gd name="connsiteX31" fmla="*/ 1185 w 10000"/>
              <a:gd name="connsiteY31" fmla="*/ 7135 h 10000"/>
              <a:gd name="connsiteX32" fmla="*/ 1463 w 10000"/>
              <a:gd name="connsiteY32" fmla="*/ 6995 h 10000"/>
              <a:gd name="connsiteX33" fmla="*/ 1660 w 10000"/>
              <a:gd name="connsiteY33" fmla="*/ 6432 h 10000"/>
              <a:gd name="connsiteX34" fmla="*/ 1660 w 10000"/>
              <a:gd name="connsiteY34" fmla="*/ 5916 h 10000"/>
              <a:gd name="connsiteX35" fmla="*/ 1936 w 10000"/>
              <a:gd name="connsiteY35" fmla="*/ 5307 h 10000"/>
              <a:gd name="connsiteX36" fmla="*/ 2411 w 10000"/>
              <a:gd name="connsiteY36" fmla="*/ 4932 h 10000"/>
              <a:gd name="connsiteX37" fmla="*/ 2886 w 10000"/>
              <a:gd name="connsiteY37" fmla="*/ 3944 h 10000"/>
              <a:gd name="connsiteX38" fmla="*/ 2924 w 10000"/>
              <a:gd name="connsiteY38" fmla="*/ 3944 h 10000"/>
              <a:gd name="connsiteX39" fmla="*/ 3281 w 10000"/>
              <a:gd name="connsiteY39" fmla="*/ 3570 h 10000"/>
              <a:gd name="connsiteX40" fmla="*/ 3913 w 10000"/>
              <a:gd name="connsiteY40" fmla="*/ 3475 h 10000"/>
              <a:gd name="connsiteX41" fmla="*/ 4505 w 10000"/>
              <a:gd name="connsiteY41" fmla="*/ 2816 h 10000"/>
              <a:gd name="connsiteX42" fmla="*/ 4861 w 10000"/>
              <a:gd name="connsiteY42" fmla="*/ 2537 h 10000"/>
              <a:gd name="connsiteX43" fmla="*/ 5454 w 10000"/>
              <a:gd name="connsiteY43" fmla="*/ 1738 h 10000"/>
              <a:gd name="connsiteX44" fmla="*/ 5297 w 10000"/>
              <a:gd name="connsiteY44" fmla="*/ 519 h 10000"/>
              <a:gd name="connsiteX0" fmla="*/ 5297 w 9565"/>
              <a:gd name="connsiteY0" fmla="*/ 42 h 9523"/>
              <a:gd name="connsiteX1" fmla="*/ 9565 w 9565"/>
              <a:gd name="connsiteY1" fmla="*/ 322 h 9523"/>
              <a:gd name="connsiteX2" fmla="*/ 8735 w 9565"/>
              <a:gd name="connsiteY2" fmla="*/ 699 h 9523"/>
              <a:gd name="connsiteX3" fmla="*/ 8458 w 9565"/>
              <a:gd name="connsiteY3" fmla="*/ 1167 h 9523"/>
              <a:gd name="connsiteX4" fmla="*/ 7906 w 9565"/>
              <a:gd name="connsiteY4" fmla="*/ 1449 h 9523"/>
              <a:gd name="connsiteX5" fmla="*/ 7193 w 9565"/>
              <a:gd name="connsiteY5" fmla="*/ 1589 h 9523"/>
              <a:gd name="connsiteX6" fmla="*/ 6048 w 9565"/>
              <a:gd name="connsiteY6" fmla="*/ 2295 h 9523"/>
              <a:gd name="connsiteX7" fmla="*/ 6048 w 9565"/>
              <a:gd name="connsiteY7" fmla="*/ 3467 h 9523"/>
              <a:gd name="connsiteX8" fmla="*/ 5928 w 9565"/>
              <a:gd name="connsiteY8" fmla="*/ 3467 h 9523"/>
              <a:gd name="connsiteX9" fmla="*/ 5928 w 9565"/>
              <a:gd name="connsiteY9" fmla="*/ 3467 h 9523"/>
              <a:gd name="connsiteX10" fmla="*/ 5928 w 9565"/>
              <a:gd name="connsiteY10" fmla="*/ 3984 h 9523"/>
              <a:gd name="connsiteX11" fmla="*/ 5494 w 9565"/>
              <a:gd name="connsiteY11" fmla="*/ 4029 h 9523"/>
              <a:gd name="connsiteX12" fmla="*/ 5256 w 9565"/>
              <a:gd name="connsiteY12" fmla="*/ 4218 h 9523"/>
              <a:gd name="connsiteX13" fmla="*/ 4940 w 9565"/>
              <a:gd name="connsiteY13" fmla="*/ 4218 h 9523"/>
              <a:gd name="connsiteX14" fmla="*/ 4703 w 9565"/>
              <a:gd name="connsiteY14" fmla="*/ 4124 h 9523"/>
              <a:gd name="connsiteX15" fmla="*/ 4110 w 9565"/>
              <a:gd name="connsiteY15" fmla="*/ 4218 h 9523"/>
              <a:gd name="connsiteX16" fmla="*/ 3874 w 9565"/>
              <a:gd name="connsiteY16" fmla="*/ 4967 h 9523"/>
              <a:gd name="connsiteX17" fmla="*/ 3637 w 9565"/>
              <a:gd name="connsiteY17" fmla="*/ 5062 h 9523"/>
              <a:gd name="connsiteX18" fmla="*/ 3281 w 9565"/>
              <a:gd name="connsiteY18" fmla="*/ 6284 h 9523"/>
              <a:gd name="connsiteX19" fmla="*/ 2292 w 9565"/>
              <a:gd name="connsiteY19" fmla="*/ 7318 h 9523"/>
              <a:gd name="connsiteX20" fmla="*/ 2016 w 9565"/>
              <a:gd name="connsiteY20" fmla="*/ 8677 h 9523"/>
              <a:gd name="connsiteX21" fmla="*/ 1699 w 9565"/>
              <a:gd name="connsiteY21" fmla="*/ 9102 h 9523"/>
              <a:gd name="connsiteX22" fmla="*/ 1621 w 9565"/>
              <a:gd name="connsiteY22" fmla="*/ 9476 h 9523"/>
              <a:gd name="connsiteX23" fmla="*/ 0 w 9565"/>
              <a:gd name="connsiteY23" fmla="*/ 9523 h 9523"/>
              <a:gd name="connsiteX24" fmla="*/ 0 w 9565"/>
              <a:gd name="connsiteY24" fmla="*/ 9523 h 9523"/>
              <a:gd name="connsiteX25" fmla="*/ 39 w 9565"/>
              <a:gd name="connsiteY25" fmla="*/ 9102 h 9523"/>
              <a:gd name="connsiteX26" fmla="*/ 317 w 9565"/>
              <a:gd name="connsiteY26" fmla="*/ 8819 h 9523"/>
              <a:gd name="connsiteX27" fmla="*/ 553 w 9565"/>
              <a:gd name="connsiteY27" fmla="*/ 8302 h 9523"/>
              <a:gd name="connsiteX28" fmla="*/ 514 w 9565"/>
              <a:gd name="connsiteY28" fmla="*/ 7975 h 9523"/>
              <a:gd name="connsiteX29" fmla="*/ 790 w 9565"/>
              <a:gd name="connsiteY29" fmla="*/ 7269 h 9523"/>
              <a:gd name="connsiteX30" fmla="*/ 1185 w 9565"/>
              <a:gd name="connsiteY30" fmla="*/ 6658 h 9523"/>
              <a:gd name="connsiteX31" fmla="*/ 1463 w 9565"/>
              <a:gd name="connsiteY31" fmla="*/ 6518 h 9523"/>
              <a:gd name="connsiteX32" fmla="*/ 1660 w 9565"/>
              <a:gd name="connsiteY32" fmla="*/ 5955 h 9523"/>
              <a:gd name="connsiteX33" fmla="*/ 1660 w 9565"/>
              <a:gd name="connsiteY33" fmla="*/ 5439 h 9523"/>
              <a:gd name="connsiteX34" fmla="*/ 1936 w 9565"/>
              <a:gd name="connsiteY34" fmla="*/ 4830 h 9523"/>
              <a:gd name="connsiteX35" fmla="*/ 2411 w 9565"/>
              <a:gd name="connsiteY35" fmla="*/ 4455 h 9523"/>
              <a:gd name="connsiteX36" fmla="*/ 2886 w 9565"/>
              <a:gd name="connsiteY36" fmla="*/ 3467 h 9523"/>
              <a:gd name="connsiteX37" fmla="*/ 2924 w 9565"/>
              <a:gd name="connsiteY37" fmla="*/ 3467 h 9523"/>
              <a:gd name="connsiteX38" fmla="*/ 3281 w 9565"/>
              <a:gd name="connsiteY38" fmla="*/ 3093 h 9523"/>
              <a:gd name="connsiteX39" fmla="*/ 3913 w 9565"/>
              <a:gd name="connsiteY39" fmla="*/ 2998 h 9523"/>
              <a:gd name="connsiteX40" fmla="*/ 4505 w 9565"/>
              <a:gd name="connsiteY40" fmla="*/ 2339 h 9523"/>
              <a:gd name="connsiteX41" fmla="*/ 4861 w 9565"/>
              <a:gd name="connsiteY41" fmla="*/ 2060 h 9523"/>
              <a:gd name="connsiteX42" fmla="*/ 5454 w 9565"/>
              <a:gd name="connsiteY42" fmla="*/ 1261 h 9523"/>
              <a:gd name="connsiteX43" fmla="*/ 5297 w 9565"/>
              <a:gd name="connsiteY43" fmla="*/ 42 h 9523"/>
              <a:gd name="connsiteX0" fmla="*/ 5538 w 9132"/>
              <a:gd name="connsiteY0" fmla="*/ 11 h 9967"/>
              <a:gd name="connsiteX1" fmla="*/ 9132 w 9132"/>
              <a:gd name="connsiteY1" fmla="*/ 701 h 9967"/>
              <a:gd name="connsiteX2" fmla="*/ 8843 w 9132"/>
              <a:gd name="connsiteY2" fmla="*/ 1192 h 9967"/>
              <a:gd name="connsiteX3" fmla="*/ 8266 w 9132"/>
              <a:gd name="connsiteY3" fmla="*/ 1489 h 9967"/>
              <a:gd name="connsiteX4" fmla="*/ 7520 w 9132"/>
              <a:gd name="connsiteY4" fmla="*/ 1636 h 9967"/>
              <a:gd name="connsiteX5" fmla="*/ 6323 w 9132"/>
              <a:gd name="connsiteY5" fmla="*/ 2377 h 9967"/>
              <a:gd name="connsiteX6" fmla="*/ 6323 w 9132"/>
              <a:gd name="connsiteY6" fmla="*/ 3608 h 9967"/>
              <a:gd name="connsiteX7" fmla="*/ 6198 w 9132"/>
              <a:gd name="connsiteY7" fmla="*/ 3608 h 9967"/>
              <a:gd name="connsiteX8" fmla="*/ 6198 w 9132"/>
              <a:gd name="connsiteY8" fmla="*/ 3608 h 9967"/>
              <a:gd name="connsiteX9" fmla="*/ 6198 w 9132"/>
              <a:gd name="connsiteY9" fmla="*/ 4151 h 9967"/>
              <a:gd name="connsiteX10" fmla="*/ 5744 w 9132"/>
              <a:gd name="connsiteY10" fmla="*/ 4198 h 9967"/>
              <a:gd name="connsiteX11" fmla="*/ 5495 w 9132"/>
              <a:gd name="connsiteY11" fmla="*/ 4396 h 9967"/>
              <a:gd name="connsiteX12" fmla="*/ 5165 w 9132"/>
              <a:gd name="connsiteY12" fmla="*/ 4396 h 9967"/>
              <a:gd name="connsiteX13" fmla="*/ 4917 w 9132"/>
              <a:gd name="connsiteY13" fmla="*/ 4298 h 9967"/>
              <a:gd name="connsiteX14" fmla="*/ 4297 w 9132"/>
              <a:gd name="connsiteY14" fmla="*/ 4396 h 9967"/>
              <a:gd name="connsiteX15" fmla="*/ 4050 w 9132"/>
              <a:gd name="connsiteY15" fmla="*/ 5183 h 9967"/>
              <a:gd name="connsiteX16" fmla="*/ 3802 w 9132"/>
              <a:gd name="connsiteY16" fmla="*/ 5283 h 9967"/>
              <a:gd name="connsiteX17" fmla="*/ 3430 w 9132"/>
              <a:gd name="connsiteY17" fmla="*/ 6566 h 9967"/>
              <a:gd name="connsiteX18" fmla="*/ 2396 w 9132"/>
              <a:gd name="connsiteY18" fmla="*/ 7652 h 9967"/>
              <a:gd name="connsiteX19" fmla="*/ 2108 w 9132"/>
              <a:gd name="connsiteY19" fmla="*/ 9079 h 9967"/>
              <a:gd name="connsiteX20" fmla="*/ 1776 w 9132"/>
              <a:gd name="connsiteY20" fmla="*/ 9525 h 9967"/>
              <a:gd name="connsiteX21" fmla="*/ 1695 w 9132"/>
              <a:gd name="connsiteY21" fmla="*/ 9918 h 9967"/>
              <a:gd name="connsiteX22" fmla="*/ 0 w 9132"/>
              <a:gd name="connsiteY22" fmla="*/ 9967 h 9967"/>
              <a:gd name="connsiteX23" fmla="*/ 0 w 9132"/>
              <a:gd name="connsiteY23" fmla="*/ 9967 h 9967"/>
              <a:gd name="connsiteX24" fmla="*/ 41 w 9132"/>
              <a:gd name="connsiteY24" fmla="*/ 9525 h 9967"/>
              <a:gd name="connsiteX25" fmla="*/ 331 w 9132"/>
              <a:gd name="connsiteY25" fmla="*/ 9228 h 9967"/>
              <a:gd name="connsiteX26" fmla="*/ 578 w 9132"/>
              <a:gd name="connsiteY26" fmla="*/ 8685 h 9967"/>
              <a:gd name="connsiteX27" fmla="*/ 537 w 9132"/>
              <a:gd name="connsiteY27" fmla="*/ 8341 h 9967"/>
              <a:gd name="connsiteX28" fmla="*/ 826 w 9132"/>
              <a:gd name="connsiteY28" fmla="*/ 7600 h 9967"/>
              <a:gd name="connsiteX29" fmla="*/ 1239 w 9132"/>
              <a:gd name="connsiteY29" fmla="*/ 6958 h 9967"/>
              <a:gd name="connsiteX30" fmla="*/ 1530 w 9132"/>
              <a:gd name="connsiteY30" fmla="*/ 6811 h 9967"/>
              <a:gd name="connsiteX31" fmla="*/ 1735 w 9132"/>
              <a:gd name="connsiteY31" fmla="*/ 6220 h 9967"/>
              <a:gd name="connsiteX32" fmla="*/ 1735 w 9132"/>
              <a:gd name="connsiteY32" fmla="*/ 5678 h 9967"/>
              <a:gd name="connsiteX33" fmla="*/ 2024 w 9132"/>
              <a:gd name="connsiteY33" fmla="*/ 5039 h 9967"/>
              <a:gd name="connsiteX34" fmla="*/ 2521 w 9132"/>
              <a:gd name="connsiteY34" fmla="*/ 4645 h 9967"/>
              <a:gd name="connsiteX35" fmla="*/ 3017 w 9132"/>
              <a:gd name="connsiteY35" fmla="*/ 3608 h 9967"/>
              <a:gd name="connsiteX36" fmla="*/ 3057 w 9132"/>
              <a:gd name="connsiteY36" fmla="*/ 3608 h 9967"/>
              <a:gd name="connsiteX37" fmla="*/ 3430 w 9132"/>
              <a:gd name="connsiteY37" fmla="*/ 3215 h 9967"/>
              <a:gd name="connsiteX38" fmla="*/ 4091 w 9132"/>
              <a:gd name="connsiteY38" fmla="*/ 3115 h 9967"/>
              <a:gd name="connsiteX39" fmla="*/ 4710 w 9132"/>
              <a:gd name="connsiteY39" fmla="*/ 2423 h 9967"/>
              <a:gd name="connsiteX40" fmla="*/ 5082 w 9132"/>
              <a:gd name="connsiteY40" fmla="*/ 2130 h 9967"/>
              <a:gd name="connsiteX41" fmla="*/ 5702 w 9132"/>
              <a:gd name="connsiteY41" fmla="*/ 1291 h 9967"/>
              <a:gd name="connsiteX42" fmla="*/ 5538 w 9132"/>
              <a:gd name="connsiteY42" fmla="*/ 11 h 9967"/>
              <a:gd name="connsiteX0" fmla="*/ 6244 w 10000"/>
              <a:gd name="connsiteY0" fmla="*/ 592 h 9297"/>
              <a:gd name="connsiteX1" fmla="*/ 10000 w 10000"/>
              <a:gd name="connsiteY1" fmla="*/ 0 h 9297"/>
              <a:gd name="connsiteX2" fmla="*/ 9684 w 10000"/>
              <a:gd name="connsiteY2" fmla="*/ 493 h 9297"/>
              <a:gd name="connsiteX3" fmla="*/ 9052 w 10000"/>
              <a:gd name="connsiteY3" fmla="*/ 791 h 9297"/>
              <a:gd name="connsiteX4" fmla="*/ 8235 w 10000"/>
              <a:gd name="connsiteY4" fmla="*/ 938 h 9297"/>
              <a:gd name="connsiteX5" fmla="*/ 6924 w 10000"/>
              <a:gd name="connsiteY5" fmla="*/ 1682 h 9297"/>
              <a:gd name="connsiteX6" fmla="*/ 6924 w 10000"/>
              <a:gd name="connsiteY6" fmla="*/ 2917 h 9297"/>
              <a:gd name="connsiteX7" fmla="*/ 6787 w 10000"/>
              <a:gd name="connsiteY7" fmla="*/ 2917 h 9297"/>
              <a:gd name="connsiteX8" fmla="*/ 6787 w 10000"/>
              <a:gd name="connsiteY8" fmla="*/ 2917 h 9297"/>
              <a:gd name="connsiteX9" fmla="*/ 6787 w 10000"/>
              <a:gd name="connsiteY9" fmla="*/ 3462 h 9297"/>
              <a:gd name="connsiteX10" fmla="*/ 6290 w 10000"/>
              <a:gd name="connsiteY10" fmla="*/ 3509 h 9297"/>
              <a:gd name="connsiteX11" fmla="*/ 6017 w 10000"/>
              <a:gd name="connsiteY11" fmla="*/ 3708 h 9297"/>
              <a:gd name="connsiteX12" fmla="*/ 5656 w 10000"/>
              <a:gd name="connsiteY12" fmla="*/ 3708 h 9297"/>
              <a:gd name="connsiteX13" fmla="*/ 5384 w 10000"/>
              <a:gd name="connsiteY13" fmla="*/ 3609 h 9297"/>
              <a:gd name="connsiteX14" fmla="*/ 4705 w 10000"/>
              <a:gd name="connsiteY14" fmla="*/ 3708 h 9297"/>
              <a:gd name="connsiteX15" fmla="*/ 4435 w 10000"/>
              <a:gd name="connsiteY15" fmla="*/ 4497 h 9297"/>
              <a:gd name="connsiteX16" fmla="*/ 4163 w 10000"/>
              <a:gd name="connsiteY16" fmla="*/ 4597 h 9297"/>
              <a:gd name="connsiteX17" fmla="*/ 3756 w 10000"/>
              <a:gd name="connsiteY17" fmla="*/ 5885 h 9297"/>
              <a:gd name="connsiteX18" fmla="*/ 2624 w 10000"/>
              <a:gd name="connsiteY18" fmla="*/ 6974 h 9297"/>
              <a:gd name="connsiteX19" fmla="*/ 2308 w 10000"/>
              <a:gd name="connsiteY19" fmla="*/ 8406 h 9297"/>
              <a:gd name="connsiteX20" fmla="*/ 1945 w 10000"/>
              <a:gd name="connsiteY20" fmla="*/ 8854 h 9297"/>
              <a:gd name="connsiteX21" fmla="*/ 1856 w 10000"/>
              <a:gd name="connsiteY21" fmla="*/ 9248 h 9297"/>
              <a:gd name="connsiteX22" fmla="*/ 0 w 10000"/>
              <a:gd name="connsiteY22" fmla="*/ 9297 h 9297"/>
              <a:gd name="connsiteX23" fmla="*/ 0 w 10000"/>
              <a:gd name="connsiteY23" fmla="*/ 9297 h 9297"/>
              <a:gd name="connsiteX24" fmla="*/ 45 w 10000"/>
              <a:gd name="connsiteY24" fmla="*/ 8854 h 9297"/>
              <a:gd name="connsiteX25" fmla="*/ 362 w 10000"/>
              <a:gd name="connsiteY25" fmla="*/ 8556 h 9297"/>
              <a:gd name="connsiteX26" fmla="*/ 633 w 10000"/>
              <a:gd name="connsiteY26" fmla="*/ 8011 h 9297"/>
              <a:gd name="connsiteX27" fmla="*/ 588 w 10000"/>
              <a:gd name="connsiteY27" fmla="*/ 7666 h 9297"/>
              <a:gd name="connsiteX28" fmla="*/ 905 w 10000"/>
              <a:gd name="connsiteY28" fmla="*/ 6922 h 9297"/>
              <a:gd name="connsiteX29" fmla="*/ 1357 w 10000"/>
              <a:gd name="connsiteY29" fmla="*/ 6278 h 9297"/>
              <a:gd name="connsiteX30" fmla="*/ 1675 w 10000"/>
              <a:gd name="connsiteY30" fmla="*/ 6131 h 9297"/>
              <a:gd name="connsiteX31" fmla="*/ 1900 w 10000"/>
              <a:gd name="connsiteY31" fmla="*/ 5538 h 9297"/>
              <a:gd name="connsiteX32" fmla="*/ 1900 w 10000"/>
              <a:gd name="connsiteY32" fmla="*/ 4994 h 9297"/>
              <a:gd name="connsiteX33" fmla="*/ 2216 w 10000"/>
              <a:gd name="connsiteY33" fmla="*/ 4353 h 9297"/>
              <a:gd name="connsiteX34" fmla="*/ 2761 w 10000"/>
              <a:gd name="connsiteY34" fmla="*/ 3957 h 9297"/>
              <a:gd name="connsiteX35" fmla="*/ 3304 w 10000"/>
              <a:gd name="connsiteY35" fmla="*/ 2917 h 9297"/>
              <a:gd name="connsiteX36" fmla="*/ 3348 w 10000"/>
              <a:gd name="connsiteY36" fmla="*/ 2917 h 9297"/>
              <a:gd name="connsiteX37" fmla="*/ 3756 w 10000"/>
              <a:gd name="connsiteY37" fmla="*/ 2523 h 9297"/>
              <a:gd name="connsiteX38" fmla="*/ 4480 w 10000"/>
              <a:gd name="connsiteY38" fmla="*/ 2422 h 9297"/>
              <a:gd name="connsiteX39" fmla="*/ 5158 w 10000"/>
              <a:gd name="connsiteY39" fmla="*/ 1728 h 9297"/>
              <a:gd name="connsiteX40" fmla="*/ 5565 w 10000"/>
              <a:gd name="connsiteY40" fmla="*/ 1434 h 9297"/>
              <a:gd name="connsiteX41" fmla="*/ 6244 w 10000"/>
              <a:gd name="connsiteY41" fmla="*/ 592 h 9297"/>
              <a:gd name="connsiteX0" fmla="*/ 6244 w 9684"/>
              <a:gd name="connsiteY0" fmla="*/ 134 h 9497"/>
              <a:gd name="connsiteX1" fmla="*/ 9684 w 9684"/>
              <a:gd name="connsiteY1" fmla="*/ 27 h 9497"/>
              <a:gd name="connsiteX2" fmla="*/ 9052 w 9684"/>
              <a:gd name="connsiteY2" fmla="*/ 348 h 9497"/>
              <a:gd name="connsiteX3" fmla="*/ 8235 w 9684"/>
              <a:gd name="connsiteY3" fmla="*/ 506 h 9497"/>
              <a:gd name="connsiteX4" fmla="*/ 6924 w 9684"/>
              <a:gd name="connsiteY4" fmla="*/ 1306 h 9497"/>
              <a:gd name="connsiteX5" fmla="*/ 6924 w 9684"/>
              <a:gd name="connsiteY5" fmla="*/ 2635 h 9497"/>
              <a:gd name="connsiteX6" fmla="*/ 6787 w 9684"/>
              <a:gd name="connsiteY6" fmla="*/ 2635 h 9497"/>
              <a:gd name="connsiteX7" fmla="*/ 6787 w 9684"/>
              <a:gd name="connsiteY7" fmla="*/ 2635 h 9497"/>
              <a:gd name="connsiteX8" fmla="*/ 6787 w 9684"/>
              <a:gd name="connsiteY8" fmla="*/ 3221 h 9497"/>
              <a:gd name="connsiteX9" fmla="*/ 6290 w 9684"/>
              <a:gd name="connsiteY9" fmla="*/ 3271 h 9497"/>
              <a:gd name="connsiteX10" fmla="*/ 6017 w 9684"/>
              <a:gd name="connsiteY10" fmla="*/ 3485 h 9497"/>
              <a:gd name="connsiteX11" fmla="*/ 5656 w 9684"/>
              <a:gd name="connsiteY11" fmla="*/ 3485 h 9497"/>
              <a:gd name="connsiteX12" fmla="*/ 5384 w 9684"/>
              <a:gd name="connsiteY12" fmla="*/ 3379 h 9497"/>
              <a:gd name="connsiteX13" fmla="*/ 4705 w 9684"/>
              <a:gd name="connsiteY13" fmla="*/ 3485 h 9497"/>
              <a:gd name="connsiteX14" fmla="*/ 4435 w 9684"/>
              <a:gd name="connsiteY14" fmla="*/ 4334 h 9497"/>
              <a:gd name="connsiteX15" fmla="*/ 4163 w 9684"/>
              <a:gd name="connsiteY15" fmla="*/ 4442 h 9497"/>
              <a:gd name="connsiteX16" fmla="*/ 3756 w 9684"/>
              <a:gd name="connsiteY16" fmla="*/ 5827 h 9497"/>
              <a:gd name="connsiteX17" fmla="*/ 2624 w 9684"/>
              <a:gd name="connsiteY17" fmla="*/ 6998 h 9497"/>
              <a:gd name="connsiteX18" fmla="*/ 2308 w 9684"/>
              <a:gd name="connsiteY18" fmla="*/ 8539 h 9497"/>
              <a:gd name="connsiteX19" fmla="*/ 1945 w 9684"/>
              <a:gd name="connsiteY19" fmla="*/ 9021 h 9497"/>
              <a:gd name="connsiteX20" fmla="*/ 1856 w 9684"/>
              <a:gd name="connsiteY20" fmla="*/ 9444 h 9497"/>
              <a:gd name="connsiteX21" fmla="*/ 0 w 9684"/>
              <a:gd name="connsiteY21" fmla="*/ 9497 h 9497"/>
              <a:gd name="connsiteX22" fmla="*/ 0 w 9684"/>
              <a:gd name="connsiteY22" fmla="*/ 9497 h 9497"/>
              <a:gd name="connsiteX23" fmla="*/ 45 w 9684"/>
              <a:gd name="connsiteY23" fmla="*/ 9021 h 9497"/>
              <a:gd name="connsiteX24" fmla="*/ 362 w 9684"/>
              <a:gd name="connsiteY24" fmla="*/ 8700 h 9497"/>
              <a:gd name="connsiteX25" fmla="*/ 633 w 9684"/>
              <a:gd name="connsiteY25" fmla="*/ 8114 h 9497"/>
              <a:gd name="connsiteX26" fmla="*/ 588 w 9684"/>
              <a:gd name="connsiteY26" fmla="*/ 7743 h 9497"/>
              <a:gd name="connsiteX27" fmla="*/ 905 w 9684"/>
              <a:gd name="connsiteY27" fmla="*/ 6942 h 9497"/>
              <a:gd name="connsiteX28" fmla="*/ 1357 w 9684"/>
              <a:gd name="connsiteY28" fmla="*/ 6250 h 9497"/>
              <a:gd name="connsiteX29" fmla="*/ 1675 w 9684"/>
              <a:gd name="connsiteY29" fmla="*/ 6092 h 9497"/>
              <a:gd name="connsiteX30" fmla="*/ 1900 w 9684"/>
              <a:gd name="connsiteY30" fmla="*/ 5454 h 9497"/>
              <a:gd name="connsiteX31" fmla="*/ 1900 w 9684"/>
              <a:gd name="connsiteY31" fmla="*/ 4869 h 9497"/>
              <a:gd name="connsiteX32" fmla="*/ 2216 w 9684"/>
              <a:gd name="connsiteY32" fmla="*/ 4179 h 9497"/>
              <a:gd name="connsiteX33" fmla="*/ 2761 w 9684"/>
              <a:gd name="connsiteY33" fmla="*/ 3753 h 9497"/>
              <a:gd name="connsiteX34" fmla="*/ 3304 w 9684"/>
              <a:gd name="connsiteY34" fmla="*/ 2635 h 9497"/>
              <a:gd name="connsiteX35" fmla="*/ 3348 w 9684"/>
              <a:gd name="connsiteY35" fmla="*/ 2635 h 9497"/>
              <a:gd name="connsiteX36" fmla="*/ 3756 w 9684"/>
              <a:gd name="connsiteY36" fmla="*/ 2211 h 9497"/>
              <a:gd name="connsiteX37" fmla="*/ 4480 w 9684"/>
              <a:gd name="connsiteY37" fmla="*/ 2102 h 9497"/>
              <a:gd name="connsiteX38" fmla="*/ 5158 w 9684"/>
              <a:gd name="connsiteY38" fmla="*/ 1356 h 9497"/>
              <a:gd name="connsiteX39" fmla="*/ 5565 w 9684"/>
              <a:gd name="connsiteY39" fmla="*/ 1039 h 9497"/>
              <a:gd name="connsiteX40" fmla="*/ 6244 w 9684"/>
              <a:gd name="connsiteY40" fmla="*/ 134 h 9497"/>
              <a:gd name="connsiteX0" fmla="*/ 6448 w 9347"/>
              <a:gd name="connsiteY0" fmla="*/ 30 h 9889"/>
              <a:gd name="connsiteX1" fmla="*/ 9347 w 9347"/>
              <a:gd name="connsiteY1" fmla="*/ 255 h 9889"/>
              <a:gd name="connsiteX2" fmla="*/ 8504 w 9347"/>
              <a:gd name="connsiteY2" fmla="*/ 422 h 9889"/>
              <a:gd name="connsiteX3" fmla="*/ 7150 w 9347"/>
              <a:gd name="connsiteY3" fmla="*/ 1264 h 9889"/>
              <a:gd name="connsiteX4" fmla="*/ 7150 w 9347"/>
              <a:gd name="connsiteY4" fmla="*/ 2664 h 9889"/>
              <a:gd name="connsiteX5" fmla="*/ 7008 w 9347"/>
              <a:gd name="connsiteY5" fmla="*/ 2664 h 9889"/>
              <a:gd name="connsiteX6" fmla="*/ 7008 w 9347"/>
              <a:gd name="connsiteY6" fmla="*/ 2664 h 9889"/>
              <a:gd name="connsiteX7" fmla="*/ 7008 w 9347"/>
              <a:gd name="connsiteY7" fmla="*/ 3281 h 9889"/>
              <a:gd name="connsiteX8" fmla="*/ 6495 w 9347"/>
              <a:gd name="connsiteY8" fmla="*/ 3333 h 9889"/>
              <a:gd name="connsiteX9" fmla="*/ 6213 w 9347"/>
              <a:gd name="connsiteY9" fmla="*/ 3559 h 9889"/>
              <a:gd name="connsiteX10" fmla="*/ 5841 w 9347"/>
              <a:gd name="connsiteY10" fmla="*/ 3559 h 9889"/>
              <a:gd name="connsiteX11" fmla="*/ 5560 w 9347"/>
              <a:gd name="connsiteY11" fmla="*/ 3447 h 9889"/>
              <a:gd name="connsiteX12" fmla="*/ 4859 w 9347"/>
              <a:gd name="connsiteY12" fmla="*/ 3559 h 9889"/>
              <a:gd name="connsiteX13" fmla="*/ 4580 w 9347"/>
              <a:gd name="connsiteY13" fmla="*/ 4453 h 9889"/>
              <a:gd name="connsiteX14" fmla="*/ 4299 w 9347"/>
              <a:gd name="connsiteY14" fmla="*/ 4566 h 9889"/>
              <a:gd name="connsiteX15" fmla="*/ 3879 w 9347"/>
              <a:gd name="connsiteY15" fmla="*/ 6025 h 9889"/>
              <a:gd name="connsiteX16" fmla="*/ 2710 w 9347"/>
              <a:gd name="connsiteY16" fmla="*/ 7258 h 9889"/>
              <a:gd name="connsiteX17" fmla="*/ 2383 w 9347"/>
              <a:gd name="connsiteY17" fmla="*/ 8880 h 9889"/>
              <a:gd name="connsiteX18" fmla="*/ 2008 w 9347"/>
              <a:gd name="connsiteY18" fmla="*/ 9388 h 9889"/>
              <a:gd name="connsiteX19" fmla="*/ 1917 w 9347"/>
              <a:gd name="connsiteY19" fmla="*/ 9833 h 9889"/>
              <a:gd name="connsiteX20" fmla="*/ 0 w 9347"/>
              <a:gd name="connsiteY20" fmla="*/ 9889 h 9889"/>
              <a:gd name="connsiteX21" fmla="*/ 0 w 9347"/>
              <a:gd name="connsiteY21" fmla="*/ 9889 h 9889"/>
              <a:gd name="connsiteX22" fmla="*/ 46 w 9347"/>
              <a:gd name="connsiteY22" fmla="*/ 9388 h 9889"/>
              <a:gd name="connsiteX23" fmla="*/ 374 w 9347"/>
              <a:gd name="connsiteY23" fmla="*/ 9050 h 9889"/>
              <a:gd name="connsiteX24" fmla="*/ 654 w 9347"/>
              <a:gd name="connsiteY24" fmla="*/ 8433 h 9889"/>
              <a:gd name="connsiteX25" fmla="*/ 607 w 9347"/>
              <a:gd name="connsiteY25" fmla="*/ 8042 h 9889"/>
              <a:gd name="connsiteX26" fmla="*/ 935 w 9347"/>
              <a:gd name="connsiteY26" fmla="*/ 7199 h 9889"/>
              <a:gd name="connsiteX27" fmla="*/ 1401 w 9347"/>
              <a:gd name="connsiteY27" fmla="*/ 6470 h 9889"/>
              <a:gd name="connsiteX28" fmla="*/ 1730 w 9347"/>
              <a:gd name="connsiteY28" fmla="*/ 6304 h 9889"/>
              <a:gd name="connsiteX29" fmla="*/ 1962 w 9347"/>
              <a:gd name="connsiteY29" fmla="*/ 5632 h 9889"/>
              <a:gd name="connsiteX30" fmla="*/ 1962 w 9347"/>
              <a:gd name="connsiteY30" fmla="*/ 5016 h 9889"/>
              <a:gd name="connsiteX31" fmla="*/ 2288 w 9347"/>
              <a:gd name="connsiteY31" fmla="*/ 4289 h 9889"/>
              <a:gd name="connsiteX32" fmla="*/ 2851 w 9347"/>
              <a:gd name="connsiteY32" fmla="*/ 3841 h 9889"/>
              <a:gd name="connsiteX33" fmla="*/ 3412 w 9347"/>
              <a:gd name="connsiteY33" fmla="*/ 2664 h 9889"/>
              <a:gd name="connsiteX34" fmla="*/ 3457 w 9347"/>
              <a:gd name="connsiteY34" fmla="*/ 2664 h 9889"/>
              <a:gd name="connsiteX35" fmla="*/ 3879 w 9347"/>
              <a:gd name="connsiteY35" fmla="*/ 2217 h 9889"/>
              <a:gd name="connsiteX36" fmla="*/ 4626 w 9347"/>
              <a:gd name="connsiteY36" fmla="*/ 2102 h 9889"/>
              <a:gd name="connsiteX37" fmla="*/ 5326 w 9347"/>
              <a:gd name="connsiteY37" fmla="*/ 1317 h 9889"/>
              <a:gd name="connsiteX38" fmla="*/ 5747 w 9347"/>
              <a:gd name="connsiteY38" fmla="*/ 983 h 9889"/>
              <a:gd name="connsiteX39" fmla="*/ 6448 w 9347"/>
              <a:gd name="connsiteY39" fmla="*/ 30 h 9889"/>
              <a:gd name="connsiteX0" fmla="*/ 6148 w 10000"/>
              <a:gd name="connsiteY0" fmla="*/ 736 h 9742"/>
              <a:gd name="connsiteX1" fmla="*/ 10000 w 10000"/>
              <a:gd name="connsiteY1" fmla="*/ 0 h 9742"/>
              <a:gd name="connsiteX2" fmla="*/ 9098 w 10000"/>
              <a:gd name="connsiteY2" fmla="*/ 169 h 9742"/>
              <a:gd name="connsiteX3" fmla="*/ 7650 w 10000"/>
              <a:gd name="connsiteY3" fmla="*/ 1020 h 9742"/>
              <a:gd name="connsiteX4" fmla="*/ 7650 w 10000"/>
              <a:gd name="connsiteY4" fmla="*/ 2436 h 9742"/>
              <a:gd name="connsiteX5" fmla="*/ 7498 w 10000"/>
              <a:gd name="connsiteY5" fmla="*/ 2436 h 9742"/>
              <a:gd name="connsiteX6" fmla="*/ 7498 w 10000"/>
              <a:gd name="connsiteY6" fmla="*/ 2436 h 9742"/>
              <a:gd name="connsiteX7" fmla="*/ 7498 w 10000"/>
              <a:gd name="connsiteY7" fmla="*/ 3060 h 9742"/>
              <a:gd name="connsiteX8" fmla="*/ 6949 w 10000"/>
              <a:gd name="connsiteY8" fmla="*/ 3112 h 9742"/>
              <a:gd name="connsiteX9" fmla="*/ 6647 w 10000"/>
              <a:gd name="connsiteY9" fmla="*/ 3341 h 9742"/>
              <a:gd name="connsiteX10" fmla="*/ 6249 w 10000"/>
              <a:gd name="connsiteY10" fmla="*/ 3341 h 9742"/>
              <a:gd name="connsiteX11" fmla="*/ 5948 w 10000"/>
              <a:gd name="connsiteY11" fmla="*/ 3228 h 9742"/>
              <a:gd name="connsiteX12" fmla="*/ 5198 w 10000"/>
              <a:gd name="connsiteY12" fmla="*/ 3341 h 9742"/>
              <a:gd name="connsiteX13" fmla="*/ 4900 w 10000"/>
              <a:gd name="connsiteY13" fmla="*/ 4245 h 9742"/>
              <a:gd name="connsiteX14" fmla="*/ 4599 w 10000"/>
              <a:gd name="connsiteY14" fmla="*/ 4359 h 9742"/>
              <a:gd name="connsiteX15" fmla="*/ 4150 w 10000"/>
              <a:gd name="connsiteY15" fmla="*/ 5835 h 9742"/>
              <a:gd name="connsiteX16" fmla="*/ 2899 w 10000"/>
              <a:gd name="connsiteY16" fmla="*/ 7081 h 9742"/>
              <a:gd name="connsiteX17" fmla="*/ 2549 w 10000"/>
              <a:gd name="connsiteY17" fmla="*/ 8722 h 9742"/>
              <a:gd name="connsiteX18" fmla="*/ 2148 w 10000"/>
              <a:gd name="connsiteY18" fmla="*/ 9235 h 9742"/>
              <a:gd name="connsiteX19" fmla="*/ 2051 w 10000"/>
              <a:gd name="connsiteY19" fmla="*/ 9685 h 9742"/>
              <a:gd name="connsiteX20" fmla="*/ 0 w 10000"/>
              <a:gd name="connsiteY20" fmla="*/ 9742 h 9742"/>
              <a:gd name="connsiteX21" fmla="*/ 0 w 10000"/>
              <a:gd name="connsiteY21" fmla="*/ 9742 h 9742"/>
              <a:gd name="connsiteX22" fmla="*/ 49 w 10000"/>
              <a:gd name="connsiteY22" fmla="*/ 9235 h 9742"/>
              <a:gd name="connsiteX23" fmla="*/ 400 w 10000"/>
              <a:gd name="connsiteY23" fmla="*/ 8894 h 9742"/>
              <a:gd name="connsiteX24" fmla="*/ 700 w 10000"/>
              <a:gd name="connsiteY24" fmla="*/ 8270 h 9742"/>
              <a:gd name="connsiteX25" fmla="*/ 649 w 10000"/>
              <a:gd name="connsiteY25" fmla="*/ 7874 h 9742"/>
              <a:gd name="connsiteX26" fmla="*/ 1000 w 10000"/>
              <a:gd name="connsiteY26" fmla="*/ 7022 h 9742"/>
              <a:gd name="connsiteX27" fmla="*/ 1499 w 10000"/>
              <a:gd name="connsiteY27" fmla="*/ 6285 h 9742"/>
              <a:gd name="connsiteX28" fmla="*/ 1851 w 10000"/>
              <a:gd name="connsiteY28" fmla="*/ 6117 h 9742"/>
              <a:gd name="connsiteX29" fmla="*/ 2099 w 10000"/>
              <a:gd name="connsiteY29" fmla="*/ 5437 h 9742"/>
              <a:gd name="connsiteX30" fmla="*/ 2099 w 10000"/>
              <a:gd name="connsiteY30" fmla="*/ 4814 h 9742"/>
              <a:gd name="connsiteX31" fmla="*/ 2448 w 10000"/>
              <a:gd name="connsiteY31" fmla="*/ 4079 h 9742"/>
              <a:gd name="connsiteX32" fmla="*/ 3050 w 10000"/>
              <a:gd name="connsiteY32" fmla="*/ 3626 h 9742"/>
              <a:gd name="connsiteX33" fmla="*/ 3650 w 10000"/>
              <a:gd name="connsiteY33" fmla="*/ 2436 h 9742"/>
              <a:gd name="connsiteX34" fmla="*/ 3699 w 10000"/>
              <a:gd name="connsiteY34" fmla="*/ 2436 h 9742"/>
              <a:gd name="connsiteX35" fmla="*/ 4150 w 10000"/>
              <a:gd name="connsiteY35" fmla="*/ 1984 h 9742"/>
              <a:gd name="connsiteX36" fmla="*/ 4949 w 10000"/>
              <a:gd name="connsiteY36" fmla="*/ 1868 h 9742"/>
              <a:gd name="connsiteX37" fmla="*/ 5698 w 10000"/>
              <a:gd name="connsiteY37" fmla="*/ 1074 h 9742"/>
              <a:gd name="connsiteX38" fmla="*/ 6148 w 10000"/>
              <a:gd name="connsiteY38" fmla="*/ 736 h 9742"/>
              <a:gd name="connsiteX0" fmla="*/ 6148 w 9098"/>
              <a:gd name="connsiteY0" fmla="*/ 582 h 9827"/>
              <a:gd name="connsiteX1" fmla="*/ 9098 w 9098"/>
              <a:gd name="connsiteY1" fmla="*/ 0 h 9827"/>
              <a:gd name="connsiteX2" fmla="*/ 7650 w 9098"/>
              <a:gd name="connsiteY2" fmla="*/ 874 h 9827"/>
              <a:gd name="connsiteX3" fmla="*/ 7650 w 9098"/>
              <a:gd name="connsiteY3" fmla="*/ 2328 h 9827"/>
              <a:gd name="connsiteX4" fmla="*/ 7498 w 9098"/>
              <a:gd name="connsiteY4" fmla="*/ 2328 h 9827"/>
              <a:gd name="connsiteX5" fmla="*/ 7498 w 9098"/>
              <a:gd name="connsiteY5" fmla="*/ 2328 h 9827"/>
              <a:gd name="connsiteX6" fmla="*/ 7498 w 9098"/>
              <a:gd name="connsiteY6" fmla="*/ 2968 h 9827"/>
              <a:gd name="connsiteX7" fmla="*/ 6949 w 9098"/>
              <a:gd name="connsiteY7" fmla="*/ 3021 h 9827"/>
              <a:gd name="connsiteX8" fmla="*/ 6647 w 9098"/>
              <a:gd name="connsiteY8" fmla="*/ 3256 h 9827"/>
              <a:gd name="connsiteX9" fmla="*/ 6249 w 9098"/>
              <a:gd name="connsiteY9" fmla="*/ 3256 h 9827"/>
              <a:gd name="connsiteX10" fmla="*/ 5948 w 9098"/>
              <a:gd name="connsiteY10" fmla="*/ 3140 h 9827"/>
              <a:gd name="connsiteX11" fmla="*/ 5198 w 9098"/>
              <a:gd name="connsiteY11" fmla="*/ 3256 h 9827"/>
              <a:gd name="connsiteX12" fmla="*/ 4900 w 9098"/>
              <a:gd name="connsiteY12" fmla="*/ 4184 h 9827"/>
              <a:gd name="connsiteX13" fmla="*/ 4599 w 9098"/>
              <a:gd name="connsiteY13" fmla="*/ 4301 h 9827"/>
              <a:gd name="connsiteX14" fmla="*/ 4150 w 9098"/>
              <a:gd name="connsiteY14" fmla="*/ 5817 h 9827"/>
              <a:gd name="connsiteX15" fmla="*/ 2899 w 9098"/>
              <a:gd name="connsiteY15" fmla="*/ 7096 h 9827"/>
              <a:gd name="connsiteX16" fmla="*/ 2549 w 9098"/>
              <a:gd name="connsiteY16" fmla="*/ 8780 h 9827"/>
              <a:gd name="connsiteX17" fmla="*/ 2148 w 9098"/>
              <a:gd name="connsiteY17" fmla="*/ 9307 h 9827"/>
              <a:gd name="connsiteX18" fmla="*/ 2051 w 9098"/>
              <a:gd name="connsiteY18" fmla="*/ 9768 h 9827"/>
              <a:gd name="connsiteX19" fmla="*/ 0 w 9098"/>
              <a:gd name="connsiteY19" fmla="*/ 9827 h 9827"/>
              <a:gd name="connsiteX20" fmla="*/ 0 w 9098"/>
              <a:gd name="connsiteY20" fmla="*/ 9827 h 9827"/>
              <a:gd name="connsiteX21" fmla="*/ 49 w 9098"/>
              <a:gd name="connsiteY21" fmla="*/ 9307 h 9827"/>
              <a:gd name="connsiteX22" fmla="*/ 400 w 9098"/>
              <a:gd name="connsiteY22" fmla="*/ 8957 h 9827"/>
              <a:gd name="connsiteX23" fmla="*/ 700 w 9098"/>
              <a:gd name="connsiteY23" fmla="*/ 8316 h 9827"/>
              <a:gd name="connsiteX24" fmla="*/ 649 w 9098"/>
              <a:gd name="connsiteY24" fmla="*/ 7910 h 9827"/>
              <a:gd name="connsiteX25" fmla="*/ 1000 w 9098"/>
              <a:gd name="connsiteY25" fmla="*/ 7035 h 9827"/>
              <a:gd name="connsiteX26" fmla="*/ 1499 w 9098"/>
              <a:gd name="connsiteY26" fmla="*/ 6278 h 9827"/>
              <a:gd name="connsiteX27" fmla="*/ 1851 w 9098"/>
              <a:gd name="connsiteY27" fmla="*/ 6106 h 9827"/>
              <a:gd name="connsiteX28" fmla="*/ 2099 w 9098"/>
              <a:gd name="connsiteY28" fmla="*/ 5408 h 9827"/>
              <a:gd name="connsiteX29" fmla="*/ 2099 w 9098"/>
              <a:gd name="connsiteY29" fmla="*/ 4768 h 9827"/>
              <a:gd name="connsiteX30" fmla="*/ 2448 w 9098"/>
              <a:gd name="connsiteY30" fmla="*/ 4014 h 9827"/>
              <a:gd name="connsiteX31" fmla="*/ 3050 w 9098"/>
              <a:gd name="connsiteY31" fmla="*/ 3549 h 9827"/>
              <a:gd name="connsiteX32" fmla="*/ 3650 w 9098"/>
              <a:gd name="connsiteY32" fmla="*/ 2328 h 9827"/>
              <a:gd name="connsiteX33" fmla="*/ 3699 w 9098"/>
              <a:gd name="connsiteY33" fmla="*/ 2328 h 9827"/>
              <a:gd name="connsiteX34" fmla="*/ 4150 w 9098"/>
              <a:gd name="connsiteY34" fmla="*/ 1864 h 9827"/>
              <a:gd name="connsiteX35" fmla="*/ 4949 w 9098"/>
              <a:gd name="connsiteY35" fmla="*/ 1744 h 9827"/>
              <a:gd name="connsiteX36" fmla="*/ 5698 w 9098"/>
              <a:gd name="connsiteY36" fmla="*/ 929 h 9827"/>
              <a:gd name="connsiteX37" fmla="*/ 6148 w 9098"/>
              <a:gd name="connsiteY37" fmla="*/ 582 h 9827"/>
              <a:gd name="connsiteX0" fmla="*/ 6758 w 8408"/>
              <a:gd name="connsiteY0" fmla="*/ 0 h 9408"/>
              <a:gd name="connsiteX1" fmla="*/ 8408 w 8408"/>
              <a:gd name="connsiteY1" fmla="*/ 297 h 9408"/>
              <a:gd name="connsiteX2" fmla="*/ 8408 w 8408"/>
              <a:gd name="connsiteY2" fmla="*/ 1777 h 9408"/>
              <a:gd name="connsiteX3" fmla="*/ 8241 w 8408"/>
              <a:gd name="connsiteY3" fmla="*/ 1777 h 9408"/>
              <a:gd name="connsiteX4" fmla="*/ 8241 w 8408"/>
              <a:gd name="connsiteY4" fmla="*/ 1777 h 9408"/>
              <a:gd name="connsiteX5" fmla="*/ 8241 w 8408"/>
              <a:gd name="connsiteY5" fmla="*/ 2428 h 9408"/>
              <a:gd name="connsiteX6" fmla="*/ 7638 w 8408"/>
              <a:gd name="connsiteY6" fmla="*/ 2482 h 9408"/>
              <a:gd name="connsiteX7" fmla="*/ 7306 w 8408"/>
              <a:gd name="connsiteY7" fmla="*/ 2721 h 9408"/>
              <a:gd name="connsiteX8" fmla="*/ 6869 w 8408"/>
              <a:gd name="connsiteY8" fmla="*/ 2721 h 9408"/>
              <a:gd name="connsiteX9" fmla="*/ 6538 w 8408"/>
              <a:gd name="connsiteY9" fmla="*/ 2603 h 9408"/>
              <a:gd name="connsiteX10" fmla="*/ 5713 w 8408"/>
              <a:gd name="connsiteY10" fmla="*/ 2721 h 9408"/>
              <a:gd name="connsiteX11" fmla="*/ 5386 w 8408"/>
              <a:gd name="connsiteY11" fmla="*/ 3666 h 9408"/>
              <a:gd name="connsiteX12" fmla="*/ 5055 w 8408"/>
              <a:gd name="connsiteY12" fmla="*/ 3785 h 9408"/>
              <a:gd name="connsiteX13" fmla="*/ 4561 w 8408"/>
              <a:gd name="connsiteY13" fmla="*/ 5327 h 9408"/>
              <a:gd name="connsiteX14" fmla="*/ 3186 w 8408"/>
              <a:gd name="connsiteY14" fmla="*/ 6629 h 9408"/>
              <a:gd name="connsiteX15" fmla="*/ 2802 w 8408"/>
              <a:gd name="connsiteY15" fmla="*/ 8343 h 9408"/>
              <a:gd name="connsiteX16" fmla="*/ 2361 w 8408"/>
              <a:gd name="connsiteY16" fmla="*/ 8879 h 9408"/>
              <a:gd name="connsiteX17" fmla="*/ 2254 w 8408"/>
              <a:gd name="connsiteY17" fmla="*/ 9348 h 9408"/>
              <a:gd name="connsiteX18" fmla="*/ 0 w 8408"/>
              <a:gd name="connsiteY18" fmla="*/ 9408 h 9408"/>
              <a:gd name="connsiteX19" fmla="*/ 0 w 8408"/>
              <a:gd name="connsiteY19" fmla="*/ 9408 h 9408"/>
              <a:gd name="connsiteX20" fmla="*/ 54 w 8408"/>
              <a:gd name="connsiteY20" fmla="*/ 8879 h 9408"/>
              <a:gd name="connsiteX21" fmla="*/ 440 w 8408"/>
              <a:gd name="connsiteY21" fmla="*/ 8523 h 9408"/>
              <a:gd name="connsiteX22" fmla="*/ 769 w 8408"/>
              <a:gd name="connsiteY22" fmla="*/ 7870 h 9408"/>
              <a:gd name="connsiteX23" fmla="*/ 713 w 8408"/>
              <a:gd name="connsiteY23" fmla="*/ 7457 h 9408"/>
              <a:gd name="connsiteX24" fmla="*/ 1099 w 8408"/>
              <a:gd name="connsiteY24" fmla="*/ 6567 h 9408"/>
              <a:gd name="connsiteX25" fmla="*/ 1648 w 8408"/>
              <a:gd name="connsiteY25" fmla="*/ 5797 h 9408"/>
              <a:gd name="connsiteX26" fmla="*/ 2035 w 8408"/>
              <a:gd name="connsiteY26" fmla="*/ 5621 h 9408"/>
              <a:gd name="connsiteX27" fmla="*/ 2307 w 8408"/>
              <a:gd name="connsiteY27" fmla="*/ 4911 h 9408"/>
              <a:gd name="connsiteX28" fmla="*/ 2307 w 8408"/>
              <a:gd name="connsiteY28" fmla="*/ 4260 h 9408"/>
              <a:gd name="connsiteX29" fmla="*/ 2691 w 8408"/>
              <a:gd name="connsiteY29" fmla="*/ 3493 h 9408"/>
              <a:gd name="connsiteX30" fmla="*/ 3352 w 8408"/>
              <a:gd name="connsiteY30" fmla="*/ 3019 h 9408"/>
              <a:gd name="connsiteX31" fmla="*/ 4012 w 8408"/>
              <a:gd name="connsiteY31" fmla="*/ 1777 h 9408"/>
              <a:gd name="connsiteX32" fmla="*/ 4066 w 8408"/>
              <a:gd name="connsiteY32" fmla="*/ 1777 h 9408"/>
              <a:gd name="connsiteX33" fmla="*/ 4561 w 8408"/>
              <a:gd name="connsiteY33" fmla="*/ 1305 h 9408"/>
              <a:gd name="connsiteX34" fmla="*/ 5440 w 8408"/>
              <a:gd name="connsiteY34" fmla="*/ 1183 h 9408"/>
              <a:gd name="connsiteX35" fmla="*/ 6263 w 8408"/>
              <a:gd name="connsiteY35" fmla="*/ 353 h 9408"/>
              <a:gd name="connsiteX36" fmla="*/ 6758 w 8408"/>
              <a:gd name="connsiteY36" fmla="*/ 0 h 9408"/>
              <a:gd name="connsiteX0" fmla="*/ 7449 w 10000"/>
              <a:gd name="connsiteY0" fmla="*/ 59 h 9684"/>
              <a:gd name="connsiteX1" fmla="*/ 10000 w 10000"/>
              <a:gd name="connsiteY1" fmla="*/ 0 h 9684"/>
              <a:gd name="connsiteX2" fmla="*/ 10000 w 10000"/>
              <a:gd name="connsiteY2" fmla="*/ 1573 h 9684"/>
              <a:gd name="connsiteX3" fmla="*/ 9801 w 10000"/>
              <a:gd name="connsiteY3" fmla="*/ 1573 h 9684"/>
              <a:gd name="connsiteX4" fmla="*/ 9801 w 10000"/>
              <a:gd name="connsiteY4" fmla="*/ 1573 h 9684"/>
              <a:gd name="connsiteX5" fmla="*/ 9801 w 10000"/>
              <a:gd name="connsiteY5" fmla="*/ 2265 h 9684"/>
              <a:gd name="connsiteX6" fmla="*/ 9084 w 10000"/>
              <a:gd name="connsiteY6" fmla="*/ 2322 h 9684"/>
              <a:gd name="connsiteX7" fmla="*/ 8689 w 10000"/>
              <a:gd name="connsiteY7" fmla="*/ 2576 h 9684"/>
              <a:gd name="connsiteX8" fmla="*/ 8170 w 10000"/>
              <a:gd name="connsiteY8" fmla="*/ 2576 h 9684"/>
              <a:gd name="connsiteX9" fmla="*/ 7776 w 10000"/>
              <a:gd name="connsiteY9" fmla="*/ 2451 h 9684"/>
              <a:gd name="connsiteX10" fmla="*/ 6795 w 10000"/>
              <a:gd name="connsiteY10" fmla="*/ 2576 h 9684"/>
              <a:gd name="connsiteX11" fmla="*/ 6406 w 10000"/>
              <a:gd name="connsiteY11" fmla="*/ 3581 h 9684"/>
              <a:gd name="connsiteX12" fmla="*/ 6012 w 10000"/>
              <a:gd name="connsiteY12" fmla="*/ 3707 h 9684"/>
              <a:gd name="connsiteX13" fmla="*/ 5425 w 10000"/>
              <a:gd name="connsiteY13" fmla="*/ 5346 h 9684"/>
              <a:gd name="connsiteX14" fmla="*/ 3789 w 10000"/>
              <a:gd name="connsiteY14" fmla="*/ 6730 h 9684"/>
              <a:gd name="connsiteX15" fmla="*/ 3333 w 10000"/>
              <a:gd name="connsiteY15" fmla="*/ 8552 h 9684"/>
              <a:gd name="connsiteX16" fmla="*/ 2808 w 10000"/>
              <a:gd name="connsiteY16" fmla="*/ 9122 h 9684"/>
              <a:gd name="connsiteX17" fmla="*/ 2681 w 10000"/>
              <a:gd name="connsiteY17" fmla="*/ 9620 h 9684"/>
              <a:gd name="connsiteX18" fmla="*/ 0 w 10000"/>
              <a:gd name="connsiteY18" fmla="*/ 9684 h 9684"/>
              <a:gd name="connsiteX19" fmla="*/ 0 w 10000"/>
              <a:gd name="connsiteY19" fmla="*/ 9684 h 9684"/>
              <a:gd name="connsiteX20" fmla="*/ 64 w 10000"/>
              <a:gd name="connsiteY20" fmla="*/ 9122 h 9684"/>
              <a:gd name="connsiteX21" fmla="*/ 523 w 10000"/>
              <a:gd name="connsiteY21" fmla="*/ 8743 h 9684"/>
              <a:gd name="connsiteX22" fmla="*/ 915 w 10000"/>
              <a:gd name="connsiteY22" fmla="*/ 8049 h 9684"/>
              <a:gd name="connsiteX23" fmla="*/ 848 w 10000"/>
              <a:gd name="connsiteY23" fmla="*/ 7610 h 9684"/>
              <a:gd name="connsiteX24" fmla="*/ 1307 w 10000"/>
              <a:gd name="connsiteY24" fmla="*/ 6664 h 9684"/>
              <a:gd name="connsiteX25" fmla="*/ 1960 w 10000"/>
              <a:gd name="connsiteY25" fmla="*/ 5846 h 9684"/>
              <a:gd name="connsiteX26" fmla="*/ 2420 w 10000"/>
              <a:gd name="connsiteY26" fmla="*/ 5659 h 9684"/>
              <a:gd name="connsiteX27" fmla="*/ 2744 w 10000"/>
              <a:gd name="connsiteY27" fmla="*/ 4904 h 9684"/>
              <a:gd name="connsiteX28" fmla="*/ 2744 w 10000"/>
              <a:gd name="connsiteY28" fmla="*/ 4212 h 9684"/>
              <a:gd name="connsiteX29" fmla="*/ 3201 w 10000"/>
              <a:gd name="connsiteY29" fmla="*/ 3397 h 9684"/>
              <a:gd name="connsiteX30" fmla="*/ 3987 w 10000"/>
              <a:gd name="connsiteY30" fmla="*/ 2893 h 9684"/>
              <a:gd name="connsiteX31" fmla="*/ 4772 w 10000"/>
              <a:gd name="connsiteY31" fmla="*/ 1573 h 9684"/>
              <a:gd name="connsiteX32" fmla="*/ 4836 w 10000"/>
              <a:gd name="connsiteY32" fmla="*/ 1573 h 9684"/>
              <a:gd name="connsiteX33" fmla="*/ 5425 w 10000"/>
              <a:gd name="connsiteY33" fmla="*/ 1071 h 9684"/>
              <a:gd name="connsiteX34" fmla="*/ 6470 w 10000"/>
              <a:gd name="connsiteY34" fmla="*/ 941 h 9684"/>
              <a:gd name="connsiteX35" fmla="*/ 7449 w 10000"/>
              <a:gd name="connsiteY35" fmla="*/ 59 h 9684"/>
              <a:gd name="connsiteX0" fmla="*/ 7449 w 10000"/>
              <a:gd name="connsiteY0" fmla="*/ 0 h 9939"/>
              <a:gd name="connsiteX1" fmla="*/ 10000 w 10000"/>
              <a:gd name="connsiteY1" fmla="*/ 1563 h 9939"/>
              <a:gd name="connsiteX2" fmla="*/ 9801 w 10000"/>
              <a:gd name="connsiteY2" fmla="*/ 1563 h 9939"/>
              <a:gd name="connsiteX3" fmla="*/ 9801 w 10000"/>
              <a:gd name="connsiteY3" fmla="*/ 1563 h 9939"/>
              <a:gd name="connsiteX4" fmla="*/ 9801 w 10000"/>
              <a:gd name="connsiteY4" fmla="*/ 2278 h 9939"/>
              <a:gd name="connsiteX5" fmla="*/ 9084 w 10000"/>
              <a:gd name="connsiteY5" fmla="*/ 2337 h 9939"/>
              <a:gd name="connsiteX6" fmla="*/ 8689 w 10000"/>
              <a:gd name="connsiteY6" fmla="*/ 2599 h 9939"/>
              <a:gd name="connsiteX7" fmla="*/ 8170 w 10000"/>
              <a:gd name="connsiteY7" fmla="*/ 2599 h 9939"/>
              <a:gd name="connsiteX8" fmla="*/ 7776 w 10000"/>
              <a:gd name="connsiteY8" fmla="*/ 2470 h 9939"/>
              <a:gd name="connsiteX9" fmla="*/ 6795 w 10000"/>
              <a:gd name="connsiteY9" fmla="*/ 2599 h 9939"/>
              <a:gd name="connsiteX10" fmla="*/ 6406 w 10000"/>
              <a:gd name="connsiteY10" fmla="*/ 3637 h 9939"/>
              <a:gd name="connsiteX11" fmla="*/ 6012 w 10000"/>
              <a:gd name="connsiteY11" fmla="*/ 3767 h 9939"/>
              <a:gd name="connsiteX12" fmla="*/ 5425 w 10000"/>
              <a:gd name="connsiteY12" fmla="*/ 5459 h 9939"/>
              <a:gd name="connsiteX13" fmla="*/ 3789 w 10000"/>
              <a:gd name="connsiteY13" fmla="*/ 6889 h 9939"/>
              <a:gd name="connsiteX14" fmla="*/ 3333 w 10000"/>
              <a:gd name="connsiteY14" fmla="*/ 8770 h 9939"/>
              <a:gd name="connsiteX15" fmla="*/ 2808 w 10000"/>
              <a:gd name="connsiteY15" fmla="*/ 9359 h 9939"/>
              <a:gd name="connsiteX16" fmla="*/ 2681 w 10000"/>
              <a:gd name="connsiteY16" fmla="*/ 9873 h 9939"/>
              <a:gd name="connsiteX17" fmla="*/ 0 w 10000"/>
              <a:gd name="connsiteY17" fmla="*/ 9939 h 9939"/>
              <a:gd name="connsiteX18" fmla="*/ 0 w 10000"/>
              <a:gd name="connsiteY18" fmla="*/ 9939 h 9939"/>
              <a:gd name="connsiteX19" fmla="*/ 64 w 10000"/>
              <a:gd name="connsiteY19" fmla="*/ 9359 h 9939"/>
              <a:gd name="connsiteX20" fmla="*/ 523 w 10000"/>
              <a:gd name="connsiteY20" fmla="*/ 8967 h 9939"/>
              <a:gd name="connsiteX21" fmla="*/ 915 w 10000"/>
              <a:gd name="connsiteY21" fmla="*/ 8251 h 9939"/>
              <a:gd name="connsiteX22" fmla="*/ 848 w 10000"/>
              <a:gd name="connsiteY22" fmla="*/ 7797 h 9939"/>
              <a:gd name="connsiteX23" fmla="*/ 1307 w 10000"/>
              <a:gd name="connsiteY23" fmla="*/ 6820 h 9939"/>
              <a:gd name="connsiteX24" fmla="*/ 1960 w 10000"/>
              <a:gd name="connsiteY24" fmla="*/ 5976 h 9939"/>
              <a:gd name="connsiteX25" fmla="*/ 2420 w 10000"/>
              <a:gd name="connsiteY25" fmla="*/ 5783 h 9939"/>
              <a:gd name="connsiteX26" fmla="*/ 2744 w 10000"/>
              <a:gd name="connsiteY26" fmla="*/ 5003 h 9939"/>
              <a:gd name="connsiteX27" fmla="*/ 2744 w 10000"/>
              <a:gd name="connsiteY27" fmla="*/ 4288 h 9939"/>
              <a:gd name="connsiteX28" fmla="*/ 3201 w 10000"/>
              <a:gd name="connsiteY28" fmla="*/ 3447 h 9939"/>
              <a:gd name="connsiteX29" fmla="*/ 3987 w 10000"/>
              <a:gd name="connsiteY29" fmla="*/ 2926 h 9939"/>
              <a:gd name="connsiteX30" fmla="*/ 4772 w 10000"/>
              <a:gd name="connsiteY30" fmla="*/ 1563 h 9939"/>
              <a:gd name="connsiteX31" fmla="*/ 4836 w 10000"/>
              <a:gd name="connsiteY31" fmla="*/ 1563 h 9939"/>
              <a:gd name="connsiteX32" fmla="*/ 5425 w 10000"/>
              <a:gd name="connsiteY32" fmla="*/ 1045 h 9939"/>
              <a:gd name="connsiteX33" fmla="*/ 6470 w 10000"/>
              <a:gd name="connsiteY33" fmla="*/ 911 h 9939"/>
              <a:gd name="connsiteX34" fmla="*/ 7449 w 10000"/>
              <a:gd name="connsiteY34" fmla="*/ 0 h 9939"/>
              <a:gd name="connsiteX0" fmla="*/ 6470 w 10000"/>
              <a:gd name="connsiteY0" fmla="*/ 0 h 9083"/>
              <a:gd name="connsiteX1" fmla="*/ 10000 w 10000"/>
              <a:gd name="connsiteY1" fmla="*/ 656 h 9083"/>
              <a:gd name="connsiteX2" fmla="*/ 9801 w 10000"/>
              <a:gd name="connsiteY2" fmla="*/ 656 h 9083"/>
              <a:gd name="connsiteX3" fmla="*/ 9801 w 10000"/>
              <a:gd name="connsiteY3" fmla="*/ 656 h 9083"/>
              <a:gd name="connsiteX4" fmla="*/ 9801 w 10000"/>
              <a:gd name="connsiteY4" fmla="*/ 1375 h 9083"/>
              <a:gd name="connsiteX5" fmla="*/ 9084 w 10000"/>
              <a:gd name="connsiteY5" fmla="*/ 1434 h 9083"/>
              <a:gd name="connsiteX6" fmla="*/ 8689 w 10000"/>
              <a:gd name="connsiteY6" fmla="*/ 1698 h 9083"/>
              <a:gd name="connsiteX7" fmla="*/ 8170 w 10000"/>
              <a:gd name="connsiteY7" fmla="*/ 1698 h 9083"/>
              <a:gd name="connsiteX8" fmla="*/ 7776 w 10000"/>
              <a:gd name="connsiteY8" fmla="*/ 1568 h 9083"/>
              <a:gd name="connsiteX9" fmla="*/ 6795 w 10000"/>
              <a:gd name="connsiteY9" fmla="*/ 1698 h 9083"/>
              <a:gd name="connsiteX10" fmla="*/ 6406 w 10000"/>
              <a:gd name="connsiteY10" fmla="*/ 2742 h 9083"/>
              <a:gd name="connsiteX11" fmla="*/ 6012 w 10000"/>
              <a:gd name="connsiteY11" fmla="*/ 2873 h 9083"/>
              <a:gd name="connsiteX12" fmla="*/ 5425 w 10000"/>
              <a:gd name="connsiteY12" fmla="*/ 4576 h 9083"/>
              <a:gd name="connsiteX13" fmla="*/ 3789 w 10000"/>
              <a:gd name="connsiteY13" fmla="*/ 6014 h 9083"/>
              <a:gd name="connsiteX14" fmla="*/ 3333 w 10000"/>
              <a:gd name="connsiteY14" fmla="*/ 7907 h 9083"/>
              <a:gd name="connsiteX15" fmla="*/ 2808 w 10000"/>
              <a:gd name="connsiteY15" fmla="*/ 8499 h 9083"/>
              <a:gd name="connsiteX16" fmla="*/ 2681 w 10000"/>
              <a:gd name="connsiteY16" fmla="*/ 9017 h 9083"/>
              <a:gd name="connsiteX17" fmla="*/ 0 w 10000"/>
              <a:gd name="connsiteY17" fmla="*/ 9083 h 9083"/>
              <a:gd name="connsiteX18" fmla="*/ 0 w 10000"/>
              <a:gd name="connsiteY18" fmla="*/ 9083 h 9083"/>
              <a:gd name="connsiteX19" fmla="*/ 64 w 10000"/>
              <a:gd name="connsiteY19" fmla="*/ 8499 h 9083"/>
              <a:gd name="connsiteX20" fmla="*/ 523 w 10000"/>
              <a:gd name="connsiteY20" fmla="*/ 8105 h 9083"/>
              <a:gd name="connsiteX21" fmla="*/ 915 w 10000"/>
              <a:gd name="connsiteY21" fmla="*/ 7385 h 9083"/>
              <a:gd name="connsiteX22" fmla="*/ 848 w 10000"/>
              <a:gd name="connsiteY22" fmla="*/ 6928 h 9083"/>
              <a:gd name="connsiteX23" fmla="*/ 1307 w 10000"/>
              <a:gd name="connsiteY23" fmla="*/ 5945 h 9083"/>
              <a:gd name="connsiteX24" fmla="*/ 1960 w 10000"/>
              <a:gd name="connsiteY24" fmla="*/ 5096 h 9083"/>
              <a:gd name="connsiteX25" fmla="*/ 2420 w 10000"/>
              <a:gd name="connsiteY25" fmla="*/ 4901 h 9083"/>
              <a:gd name="connsiteX26" fmla="*/ 2744 w 10000"/>
              <a:gd name="connsiteY26" fmla="*/ 4117 h 9083"/>
              <a:gd name="connsiteX27" fmla="*/ 2744 w 10000"/>
              <a:gd name="connsiteY27" fmla="*/ 3397 h 9083"/>
              <a:gd name="connsiteX28" fmla="*/ 3201 w 10000"/>
              <a:gd name="connsiteY28" fmla="*/ 2551 h 9083"/>
              <a:gd name="connsiteX29" fmla="*/ 3987 w 10000"/>
              <a:gd name="connsiteY29" fmla="*/ 2027 h 9083"/>
              <a:gd name="connsiteX30" fmla="*/ 4772 w 10000"/>
              <a:gd name="connsiteY30" fmla="*/ 656 h 9083"/>
              <a:gd name="connsiteX31" fmla="*/ 4836 w 10000"/>
              <a:gd name="connsiteY31" fmla="*/ 656 h 9083"/>
              <a:gd name="connsiteX32" fmla="*/ 5425 w 10000"/>
              <a:gd name="connsiteY32" fmla="*/ 134 h 9083"/>
              <a:gd name="connsiteX33" fmla="*/ 6470 w 10000"/>
              <a:gd name="connsiteY33" fmla="*/ 0 h 9083"/>
              <a:gd name="connsiteX0" fmla="*/ 5425 w 10000"/>
              <a:gd name="connsiteY0" fmla="*/ 0 h 9852"/>
              <a:gd name="connsiteX1" fmla="*/ 10000 w 10000"/>
              <a:gd name="connsiteY1" fmla="*/ 574 h 9852"/>
              <a:gd name="connsiteX2" fmla="*/ 9801 w 10000"/>
              <a:gd name="connsiteY2" fmla="*/ 574 h 9852"/>
              <a:gd name="connsiteX3" fmla="*/ 9801 w 10000"/>
              <a:gd name="connsiteY3" fmla="*/ 574 h 9852"/>
              <a:gd name="connsiteX4" fmla="*/ 9801 w 10000"/>
              <a:gd name="connsiteY4" fmla="*/ 1366 h 9852"/>
              <a:gd name="connsiteX5" fmla="*/ 9084 w 10000"/>
              <a:gd name="connsiteY5" fmla="*/ 1431 h 9852"/>
              <a:gd name="connsiteX6" fmla="*/ 8689 w 10000"/>
              <a:gd name="connsiteY6" fmla="*/ 1721 h 9852"/>
              <a:gd name="connsiteX7" fmla="*/ 8170 w 10000"/>
              <a:gd name="connsiteY7" fmla="*/ 1721 h 9852"/>
              <a:gd name="connsiteX8" fmla="*/ 7776 w 10000"/>
              <a:gd name="connsiteY8" fmla="*/ 1578 h 9852"/>
              <a:gd name="connsiteX9" fmla="*/ 6795 w 10000"/>
              <a:gd name="connsiteY9" fmla="*/ 1721 h 9852"/>
              <a:gd name="connsiteX10" fmla="*/ 6406 w 10000"/>
              <a:gd name="connsiteY10" fmla="*/ 2871 h 9852"/>
              <a:gd name="connsiteX11" fmla="*/ 6012 w 10000"/>
              <a:gd name="connsiteY11" fmla="*/ 3015 h 9852"/>
              <a:gd name="connsiteX12" fmla="*/ 5425 w 10000"/>
              <a:gd name="connsiteY12" fmla="*/ 4890 h 9852"/>
              <a:gd name="connsiteX13" fmla="*/ 3789 w 10000"/>
              <a:gd name="connsiteY13" fmla="*/ 6473 h 9852"/>
              <a:gd name="connsiteX14" fmla="*/ 3333 w 10000"/>
              <a:gd name="connsiteY14" fmla="*/ 8557 h 9852"/>
              <a:gd name="connsiteX15" fmla="*/ 2808 w 10000"/>
              <a:gd name="connsiteY15" fmla="*/ 9209 h 9852"/>
              <a:gd name="connsiteX16" fmla="*/ 2681 w 10000"/>
              <a:gd name="connsiteY16" fmla="*/ 9779 h 9852"/>
              <a:gd name="connsiteX17" fmla="*/ 0 w 10000"/>
              <a:gd name="connsiteY17" fmla="*/ 9852 h 9852"/>
              <a:gd name="connsiteX18" fmla="*/ 0 w 10000"/>
              <a:gd name="connsiteY18" fmla="*/ 9852 h 9852"/>
              <a:gd name="connsiteX19" fmla="*/ 64 w 10000"/>
              <a:gd name="connsiteY19" fmla="*/ 9209 h 9852"/>
              <a:gd name="connsiteX20" fmla="*/ 523 w 10000"/>
              <a:gd name="connsiteY20" fmla="*/ 8775 h 9852"/>
              <a:gd name="connsiteX21" fmla="*/ 915 w 10000"/>
              <a:gd name="connsiteY21" fmla="*/ 7983 h 9852"/>
              <a:gd name="connsiteX22" fmla="*/ 848 w 10000"/>
              <a:gd name="connsiteY22" fmla="*/ 7479 h 9852"/>
              <a:gd name="connsiteX23" fmla="*/ 1307 w 10000"/>
              <a:gd name="connsiteY23" fmla="*/ 6397 h 9852"/>
              <a:gd name="connsiteX24" fmla="*/ 1960 w 10000"/>
              <a:gd name="connsiteY24" fmla="*/ 5462 h 9852"/>
              <a:gd name="connsiteX25" fmla="*/ 2420 w 10000"/>
              <a:gd name="connsiteY25" fmla="*/ 5248 h 9852"/>
              <a:gd name="connsiteX26" fmla="*/ 2744 w 10000"/>
              <a:gd name="connsiteY26" fmla="*/ 4385 h 9852"/>
              <a:gd name="connsiteX27" fmla="*/ 2744 w 10000"/>
              <a:gd name="connsiteY27" fmla="*/ 3592 h 9852"/>
              <a:gd name="connsiteX28" fmla="*/ 3201 w 10000"/>
              <a:gd name="connsiteY28" fmla="*/ 2661 h 9852"/>
              <a:gd name="connsiteX29" fmla="*/ 3987 w 10000"/>
              <a:gd name="connsiteY29" fmla="*/ 2084 h 9852"/>
              <a:gd name="connsiteX30" fmla="*/ 4772 w 10000"/>
              <a:gd name="connsiteY30" fmla="*/ 574 h 9852"/>
              <a:gd name="connsiteX31" fmla="*/ 4836 w 10000"/>
              <a:gd name="connsiteY31" fmla="*/ 574 h 9852"/>
              <a:gd name="connsiteX32" fmla="*/ 5425 w 10000"/>
              <a:gd name="connsiteY32" fmla="*/ 0 h 9852"/>
              <a:gd name="connsiteX0" fmla="*/ 4836 w 10000"/>
              <a:gd name="connsiteY0" fmla="*/ 0 h 9417"/>
              <a:gd name="connsiteX1" fmla="*/ 10000 w 10000"/>
              <a:gd name="connsiteY1" fmla="*/ 0 h 9417"/>
              <a:gd name="connsiteX2" fmla="*/ 9801 w 10000"/>
              <a:gd name="connsiteY2" fmla="*/ 0 h 9417"/>
              <a:gd name="connsiteX3" fmla="*/ 9801 w 10000"/>
              <a:gd name="connsiteY3" fmla="*/ 0 h 9417"/>
              <a:gd name="connsiteX4" fmla="*/ 9801 w 10000"/>
              <a:gd name="connsiteY4" fmla="*/ 804 h 9417"/>
              <a:gd name="connsiteX5" fmla="*/ 9084 w 10000"/>
              <a:gd name="connsiteY5" fmla="*/ 869 h 9417"/>
              <a:gd name="connsiteX6" fmla="*/ 8689 w 10000"/>
              <a:gd name="connsiteY6" fmla="*/ 1164 h 9417"/>
              <a:gd name="connsiteX7" fmla="*/ 8170 w 10000"/>
              <a:gd name="connsiteY7" fmla="*/ 1164 h 9417"/>
              <a:gd name="connsiteX8" fmla="*/ 7776 w 10000"/>
              <a:gd name="connsiteY8" fmla="*/ 1019 h 9417"/>
              <a:gd name="connsiteX9" fmla="*/ 6795 w 10000"/>
              <a:gd name="connsiteY9" fmla="*/ 1164 h 9417"/>
              <a:gd name="connsiteX10" fmla="*/ 6406 w 10000"/>
              <a:gd name="connsiteY10" fmla="*/ 2331 h 9417"/>
              <a:gd name="connsiteX11" fmla="*/ 6012 w 10000"/>
              <a:gd name="connsiteY11" fmla="*/ 2477 h 9417"/>
              <a:gd name="connsiteX12" fmla="*/ 5425 w 10000"/>
              <a:gd name="connsiteY12" fmla="*/ 4380 h 9417"/>
              <a:gd name="connsiteX13" fmla="*/ 3789 w 10000"/>
              <a:gd name="connsiteY13" fmla="*/ 5987 h 9417"/>
              <a:gd name="connsiteX14" fmla="*/ 3333 w 10000"/>
              <a:gd name="connsiteY14" fmla="*/ 8103 h 9417"/>
              <a:gd name="connsiteX15" fmla="*/ 2808 w 10000"/>
              <a:gd name="connsiteY15" fmla="*/ 8764 h 9417"/>
              <a:gd name="connsiteX16" fmla="*/ 2681 w 10000"/>
              <a:gd name="connsiteY16" fmla="*/ 9343 h 9417"/>
              <a:gd name="connsiteX17" fmla="*/ 0 w 10000"/>
              <a:gd name="connsiteY17" fmla="*/ 9417 h 9417"/>
              <a:gd name="connsiteX18" fmla="*/ 0 w 10000"/>
              <a:gd name="connsiteY18" fmla="*/ 9417 h 9417"/>
              <a:gd name="connsiteX19" fmla="*/ 64 w 10000"/>
              <a:gd name="connsiteY19" fmla="*/ 8764 h 9417"/>
              <a:gd name="connsiteX20" fmla="*/ 523 w 10000"/>
              <a:gd name="connsiteY20" fmla="*/ 8324 h 9417"/>
              <a:gd name="connsiteX21" fmla="*/ 915 w 10000"/>
              <a:gd name="connsiteY21" fmla="*/ 7520 h 9417"/>
              <a:gd name="connsiteX22" fmla="*/ 848 w 10000"/>
              <a:gd name="connsiteY22" fmla="*/ 7008 h 9417"/>
              <a:gd name="connsiteX23" fmla="*/ 1307 w 10000"/>
              <a:gd name="connsiteY23" fmla="*/ 5910 h 9417"/>
              <a:gd name="connsiteX24" fmla="*/ 1960 w 10000"/>
              <a:gd name="connsiteY24" fmla="*/ 4961 h 9417"/>
              <a:gd name="connsiteX25" fmla="*/ 2420 w 10000"/>
              <a:gd name="connsiteY25" fmla="*/ 4744 h 9417"/>
              <a:gd name="connsiteX26" fmla="*/ 2744 w 10000"/>
              <a:gd name="connsiteY26" fmla="*/ 3868 h 9417"/>
              <a:gd name="connsiteX27" fmla="*/ 2744 w 10000"/>
              <a:gd name="connsiteY27" fmla="*/ 3063 h 9417"/>
              <a:gd name="connsiteX28" fmla="*/ 3201 w 10000"/>
              <a:gd name="connsiteY28" fmla="*/ 2118 h 9417"/>
              <a:gd name="connsiteX29" fmla="*/ 3987 w 10000"/>
              <a:gd name="connsiteY29" fmla="*/ 1532 h 9417"/>
              <a:gd name="connsiteX30" fmla="*/ 4772 w 10000"/>
              <a:gd name="connsiteY30" fmla="*/ 0 h 9417"/>
              <a:gd name="connsiteX31" fmla="*/ 4836 w 10000"/>
              <a:gd name="connsiteY31" fmla="*/ 0 h 94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0000" h="9417">
                <a:moveTo>
                  <a:pt x="4836" y="0"/>
                </a:moveTo>
                <a:lnTo>
                  <a:pt x="10000" y="0"/>
                </a:lnTo>
                <a:lnTo>
                  <a:pt x="9801" y="0"/>
                </a:lnTo>
                <a:lnTo>
                  <a:pt x="9801" y="0"/>
                </a:lnTo>
                <a:lnTo>
                  <a:pt x="9801" y="804"/>
                </a:lnTo>
                <a:lnTo>
                  <a:pt x="9084" y="869"/>
                </a:lnTo>
                <a:lnTo>
                  <a:pt x="8689" y="1164"/>
                </a:lnTo>
                <a:lnTo>
                  <a:pt x="8170" y="1164"/>
                </a:lnTo>
                <a:lnTo>
                  <a:pt x="7776" y="1019"/>
                </a:lnTo>
                <a:lnTo>
                  <a:pt x="6795" y="1164"/>
                </a:lnTo>
                <a:cubicBezTo>
                  <a:pt x="6667" y="1555"/>
                  <a:pt x="6538" y="1943"/>
                  <a:pt x="6406" y="2331"/>
                </a:cubicBezTo>
                <a:lnTo>
                  <a:pt x="6012" y="2477"/>
                </a:lnTo>
                <a:lnTo>
                  <a:pt x="5425" y="4380"/>
                </a:lnTo>
                <a:lnTo>
                  <a:pt x="3789" y="5987"/>
                </a:lnTo>
                <a:cubicBezTo>
                  <a:pt x="3641" y="6693"/>
                  <a:pt x="3485" y="7399"/>
                  <a:pt x="3333" y="8103"/>
                </a:cubicBezTo>
                <a:lnTo>
                  <a:pt x="2808" y="8764"/>
                </a:lnTo>
                <a:cubicBezTo>
                  <a:pt x="2765" y="8951"/>
                  <a:pt x="2725" y="9147"/>
                  <a:pt x="2681" y="9343"/>
                </a:cubicBezTo>
                <a:lnTo>
                  <a:pt x="0" y="9417"/>
                </a:lnTo>
                <a:lnTo>
                  <a:pt x="0" y="9417"/>
                </a:lnTo>
                <a:cubicBezTo>
                  <a:pt x="21" y="9202"/>
                  <a:pt x="43" y="8977"/>
                  <a:pt x="64" y="8764"/>
                </a:cubicBezTo>
                <a:lnTo>
                  <a:pt x="523" y="8324"/>
                </a:lnTo>
                <a:cubicBezTo>
                  <a:pt x="655" y="8058"/>
                  <a:pt x="784" y="7789"/>
                  <a:pt x="915" y="7520"/>
                </a:cubicBezTo>
                <a:cubicBezTo>
                  <a:pt x="894" y="7345"/>
                  <a:pt x="872" y="7184"/>
                  <a:pt x="848" y="7008"/>
                </a:cubicBezTo>
                <a:lnTo>
                  <a:pt x="1307" y="5910"/>
                </a:lnTo>
                <a:lnTo>
                  <a:pt x="1960" y="4961"/>
                </a:lnTo>
                <a:lnTo>
                  <a:pt x="2420" y="4744"/>
                </a:lnTo>
                <a:cubicBezTo>
                  <a:pt x="2527" y="4450"/>
                  <a:pt x="2637" y="4159"/>
                  <a:pt x="2744" y="3868"/>
                </a:cubicBezTo>
                <a:lnTo>
                  <a:pt x="2744" y="3063"/>
                </a:lnTo>
                <a:lnTo>
                  <a:pt x="3201" y="2118"/>
                </a:lnTo>
                <a:lnTo>
                  <a:pt x="3987" y="1532"/>
                </a:lnTo>
                <a:lnTo>
                  <a:pt x="4772" y="0"/>
                </a:lnTo>
                <a:lnTo>
                  <a:pt x="4836" y="0"/>
                </a:lnTo>
                <a:close/>
              </a:path>
            </a:pathLst>
          </a:custGeom>
          <a:solidFill>
            <a:srgbClr val="D9D9D9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>
              <a:defRPr/>
            </a:pPr>
            <a:endParaRPr lang="hu-HU" sz="1350" kern="0">
              <a:solidFill>
                <a:srgbClr val="323232"/>
              </a:solidFill>
            </a:endParaRPr>
          </a:p>
        </p:txBody>
      </p:sp>
      <p:cxnSp>
        <p:nvCxnSpPr>
          <p:cNvPr id="143" name="Straight Arrow Connector 142"/>
          <p:cNvCxnSpPr/>
          <p:nvPr/>
        </p:nvCxnSpPr>
        <p:spPr>
          <a:xfrm>
            <a:off x="3371653" y="3328688"/>
            <a:ext cx="632333" cy="357589"/>
          </a:xfrm>
          <a:prstGeom prst="straightConnector1">
            <a:avLst/>
          </a:prstGeom>
          <a:noFill/>
          <a:ln w="50800">
            <a:solidFill>
              <a:srgbClr val="0033CC"/>
            </a:solidFill>
            <a:headEnd type="triangle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59" name="Freeform 16"/>
          <p:cNvSpPr>
            <a:spLocks/>
          </p:cNvSpPr>
          <p:nvPr/>
        </p:nvSpPr>
        <p:spPr bwMode="auto">
          <a:xfrm>
            <a:off x="3728842" y="3107269"/>
            <a:ext cx="385440" cy="372011"/>
          </a:xfrm>
          <a:custGeom>
            <a:avLst/>
            <a:gdLst>
              <a:gd name="T0" fmla="*/ 40 w 95"/>
              <a:gd name="T1" fmla="*/ 13 h 74"/>
              <a:gd name="T2" fmla="*/ 48 w 95"/>
              <a:gd name="T3" fmla="*/ 15 h 74"/>
              <a:gd name="T4" fmla="*/ 50 w 95"/>
              <a:gd name="T5" fmla="*/ 9 h 74"/>
              <a:gd name="T6" fmla="*/ 58 w 95"/>
              <a:gd name="T7" fmla="*/ 1 h 74"/>
              <a:gd name="T8" fmla="*/ 69 w 95"/>
              <a:gd name="T9" fmla="*/ 12 h 74"/>
              <a:gd name="T10" fmla="*/ 81 w 95"/>
              <a:gd name="T11" fmla="*/ 27 h 74"/>
              <a:gd name="T12" fmla="*/ 89 w 95"/>
              <a:gd name="T13" fmla="*/ 28 h 74"/>
              <a:gd name="T14" fmla="*/ 95 w 95"/>
              <a:gd name="T15" fmla="*/ 33 h 74"/>
              <a:gd name="T16" fmla="*/ 82 w 95"/>
              <a:gd name="T17" fmla="*/ 35 h 74"/>
              <a:gd name="T18" fmla="*/ 82 w 95"/>
              <a:gd name="T19" fmla="*/ 51 h 74"/>
              <a:gd name="T20" fmla="*/ 80 w 95"/>
              <a:gd name="T21" fmla="*/ 58 h 74"/>
              <a:gd name="T22" fmla="*/ 75 w 95"/>
              <a:gd name="T23" fmla="*/ 63 h 74"/>
              <a:gd name="T24" fmla="*/ 77 w 95"/>
              <a:gd name="T25" fmla="*/ 73 h 74"/>
              <a:gd name="T26" fmla="*/ 73 w 95"/>
              <a:gd name="T27" fmla="*/ 74 h 74"/>
              <a:gd name="T28" fmla="*/ 61 w 95"/>
              <a:gd name="T29" fmla="*/ 63 h 74"/>
              <a:gd name="T30" fmla="*/ 65 w 95"/>
              <a:gd name="T31" fmla="*/ 53 h 74"/>
              <a:gd name="T32" fmla="*/ 59 w 95"/>
              <a:gd name="T33" fmla="*/ 47 h 74"/>
              <a:gd name="T34" fmla="*/ 52 w 95"/>
              <a:gd name="T35" fmla="*/ 49 h 74"/>
              <a:gd name="T36" fmla="*/ 35 w 95"/>
              <a:gd name="T37" fmla="*/ 64 h 74"/>
              <a:gd name="T38" fmla="*/ 32 w 95"/>
              <a:gd name="T39" fmla="*/ 49 h 74"/>
              <a:gd name="T40" fmla="*/ 24 w 95"/>
              <a:gd name="T41" fmla="*/ 46 h 74"/>
              <a:gd name="T42" fmla="*/ 16 w 95"/>
              <a:gd name="T43" fmla="*/ 40 h 74"/>
              <a:gd name="T44" fmla="*/ 19 w 95"/>
              <a:gd name="T45" fmla="*/ 34 h 74"/>
              <a:gd name="T46" fmla="*/ 9 w 95"/>
              <a:gd name="T47" fmla="*/ 27 h 74"/>
              <a:gd name="T48" fmla="*/ 11 w 95"/>
              <a:gd name="T49" fmla="*/ 22 h 74"/>
              <a:gd name="T50" fmla="*/ 4 w 95"/>
              <a:gd name="T51" fmla="*/ 18 h 74"/>
              <a:gd name="T52" fmla="*/ 0 w 95"/>
              <a:gd name="T53" fmla="*/ 13 h 74"/>
              <a:gd name="T54" fmla="*/ 3 w 95"/>
              <a:gd name="T55" fmla="*/ 9 h 74"/>
              <a:gd name="T56" fmla="*/ 17 w 95"/>
              <a:gd name="T57" fmla="*/ 15 h 74"/>
              <a:gd name="T58" fmla="*/ 26 w 95"/>
              <a:gd name="T59" fmla="*/ 17 h 74"/>
              <a:gd name="T60" fmla="*/ 28 w 95"/>
              <a:gd name="T61" fmla="*/ 14 h 74"/>
              <a:gd name="T62" fmla="*/ 18 w 95"/>
              <a:gd name="T63" fmla="*/ 3 h 74"/>
              <a:gd name="T64" fmla="*/ 21 w 95"/>
              <a:gd name="T65" fmla="*/ 0 h 74"/>
              <a:gd name="T66" fmla="*/ 26 w 95"/>
              <a:gd name="T67" fmla="*/ 1 h 74"/>
              <a:gd name="T68" fmla="*/ 40 w 95"/>
              <a:gd name="T69" fmla="*/ 13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95" h="74">
                <a:moveTo>
                  <a:pt x="40" y="13"/>
                </a:moveTo>
                <a:lnTo>
                  <a:pt x="48" y="15"/>
                </a:lnTo>
                <a:lnTo>
                  <a:pt x="50" y="9"/>
                </a:lnTo>
                <a:lnTo>
                  <a:pt x="58" y="1"/>
                </a:lnTo>
                <a:lnTo>
                  <a:pt x="69" y="12"/>
                </a:lnTo>
                <a:lnTo>
                  <a:pt x="81" y="27"/>
                </a:lnTo>
                <a:lnTo>
                  <a:pt x="89" y="28"/>
                </a:lnTo>
                <a:lnTo>
                  <a:pt x="95" y="33"/>
                </a:lnTo>
                <a:lnTo>
                  <a:pt x="82" y="35"/>
                </a:lnTo>
                <a:lnTo>
                  <a:pt x="82" y="51"/>
                </a:lnTo>
                <a:lnTo>
                  <a:pt x="80" y="58"/>
                </a:lnTo>
                <a:lnTo>
                  <a:pt x="75" y="63"/>
                </a:lnTo>
                <a:lnTo>
                  <a:pt x="77" y="73"/>
                </a:lnTo>
                <a:lnTo>
                  <a:pt x="73" y="74"/>
                </a:lnTo>
                <a:lnTo>
                  <a:pt x="61" y="63"/>
                </a:lnTo>
                <a:lnTo>
                  <a:pt x="65" y="53"/>
                </a:lnTo>
                <a:lnTo>
                  <a:pt x="59" y="47"/>
                </a:lnTo>
                <a:lnTo>
                  <a:pt x="52" y="49"/>
                </a:lnTo>
                <a:lnTo>
                  <a:pt x="35" y="64"/>
                </a:lnTo>
                <a:lnTo>
                  <a:pt x="32" y="49"/>
                </a:lnTo>
                <a:lnTo>
                  <a:pt x="24" y="46"/>
                </a:lnTo>
                <a:lnTo>
                  <a:pt x="16" y="40"/>
                </a:lnTo>
                <a:lnTo>
                  <a:pt x="19" y="34"/>
                </a:lnTo>
                <a:lnTo>
                  <a:pt x="9" y="27"/>
                </a:lnTo>
                <a:lnTo>
                  <a:pt x="11" y="22"/>
                </a:lnTo>
                <a:lnTo>
                  <a:pt x="4" y="18"/>
                </a:lnTo>
                <a:lnTo>
                  <a:pt x="0" y="13"/>
                </a:lnTo>
                <a:lnTo>
                  <a:pt x="3" y="9"/>
                </a:lnTo>
                <a:lnTo>
                  <a:pt x="17" y="15"/>
                </a:lnTo>
                <a:lnTo>
                  <a:pt x="26" y="17"/>
                </a:lnTo>
                <a:lnTo>
                  <a:pt x="28" y="14"/>
                </a:lnTo>
                <a:lnTo>
                  <a:pt x="18" y="3"/>
                </a:lnTo>
                <a:lnTo>
                  <a:pt x="21" y="0"/>
                </a:lnTo>
                <a:lnTo>
                  <a:pt x="26" y="1"/>
                </a:lnTo>
                <a:lnTo>
                  <a:pt x="40" y="13"/>
                </a:lnTo>
                <a:close/>
              </a:path>
            </a:pathLst>
          </a:custGeom>
          <a:gradFill>
            <a:gsLst>
              <a:gs pos="52000">
                <a:srgbClr val="C4C92B">
                  <a:lumMod val="84000"/>
                  <a:lumOff val="16000"/>
                </a:srgbClr>
              </a:gs>
              <a:gs pos="0">
                <a:srgbClr val="FFC000"/>
              </a:gs>
              <a:gs pos="74000">
                <a:srgbClr val="92D050"/>
              </a:gs>
              <a:gs pos="83000">
                <a:srgbClr val="92D050"/>
              </a:gs>
              <a:gs pos="100000">
                <a:srgbClr val="92D050"/>
              </a:gs>
            </a:gsLst>
            <a:lin ang="5400000" scaled="1"/>
          </a:gra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90" name="Freeform 16"/>
          <p:cNvSpPr>
            <a:spLocks/>
          </p:cNvSpPr>
          <p:nvPr/>
        </p:nvSpPr>
        <p:spPr bwMode="auto">
          <a:xfrm>
            <a:off x="3729222" y="3108584"/>
            <a:ext cx="385440" cy="372011"/>
          </a:xfrm>
          <a:custGeom>
            <a:avLst/>
            <a:gdLst>
              <a:gd name="T0" fmla="*/ 40 w 95"/>
              <a:gd name="T1" fmla="*/ 13 h 74"/>
              <a:gd name="T2" fmla="*/ 48 w 95"/>
              <a:gd name="T3" fmla="*/ 15 h 74"/>
              <a:gd name="T4" fmla="*/ 50 w 95"/>
              <a:gd name="T5" fmla="*/ 9 h 74"/>
              <a:gd name="T6" fmla="*/ 58 w 95"/>
              <a:gd name="T7" fmla="*/ 1 h 74"/>
              <a:gd name="T8" fmla="*/ 69 w 95"/>
              <a:gd name="T9" fmla="*/ 12 h 74"/>
              <a:gd name="T10" fmla="*/ 81 w 95"/>
              <a:gd name="T11" fmla="*/ 27 h 74"/>
              <a:gd name="T12" fmla="*/ 89 w 95"/>
              <a:gd name="T13" fmla="*/ 28 h 74"/>
              <a:gd name="T14" fmla="*/ 95 w 95"/>
              <a:gd name="T15" fmla="*/ 33 h 74"/>
              <a:gd name="T16" fmla="*/ 82 w 95"/>
              <a:gd name="T17" fmla="*/ 35 h 74"/>
              <a:gd name="T18" fmla="*/ 82 w 95"/>
              <a:gd name="T19" fmla="*/ 51 h 74"/>
              <a:gd name="T20" fmla="*/ 80 w 95"/>
              <a:gd name="T21" fmla="*/ 58 h 74"/>
              <a:gd name="T22" fmla="*/ 75 w 95"/>
              <a:gd name="T23" fmla="*/ 63 h 74"/>
              <a:gd name="T24" fmla="*/ 77 w 95"/>
              <a:gd name="T25" fmla="*/ 73 h 74"/>
              <a:gd name="T26" fmla="*/ 73 w 95"/>
              <a:gd name="T27" fmla="*/ 74 h 74"/>
              <a:gd name="T28" fmla="*/ 61 w 95"/>
              <a:gd name="T29" fmla="*/ 63 h 74"/>
              <a:gd name="T30" fmla="*/ 65 w 95"/>
              <a:gd name="T31" fmla="*/ 53 h 74"/>
              <a:gd name="T32" fmla="*/ 59 w 95"/>
              <a:gd name="T33" fmla="*/ 47 h 74"/>
              <a:gd name="T34" fmla="*/ 52 w 95"/>
              <a:gd name="T35" fmla="*/ 49 h 74"/>
              <a:gd name="T36" fmla="*/ 35 w 95"/>
              <a:gd name="T37" fmla="*/ 64 h 74"/>
              <a:gd name="T38" fmla="*/ 32 w 95"/>
              <a:gd name="T39" fmla="*/ 49 h 74"/>
              <a:gd name="T40" fmla="*/ 24 w 95"/>
              <a:gd name="T41" fmla="*/ 46 h 74"/>
              <a:gd name="T42" fmla="*/ 16 w 95"/>
              <a:gd name="T43" fmla="*/ 40 h 74"/>
              <a:gd name="T44" fmla="*/ 19 w 95"/>
              <a:gd name="T45" fmla="*/ 34 h 74"/>
              <a:gd name="T46" fmla="*/ 9 w 95"/>
              <a:gd name="T47" fmla="*/ 27 h 74"/>
              <a:gd name="T48" fmla="*/ 11 w 95"/>
              <a:gd name="T49" fmla="*/ 22 h 74"/>
              <a:gd name="T50" fmla="*/ 4 w 95"/>
              <a:gd name="T51" fmla="*/ 18 h 74"/>
              <a:gd name="T52" fmla="*/ 0 w 95"/>
              <a:gd name="T53" fmla="*/ 13 h 74"/>
              <a:gd name="T54" fmla="*/ 3 w 95"/>
              <a:gd name="T55" fmla="*/ 9 h 74"/>
              <a:gd name="T56" fmla="*/ 17 w 95"/>
              <a:gd name="T57" fmla="*/ 15 h 74"/>
              <a:gd name="T58" fmla="*/ 26 w 95"/>
              <a:gd name="T59" fmla="*/ 17 h 74"/>
              <a:gd name="T60" fmla="*/ 28 w 95"/>
              <a:gd name="T61" fmla="*/ 14 h 74"/>
              <a:gd name="T62" fmla="*/ 18 w 95"/>
              <a:gd name="T63" fmla="*/ 3 h 74"/>
              <a:gd name="T64" fmla="*/ 21 w 95"/>
              <a:gd name="T65" fmla="*/ 0 h 74"/>
              <a:gd name="T66" fmla="*/ 26 w 95"/>
              <a:gd name="T67" fmla="*/ 1 h 74"/>
              <a:gd name="T68" fmla="*/ 40 w 95"/>
              <a:gd name="T69" fmla="*/ 13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95" h="74">
                <a:moveTo>
                  <a:pt x="40" y="13"/>
                </a:moveTo>
                <a:lnTo>
                  <a:pt x="48" y="15"/>
                </a:lnTo>
                <a:lnTo>
                  <a:pt x="50" y="9"/>
                </a:lnTo>
                <a:lnTo>
                  <a:pt x="58" y="1"/>
                </a:lnTo>
                <a:lnTo>
                  <a:pt x="69" y="12"/>
                </a:lnTo>
                <a:lnTo>
                  <a:pt x="81" y="27"/>
                </a:lnTo>
                <a:lnTo>
                  <a:pt x="89" y="28"/>
                </a:lnTo>
                <a:lnTo>
                  <a:pt x="95" y="33"/>
                </a:lnTo>
                <a:lnTo>
                  <a:pt x="82" y="35"/>
                </a:lnTo>
                <a:lnTo>
                  <a:pt x="82" y="51"/>
                </a:lnTo>
                <a:lnTo>
                  <a:pt x="80" y="58"/>
                </a:lnTo>
                <a:lnTo>
                  <a:pt x="75" y="63"/>
                </a:lnTo>
                <a:lnTo>
                  <a:pt x="77" y="73"/>
                </a:lnTo>
                <a:lnTo>
                  <a:pt x="73" y="74"/>
                </a:lnTo>
                <a:lnTo>
                  <a:pt x="61" y="63"/>
                </a:lnTo>
                <a:lnTo>
                  <a:pt x="65" y="53"/>
                </a:lnTo>
                <a:lnTo>
                  <a:pt x="59" y="47"/>
                </a:lnTo>
                <a:lnTo>
                  <a:pt x="52" y="49"/>
                </a:lnTo>
                <a:lnTo>
                  <a:pt x="35" y="64"/>
                </a:lnTo>
                <a:lnTo>
                  <a:pt x="32" y="49"/>
                </a:lnTo>
                <a:lnTo>
                  <a:pt x="24" y="46"/>
                </a:lnTo>
                <a:lnTo>
                  <a:pt x="16" y="40"/>
                </a:lnTo>
                <a:lnTo>
                  <a:pt x="19" y="34"/>
                </a:lnTo>
                <a:lnTo>
                  <a:pt x="9" y="27"/>
                </a:lnTo>
                <a:lnTo>
                  <a:pt x="11" y="22"/>
                </a:lnTo>
                <a:lnTo>
                  <a:pt x="4" y="18"/>
                </a:lnTo>
                <a:lnTo>
                  <a:pt x="0" y="13"/>
                </a:lnTo>
                <a:lnTo>
                  <a:pt x="3" y="9"/>
                </a:lnTo>
                <a:lnTo>
                  <a:pt x="17" y="15"/>
                </a:lnTo>
                <a:lnTo>
                  <a:pt x="26" y="17"/>
                </a:lnTo>
                <a:lnTo>
                  <a:pt x="28" y="14"/>
                </a:lnTo>
                <a:lnTo>
                  <a:pt x="18" y="3"/>
                </a:lnTo>
                <a:lnTo>
                  <a:pt x="21" y="0"/>
                </a:lnTo>
                <a:lnTo>
                  <a:pt x="26" y="1"/>
                </a:lnTo>
                <a:lnTo>
                  <a:pt x="40" y="13"/>
                </a:lnTo>
                <a:close/>
              </a:path>
            </a:pathLst>
          </a:custGeom>
          <a:gradFill>
            <a:gsLst>
              <a:gs pos="31000">
                <a:srgbClr val="889AD2"/>
              </a:gs>
              <a:gs pos="0">
                <a:srgbClr val="889AD2"/>
              </a:gs>
              <a:gs pos="50000">
                <a:srgbClr val="92D050"/>
              </a:gs>
              <a:gs pos="63000">
                <a:srgbClr val="92D050"/>
              </a:gs>
              <a:gs pos="79000">
                <a:srgbClr val="00B050"/>
              </a:gs>
            </a:gsLst>
            <a:lin ang="5400000" scaled="1"/>
          </a:gra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91" name="Freeform 89"/>
          <p:cNvSpPr>
            <a:spLocks/>
          </p:cNvSpPr>
          <p:nvPr/>
        </p:nvSpPr>
        <p:spPr bwMode="auto">
          <a:xfrm>
            <a:off x="3692338" y="3323844"/>
            <a:ext cx="1529587" cy="1523234"/>
          </a:xfrm>
          <a:custGeom>
            <a:avLst/>
            <a:gdLst>
              <a:gd name="T0" fmla="*/ 190 w 377"/>
              <a:gd name="T1" fmla="*/ 48 h 303"/>
              <a:gd name="T2" fmla="*/ 211 w 377"/>
              <a:gd name="T3" fmla="*/ 37 h 303"/>
              <a:gd name="T4" fmla="*/ 231 w 377"/>
              <a:gd name="T5" fmla="*/ 35 h 303"/>
              <a:gd name="T6" fmla="*/ 266 w 377"/>
              <a:gd name="T7" fmla="*/ 48 h 303"/>
              <a:gd name="T8" fmla="*/ 302 w 377"/>
              <a:gd name="T9" fmla="*/ 67 h 303"/>
              <a:gd name="T10" fmla="*/ 306 w 377"/>
              <a:gd name="T11" fmla="*/ 110 h 303"/>
              <a:gd name="T12" fmla="*/ 312 w 377"/>
              <a:gd name="T13" fmla="*/ 128 h 303"/>
              <a:gd name="T14" fmla="*/ 315 w 377"/>
              <a:gd name="T15" fmla="*/ 156 h 303"/>
              <a:gd name="T16" fmla="*/ 333 w 377"/>
              <a:gd name="T17" fmla="*/ 173 h 303"/>
              <a:gd name="T18" fmla="*/ 324 w 377"/>
              <a:gd name="T19" fmla="*/ 205 h 303"/>
              <a:gd name="T20" fmla="*/ 343 w 377"/>
              <a:gd name="T21" fmla="*/ 228 h 303"/>
              <a:gd name="T22" fmla="*/ 365 w 377"/>
              <a:gd name="T23" fmla="*/ 256 h 303"/>
              <a:gd name="T24" fmla="*/ 377 w 377"/>
              <a:gd name="T25" fmla="*/ 268 h 303"/>
              <a:gd name="T26" fmla="*/ 349 w 377"/>
              <a:gd name="T27" fmla="*/ 303 h 303"/>
              <a:gd name="T28" fmla="*/ 295 w 377"/>
              <a:gd name="T29" fmla="*/ 292 h 303"/>
              <a:gd name="T30" fmla="*/ 264 w 377"/>
              <a:gd name="T31" fmla="*/ 264 h 303"/>
              <a:gd name="T32" fmla="*/ 241 w 377"/>
              <a:gd name="T33" fmla="*/ 264 h 303"/>
              <a:gd name="T34" fmla="*/ 202 w 377"/>
              <a:gd name="T35" fmla="*/ 268 h 303"/>
              <a:gd name="T36" fmla="*/ 164 w 377"/>
              <a:gd name="T37" fmla="*/ 246 h 303"/>
              <a:gd name="T38" fmla="*/ 133 w 377"/>
              <a:gd name="T39" fmla="*/ 198 h 303"/>
              <a:gd name="T40" fmla="*/ 112 w 377"/>
              <a:gd name="T41" fmla="*/ 195 h 303"/>
              <a:gd name="T42" fmla="*/ 96 w 377"/>
              <a:gd name="T43" fmla="*/ 192 h 303"/>
              <a:gd name="T44" fmla="*/ 88 w 377"/>
              <a:gd name="T45" fmla="*/ 181 h 303"/>
              <a:gd name="T46" fmla="*/ 78 w 377"/>
              <a:gd name="T47" fmla="*/ 150 h 303"/>
              <a:gd name="T48" fmla="*/ 40 w 377"/>
              <a:gd name="T49" fmla="*/ 119 h 303"/>
              <a:gd name="T50" fmla="*/ 49 w 377"/>
              <a:gd name="T51" fmla="*/ 96 h 303"/>
              <a:gd name="T52" fmla="*/ 34 w 377"/>
              <a:gd name="T53" fmla="*/ 77 h 303"/>
              <a:gd name="T54" fmla="*/ 7 w 377"/>
              <a:gd name="T55" fmla="*/ 36 h 303"/>
              <a:gd name="T56" fmla="*/ 0 w 377"/>
              <a:gd name="T57" fmla="*/ 6 h 303"/>
              <a:gd name="T58" fmla="*/ 15 w 377"/>
              <a:gd name="T59" fmla="*/ 8 h 303"/>
              <a:gd name="T60" fmla="*/ 37 w 377"/>
              <a:gd name="T61" fmla="*/ 20 h 303"/>
              <a:gd name="T62" fmla="*/ 60 w 377"/>
              <a:gd name="T63" fmla="*/ 5 h 303"/>
              <a:gd name="T64" fmla="*/ 73 w 377"/>
              <a:gd name="T65" fmla="*/ 9 h 303"/>
              <a:gd name="T66" fmla="*/ 81 w 377"/>
              <a:gd name="T67" fmla="*/ 30 h 303"/>
              <a:gd name="T68" fmla="*/ 93 w 377"/>
              <a:gd name="T69" fmla="*/ 44 h 303"/>
              <a:gd name="T70" fmla="*/ 124 w 377"/>
              <a:gd name="T71" fmla="*/ 59 h 303"/>
              <a:gd name="T72" fmla="*/ 175 w 377"/>
              <a:gd name="T73" fmla="*/ 57 h 3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377" h="303">
                <a:moveTo>
                  <a:pt x="176" y="52"/>
                </a:moveTo>
                <a:lnTo>
                  <a:pt x="190" y="48"/>
                </a:lnTo>
                <a:lnTo>
                  <a:pt x="200" y="36"/>
                </a:lnTo>
                <a:lnTo>
                  <a:pt x="211" y="37"/>
                </a:lnTo>
                <a:lnTo>
                  <a:pt x="218" y="33"/>
                </a:lnTo>
                <a:lnTo>
                  <a:pt x="231" y="35"/>
                </a:lnTo>
                <a:lnTo>
                  <a:pt x="252" y="45"/>
                </a:lnTo>
                <a:lnTo>
                  <a:pt x="266" y="48"/>
                </a:lnTo>
                <a:lnTo>
                  <a:pt x="289" y="66"/>
                </a:lnTo>
                <a:lnTo>
                  <a:pt x="302" y="67"/>
                </a:lnTo>
                <a:lnTo>
                  <a:pt x="308" y="84"/>
                </a:lnTo>
                <a:lnTo>
                  <a:pt x="306" y="110"/>
                </a:lnTo>
                <a:lnTo>
                  <a:pt x="304" y="125"/>
                </a:lnTo>
                <a:lnTo>
                  <a:pt x="312" y="128"/>
                </a:lnTo>
                <a:lnTo>
                  <a:pt x="307" y="139"/>
                </a:lnTo>
                <a:lnTo>
                  <a:pt x="315" y="156"/>
                </a:lnTo>
                <a:lnTo>
                  <a:pt x="319" y="169"/>
                </a:lnTo>
                <a:lnTo>
                  <a:pt x="333" y="173"/>
                </a:lnTo>
                <a:lnTo>
                  <a:pt x="337" y="186"/>
                </a:lnTo>
                <a:lnTo>
                  <a:pt x="324" y="205"/>
                </a:lnTo>
                <a:lnTo>
                  <a:pt x="334" y="216"/>
                </a:lnTo>
                <a:lnTo>
                  <a:pt x="343" y="228"/>
                </a:lnTo>
                <a:lnTo>
                  <a:pt x="362" y="237"/>
                </a:lnTo>
                <a:lnTo>
                  <a:pt x="365" y="256"/>
                </a:lnTo>
                <a:lnTo>
                  <a:pt x="374" y="259"/>
                </a:lnTo>
                <a:lnTo>
                  <a:pt x="377" y="268"/>
                </a:lnTo>
                <a:lnTo>
                  <a:pt x="353" y="279"/>
                </a:lnTo>
                <a:lnTo>
                  <a:pt x="349" y="303"/>
                </a:lnTo>
                <a:lnTo>
                  <a:pt x="315" y="297"/>
                </a:lnTo>
                <a:lnTo>
                  <a:pt x="295" y="292"/>
                </a:lnTo>
                <a:lnTo>
                  <a:pt x="274" y="290"/>
                </a:lnTo>
                <a:lnTo>
                  <a:pt x="264" y="264"/>
                </a:lnTo>
                <a:lnTo>
                  <a:pt x="255" y="260"/>
                </a:lnTo>
                <a:lnTo>
                  <a:pt x="241" y="264"/>
                </a:lnTo>
                <a:lnTo>
                  <a:pt x="225" y="274"/>
                </a:lnTo>
                <a:lnTo>
                  <a:pt x="202" y="268"/>
                </a:lnTo>
                <a:lnTo>
                  <a:pt x="182" y="251"/>
                </a:lnTo>
                <a:lnTo>
                  <a:pt x="164" y="246"/>
                </a:lnTo>
                <a:lnTo>
                  <a:pt x="150" y="226"/>
                </a:lnTo>
                <a:lnTo>
                  <a:pt x="133" y="198"/>
                </a:lnTo>
                <a:lnTo>
                  <a:pt x="124" y="202"/>
                </a:lnTo>
                <a:lnTo>
                  <a:pt x="112" y="195"/>
                </a:lnTo>
                <a:lnTo>
                  <a:pt x="107" y="203"/>
                </a:lnTo>
                <a:lnTo>
                  <a:pt x="96" y="192"/>
                </a:lnTo>
                <a:lnTo>
                  <a:pt x="94" y="181"/>
                </a:lnTo>
                <a:lnTo>
                  <a:pt x="88" y="181"/>
                </a:lnTo>
                <a:lnTo>
                  <a:pt x="89" y="166"/>
                </a:lnTo>
                <a:lnTo>
                  <a:pt x="78" y="150"/>
                </a:lnTo>
                <a:lnTo>
                  <a:pt x="55" y="139"/>
                </a:lnTo>
                <a:lnTo>
                  <a:pt x="40" y="119"/>
                </a:lnTo>
                <a:lnTo>
                  <a:pt x="42" y="103"/>
                </a:lnTo>
                <a:lnTo>
                  <a:pt x="49" y="96"/>
                </a:lnTo>
                <a:lnTo>
                  <a:pt x="46" y="84"/>
                </a:lnTo>
                <a:lnTo>
                  <a:pt x="34" y="77"/>
                </a:lnTo>
                <a:lnTo>
                  <a:pt x="19" y="53"/>
                </a:lnTo>
                <a:lnTo>
                  <a:pt x="7" y="36"/>
                </a:lnTo>
                <a:lnTo>
                  <a:pt x="9" y="30"/>
                </a:lnTo>
                <a:lnTo>
                  <a:pt x="0" y="6"/>
                </a:lnTo>
                <a:lnTo>
                  <a:pt x="11" y="0"/>
                </a:lnTo>
                <a:lnTo>
                  <a:pt x="15" y="8"/>
                </a:lnTo>
                <a:lnTo>
                  <a:pt x="25" y="18"/>
                </a:lnTo>
                <a:lnTo>
                  <a:pt x="37" y="20"/>
                </a:lnTo>
                <a:lnTo>
                  <a:pt x="43" y="20"/>
                </a:lnTo>
                <a:lnTo>
                  <a:pt x="60" y="5"/>
                </a:lnTo>
                <a:lnTo>
                  <a:pt x="67" y="3"/>
                </a:lnTo>
                <a:lnTo>
                  <a:pt x="73" y="9"/>
                </a:lnTo>
                <a:lnTo>
                  <a:pt x="69" y="19"/>
                </a:lnTo>
                <a:lnTo>
                  <a:pt x="81" y="30"/>
                </a:lnTo>
                <a:lnTo>
                  <a:pt x="85" y="29"/>
                </a:lnTo>
                <a:lnTo>
                  <a:pt x="93" y="44"/>
                </a:lnTo>
                <a:lnTo>
                  <a:pt x="110" y="49"/>
                </a:lnTo>
                <a:lnTo>
                  <a:pt x="124" y="59"/>
                </a:lnTo>
                <a:lnTo>
                  <a:pt x="149" y="63"/>
                </a:lnTo>
                <a:lnTo>
                  <a:pt x="175" y="57"/>
                </a:lnTo>
                <a:lnTo>
                  <a:pt x="176" y="52"/>
                </a:lnTo>
                <a:close/>
              </a:path>
            </a:pathLst>
          </a:custGeom>
          <a:gradFill>
            <a:gsLst>
              <a:gs pos="74000">
                <a:srgbClr val="92D050"/>
              </a:gs>
              <a:gs pos="0">
                <a:srgbClr val="0C95C6"/>
              </a:gs>
              <a:gs pos="100000">
                <a:srgbClr val="00B050"/>
              </a:gs>
            </a:gsLst>
            <a:lin ang="5400000" scaled="1"/>
          </a:gra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92" name="Freeform 101"/>
          <p:cNvSpPr>
            <a:spLocks/>
          </p:cNvSpPr>
          <p:nvPr/>
        </p:nvSpPr>
        <p:spPr bwMode="auto">
          <a:xfrm>
            <a:off x="3700825" y="1724671"/>
            <a:ext cx="2645331" cy="1503125"/>
          </a:xfrm>
          <a:custGeom>
            <a:avLst/>
            <a:gdLst>
              <a:gd name="T0" fmla="*/ 429 w 652"/>
              <a:gd name="T1" fmla="*/ 270 h 299"/>
              <a:gd name="T2" fmla="*/ 408 w 652"/>
              <a:gd name="T3" fmla="*/ 299 h 299"/>
              <a:gd name="T4" fmla="*/ 395 w 652"/>
              <a:gd name="T5" fmla="*/ 289 h 299"/>
              <a:gd name="T6" fmla="*/ 365 w 652"/>
              <a:gd name="T7" fmla="*/ 272 h 299"/>
              <a:gd name="T8" fmla="*/ 352 w 652"/>
              <a:gd name="T9" fmla="*/ 251 h 299"/>
              <a:gd name="T10" fmla="*/ 300 w 652"/>
              <a:gd name="T11" fmla="*/ 237 h 299"/>
              <a:gd name="T12" fmla="*/ 260 w 652"/>
              <a:gd name="T13" fmla="*/ 222 h 299"/>
              <a:gd name="T14" fmla="*/ 215 w 652"/>
              <a:gd name="T15" fmla="*/ 200 h 299"/>
              <a:gd name="T16" fmla="*/ 172 w 652"/>
              <a:gd name="T17" fmla="*/ 210 h 299"/>
              <a:gd name="T18" fmla="*/ 183 w 652"/>
              <a:gd name="T19" fmla="*/ 286 h 299"/>
              <a:gd name="T20" fmla="*/ 155 w 652"/>
              <a:gd name="T21" fmla="*/ 265 h 299"/>
              <a:gd name="T22" fmla="*/ 131 w 652"/>
              <a:gd name="T23" fmla="*/ 276 h 299"/>
              <a:gd name="T24" fmla="*/ 131 w 652"/>
              <a:gd name="T25" fmla="*/ 262 h 299"/>
              <a:gd name="T26" fmla="*/ 106 w 652"/>
              <a:gd name="T27" fmla="*/ 248 h 299"/>
              <a:gd name="T28" fmla="*/ 84 w 652"/>
              <a:gd name="T29" fmla="*/ 224 h 299"/>
              <a:gd name="T30" fmla="*/ 98 w 652"/>
              <a:gd name="T31" fmla="*/ 220 h 299"/>
              <a:gd name="T32" fmla="*/ 108 w 652"/>
              <a:gd name="T33" fmla="*/ 201 h 299"/>
              <a:gd name="T34" fmla="*/ 121 w 652"/>
              <a:gd name="T35" fmla="*/ 184 h 299"/>
              <a:gd name="T36" fmla="*/ 99 w 652"/>
              <a:gd name="T37" fmla="*/ 173 h 299"/>
              <a:gd name="T38" fmla="*/ 67 w 652"/>
              <a:gd name="T39" fmla="*/ 177 h 299"/>
              <a:gd name="T40" fmla="*/ 44 w 652"/>
              <a:gd name="T41" fmla="*/ 178 h 299"/>
              <a:gd name="T42" fmla="*/ 29 w 652"/>
              <a:gd name="T43" fmla="*/ 154 h 299"/>
              <a:gd name="T44" fmla="*/ 0 w 652"/>
              <a:gd name="T45" fmla="*/ 140 h 299"/>
              <a:gd name="T46" fmla="*/ 0 w 652"/>
              <a:gd name="T47" fmla="*/ 121 h 299"/>
              <a:gd name="T48" fmla="*/ 26 w 652"/>
              <a:gd name="T49" fmla="*/ 110 h 299"/>
              <a:gd name="T50" fmla="*/ 51 w 652"/>
              <a:gd name="T51" fmla="*/ 74 h 299"/>
              <a:gd name="T52" fmla="*/ 115 w 652"/>
              <a:gd name="T53" fmla="*/ 87 h 299"/>
              <a:gd name="T54" fmla="*/ 150 w 652"/>
              <a:gd name="T55" fmla="*/ 87 h 299"/>
              <a:gd name="T56" fmla="*/ 199 w 652"/>
              <a:gd name="T57" fmla="*/ 97 h 299"/>
              <a:gd name="T58" fmla="*/ 224 w 652"/>
              <a:gd name="T59" fmla="*/ 92 h 299"/>
              <a:gd name="T60" fmla="*/ 194 w 652"/>
              <a:gd name="T61" fmla="*/ 69 h 299"/>
              <a:gd name="T62" fmla="*/ 201 w 652"/>
              <a:gd name="T63" fmla="*/ 53 h 299"/>
              <a:gd name="T64" fmla="*/ 198 w 652"/>
              <a:gd name="T65" fmla="*/ 34 h 299"/>
              <a:gd name="T66" fmla="*/ 257 w 652"/>
              <a:gd name="T67" fmla="*/ 21 h 299"/>
              <a:gd name="T68" fmla="*/ 298 w 652"/>
              <a:gd name="T69" fmla="*/ 9 h 299"/>
              <a:gd name="T70" fmla="*/ 338 w 652"/>
              <a:gd name="T71" fmla="*/ 5 h 299"/>
              <a:gd name="T72" fmla="*/ 366 w 652"/>
              <a:gd name="T73" fmla="*/ 20 h 299"/>
              <a:gd name="T74" fmla="*/ 393 w 652"/>
              <a:gd name="T75" fmla="*/ 38 h 299"/>
              <a:gd name="T76" fmla="*/ 437 w 652"/>
              <a:gd name="T77" fmla="*/ 18 h 299"/>
              <a:gd name="T78" fmla="*/ 462 w 652"/>
              <a:gd name="T79" fmla="*/ 39 h 299"/>
              <a:gd name="T80" fmla="*/ 524 w 652"/>
              <a:gd name="T81" fmla="*/ 80 h 299"/>
              <a:gd name="T82" fmla="*/ 571 w 652"/>
              <a:gd name="T83" fmla="*/ 86 h 299"/>
              <a:gd name="T84" fmla="*/ 595 w 652"/>
              <a:gd name="T85" fmla="*/ 102 h 299"/>
              <a:gd name="T86" fmla="*/ 619 w 652"/>
              <a:gd name="T87" fmla="*/ 114 h 299"/>
              <a:gd name="T88" fmla="*/ 652 w 652"/>
              <a:gd name="T89" fmla="*/ 124 h 299"/>
              <a:gd name="T90" fmla="*/ 634 w 652"/>
              <a:gd name="T91" fmla="*/ 139 h 299"/>
              <a:gd name="T92" fmla="*/ 637 w 652"/>
              <a:gd name="T93" fmla="*/ 169 h 299"/>
              <a:gd name="T94" fmla="*/ 605 w 652"/>
              <a:gd name="T95" fmla="*/ 199 h 299"/>
              <a:gd name="T96" fmla="*/ 569 w 652"/>
              <a:gd name="T97" fmla="*/ 211 h 299"/>
              <a:gd name="T98" fmla="*/ 588 w 652"/>
              <a:gd name="T99" fmla="*/ 252 h 299"/>
              <a:gd name="T100" fmla="*/ 581 w 652"/>
              <a:gd name="T101" fmla="*/ 261 h 299"/>
              <a:gd name="T102" fmla="*/ 545 w 652"/>
              <a:gd name="T103" fmla="*/ 252 h 299"/>
              <a:gd name="T104" fmla="*/ 512 w 652"/>
              <a:gd name="T105" fmla="*/ 253 h 299"/>
              <a:gd name="T106" fmla="*/ 477 w 652"/>
              <a:gd name="T107" fmla="*/ 249 h 299"/>
              <a:gd name="T108" fmla="*/ 449 w 652"/>
              <a:gd name="T109" fmla="*/ 254 h 299"/>
              <a:gd name="T110" fmla="*/ 438 w 652"/>
              <a:gd name="T111" fmla="*/ 266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52" h="299">
                <a:moveTo>
                  <a:pt x="438" y="266"/>
                </a:moveTo>
                <a:lnTo>
                  <a:pt x="429" y="270"/>
                </a:lnTo>
                <a:lnTo>
                  <a:pt x="412" y="284"/>
                </a:lnTo>
                <a:lnTo>
                  <a:pt x="408" y="299"/>
                </a:lnTo>
                <a:lnTo>
                  <a:pt x="402" y="299"/>
                </a:lnTo>
                <a:lnTo>
                  <a:pt x="395" y="289"/>
                </a:lnTo>
                <a:lnTo>
                  <a:pt x="373" y="288"/>
                </a:lnTo>
                <a:lnTo>
                  <a:pt x="365" y="272"/>
                </a:lnTo>
                <a:lnTo>
                  <a:pt x="357" y="271"/>
                </a:lnTo>
                <a:lnTo>
                  <a:pt x="352" y="251"/>
                </a:lnTo>
                <a:lnTo>
                  <a:pt x="328" y="236"/>
                </a:lnTo>
                <a:lnTo>
                  <a:pt x="300" y="237"/>
                </a:lnTo>
                <a:lnTo>
                  <a:pt x="281" y="240"/>
                </a:lnTo>
                <a:lnTo>
                  <a:pt x="260" y="222"/>
                </a:lnTo>
                <a:lnTo>
                  <a:pt x="245" y="214"/>
                </a:lnTo>
                <a:lnTo>
                  <a:pt x="215" y="200"/>
                </a:lnTo>
                <a:lnTo>
                  <a:pt x="211" y="198"/>
                </a:lnTo>
                <a:lnTo>
                  <a:pt x="172" y="210"/>
                </a:lnTo>
                <a:lnTo>
                  <a:pt x="192" y="285"/>
                </a:lnTo>
                <a:lnTo>
                  <a:pt x="183" y="286"/>
                </a:lnTo>
                <a:lnTo>
                  <a:pt x="168" y="270"/>
                </a:lnTo>
                <a:lnTo>
                  <a:pt x="155" y="265"/>
                </a:lnTo>
                <a:lnTo>
                  <a:pt x="137" y="269"/>
                </a:lnTo>
                <a:lnTo>
                  <a:pt x="131" y="276"/>
                </a:lnTo>
                <a:lnTo>
                  <a:pt x="129" y="271"/>
                </a:lnTo>
                <a:lnTo>
                  <a:pt x="131" y="262"/>
                </a:lnTo>
                <a:lnTo>
                  <a:pt x="127" y="255"/>
                </a:lnTo>
                <a:lnTo>
                  <a:pt x="106" y="248"/>
                </a:lnTo>
                <a:lnTo>
                  <a:pt x="94" y="230"/>
                </a:lnTo>
                <a:lnTo>
                  <a:pt x="84" y="224"/>
                </a:lnTo>
                <a:lnTo>
                  <a:pt x="81" y="218"/>
                </a:lnTo>
                <a:lnTo>
                  <a:pt x="98" y="220"/>
                </a:lnTo>
                <a:lnTo>
                  <a:pt x="95" y="205"/>
                </a:lnTo>
                <a:lnTo>
                  <a:pt x="108" y="201"/>
                </a:lnTo>
                <a:lnTo>
                  <a:pt x="123" y="204"/>
                </a:lnTo>
                <a:lnTo>
                  <a:pt x="121" y="184"/>
                </a:lnTo>
                <a:lnTo>
                  <a:pt x="115" y="172"/>
                </a:lnTo>
                <a:lnTo>
                  <a:pt x="99" y="173"/>
                </a:lnTo>
                <a:lnTo>
                  <a:pt x="84" y="168"/>
                </a:lnTo>
                <a:lnTo>
                  <a:pt x="67" y="177"/>
                </a:lnTo>
                <a:lnTo>
                  <a:pt x="53" y="181"/>
                </a:lnTo>
                <a:lnTo>
                  <a:pt x="44" y="178"/>
                </a:lnTo>
                <a:lnTo>
                  <a:pt x="43" y="167"/>
                </a:lnTo>
                <a:lnTo>
                  <a:pt x="29" y="154"/>
                </a:lnTo>
                <a:lnTo>
                  <a:pt x="17" y="154"/>
                </a:lnTo>
                <a:lnTo>
                  <a:pt x="0" y="140"/>
                </a:lnTo>
                <a:lnTo>
                  <a:pt x="6" y="125"/>
                </a:lnTo>
                <a:lnTo>
                  <a:pt x="0" y="121"/>
                </a:lnTo>
                <a:lnTo>
                  <a:pt x="7" y="99"/>
                </a:lnTo>
                <a:lnTo>
                  <a:pt x="26" y="110"/>
                </a:lnTo>
                <a:lnTo>
                  <a:pt x="25" y="96"/>
                </a:lnTo>
                <a:lnTo>
                  <a:pt x="51" y="74"/>
                </a:lnTo>
                <a:lnTo>
                  <a:pt x="76" y="73"/>
                </a:lnTo>
                <a:lnTo>
                  <a:pt x="115" y="87"/>
                </a:lnTo>
                <a:lnTo>
                  <a:pt x="136" y="95"/>
                </a:lnTo>
                <a:lnTo>
                  <a:pt x="150" y="87"/>
                </a:lnTo>
                <a:lnTo>
                  <a:pt x="175" y="87"/>
                </a:lnTo>
                <a:lnTo>
                  <a:pt x="199" y="97"/>
                </a:lnTo>
                <a:lnTo>
                  <a:pt x="202" y="91"/>
                </a:lnTo>
                <a:lnTo>
                  <a:pt x="224" y="92"/>
                </a:lnTo>
                <a:lnTo>
                  <a:pt x="225" y="82"/>
                </a:lnTo>
                <a:lnTo>
                  <a:pt x="194" y="69"/>
                </a:lnTo>
                <a:lnTo>
                  <a:pt x="206" y="59"/>
                </a:lnTo>
                <a:lnTo>
                  <a:pt x="201" y="53"/>
                </a:lnTo>
                <a:lnTo>
                  <a:pt x="214" y="48"/>
                </a:lnTo>
                <a:lnTo>
                  <a:pt x="198" y="34"/>
                </a:lnTo>
                <a:lnTo>
                  <a:pt x="202" y="28"/>
                </a:lnTo>
                <a:lnTo>
                  <a:pt x="257" y="21"/>
                </a:lnTo>
                <a:lnTo>
                  <a:pt x="263" y="16"/>
                </a:lnTo>
                <a:lnTo>
                  <a:pt x="298" y="9"/>
                </a:lnTo>
                <a:lnTo>
                  <a:pt x="309" y="0"/>
                </a:lnTo>
                <a:lnTo>
                  <a:pt x="338" y="5"/>
                </a:lnTo>
                <a:lnTo>
                  <a:pt x="352" y="25"/>
                </a:lnTo>
                <a:lnTo>
                  <a:pt x="366" y="20"/>
                </a:lnTo>
                <a:lnTo>
                  <a:pt x="389" y="27"/>
                </a:lnTo>
                <a:lnTo>
                  <a:pt x="393" y="38"/>
                </a:lnTo>
                <a:lnTo>
                  <a:pt x="407" y="37"/>
                </a:lnTo>
                <a:lnTo>
                  <a:pt x="437" y="18"/>
                </a:lnTo>
                <a:lnTo>
                  <a:pt x="434" y="24"/>
                </a:lnTo>
                <a:lnTo>
                  <a:pt x="462" y="39"/>
                </a:lnTo>
                <a:lnTo>
                  <a:pt x="520" y="90"/>
                </a:lnTo>
                <a:lnTo>
                  <a:pt x="524" y="80"/>
                </a:lnTo>
                <a:lnTo>
                  <a:pt x="551" y="92"/>
                </a:lnTo>
                <a:lnTo>
                  <a:pt x="571" y="86"/>
                </a:lnTo>
                <a:lnTo>
                  <a:pt x="582" y="90"/>
                </a:lnTo>
                <a:lnTo>
                  <a:pt x="595" y="102"/>
                </a:lnTo>
                <a:lnTo>
                  <a:pt x="608" y="106"/>
                </a:lnTo>
                <a:lnTo>
                  <a:pt x="619" y="114"/>
                </a:lnTo>
                <a:lnTo>
                  <a:pt x="638" y="111"/>
                </a:lnTo>
                <a:lnTo>
                  <a:pt x="652" y="124"/>
                </a:lnTo>
                <a:lnTo>
                  <a:pt x="647" y="137"/>
                </a:lnTo>
                <a:lnTo>
                  <a:pt x="634" y="139"/>
                </a:lnTo>
                <a:lnTo>
                  <a:pt x="642" y="160"/>
                </a:lnTo>
                <a:lnTo>
                  <a:pt x="637" y="169"/>
                </a:lnTo>
                <a:lnTo>
                  <a:pt x="602" y="162"/>
                </a:lnTo>
                <a:lnTo>
                  <a:pt x="605" y="199"/>
                </a:lnTo>
                <a:lnTo>
                  <a:pt x="599" y="203"/>
                </a:lnTo>
                <a:lnTo>
                  <a:pt x="569" y="211"/>
                </a:lnTo>
                <a:lnTo>
                  <a:pt x="597" y="247"/>
                </a:lnTo>
                <a:lnTo>
                  <a:pt x="588" y="252"/>
                </a:lnTo>
                <a:lnTo>
                  <a:pt x="593" y="264"/>
                </a:lnTo>
                <a:lnTo>
                  <a:pt x="581" y="261"/>
                </a:lnTo>
                <a:lnTo>
                  <a:pt x="571" y="254"/>
                </a:lnTo>
                <a:lnTo>
                  <a:pt x="545" y="252"/>
                </a:lnTo>
                <a:lnTo>
                  <a:pt x="517" y="251"/>
                </a:lnTo>
                <a:lnTo>
                  <a:pt x="512" y="253"/>
                </a:lnTo>
                <a:lnTo>
                  <a:pt x="485" y="245"/>
                </a:lnTo>
                <a:lnTo>
                  <a:pt x="477" y="249"/>
                </a:lnTo>
                <a:lnTo>
                  <a:pt x="479" y="261"/>
                </a:lnTo>
                <a:lnTo>
                  <a:pt x="449" y="254"/>
                </a:lnTo>
                <a:lnTo>
                  <a:pt x="439" y="257"/>
                </a:lnTo>
                <a:lnTo>
                  <a:pt x="438" y="266"/>
                </a:lnTo>
                <a:close/>
              </a:path>
            </a:pathLst>
          </a:custGeom>
          <a:gradFill>
            <a:gsLst>
              <a:gs pos="12400">
                <a:srgbClr val="889AD2"/>
              </a:gs>
              <a:gs pos="31000">
                <a:srgbClr val="889AD2"/>
              </a:gs>
              <a:gs pos="0">
                <a:srgbClr val="889AD2"/>
              </a:gs>
              <a:gs pos="50000">
                <a:srgbClr val="92D050"/>
              </a:gs>
              <a:gs pos="63000">
                <a:srgbClr val="92D050"/>
              </a:gs>
              <a:gs pos="79000">
                <a:srgbClr val="00B050"/>
              </a:gs>
            </a:gsLst>
            <a:lin ang="5400000" scaled="1"/>
          </a:gra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93" name="Freeform 103"/>
          <p:cNvSpPr>
            <a:spLocks/>
          </p:cNvSpPr>
          <p:nvPr/>
        </p:nvSpPr>
        <p:spPr bwMode="auto">
          <a:xfrm>
            <a:off x="5433269" y="2962794"/>
            <a:ext cx="673503" cy="412229"/>
          </a:xfrm>
          <a:custGeom>
            <a:avLst/>
            <a:gdLst>
              <a:gd name="T0" fmla="*/ 11 w 166"/>
              <a:gd name="T1" fmla="*/ 21 h 82"/>
              <a:gd name="T2" fmla="*/ 12 w 166"/>
              <a:gd name="T3" fmla="*/ 12 h 82"/>
              <a:gd name="T4" fmla="*/ 22 w 166"/>
              <a:gd name="T5" fmla="*/ 9 h 82"/>
              <a:gd name="T6" fmla="*/ 52 w 166"/>
              <a:gd name="T7" fmla="*/ 16 h 82"/>
              <a:gd name="T8" fmla="*/ 50 w 166"/>
              <a:gd name="T9" fmla="*/ 4 h 82"/>
              <a:gd name="T10" fmla="*/ 58 w 166"/>
              <a:gd name="T11" fmla="*/ 0 h 82"/>
              <a:gd name="T12" fmla="*/ 85 w 166"/>
              <a:gd name="T13" fmla="*/ 8 h 82"/>
              <a:gd name="T14" fmla="*/ 90 w 166"/>
              <a:gd name="T15" fmla="*/ 6 h 82"/>
              <a:gd name="T16" fmla="*/ 118 w 166"/>
              <a:gd name="T17" fmla="*/ 7 h 82"/>
              <a:gd name="T18" fmla="*/ 144 w 166"/>
              <a:gd name="T19" fmla="*/ 9 h 82"/>
              <a:gd name="T20" fmla="*/ 154 w 166"/>
              <a:gd name="T21" fmla="*/ 16 h 82"/>
              <a:gd name="T22" fmla="*/ 166 w 166"/>
              <a:gd name="T23" fmla="*/ 19 h 82"/>
              <a:gd name="T24" fmla="*/ 165 w 166"/>
              <a:gd name="T25" fmla="*/ 24 h 82"/>
              <a:gd name="T26" fmla="*/ 142 w 166"/>
              <a:gd name="T27" fmla="*/ 35 h 82"/>
              <a:gd name="T28" fmla="*/ 139 w 166"/>
              <a:gd name="T29" fmla="*/ 43 h 82"/>
              <a:gd name="T30" fmla="*/ 118 w 166"/>
              <a:gd name="T31" fmla="*/ 46 h 82"/>
              <a:gd name="T32" fmla="*/ 116 w 166"/>
              <a:gd name="T33" fmla="*/ 58 h 82"/>
              <a:gd name="T34" fmla="*/ 97 w 166"/>
              <a:gd name="T35" fmla="*/ 56 h 82"/>
              <a:gd name="T36" fmla="*/ 87 w 166"/>
              <a:gd name="T37" fmla="*/ 60 h 82"/>
              <a:gd name="T38" fmla="*/ 74 w 166"/>
              <a:gd name="T39" fmla="*/ 70 h 82"/>
              <a:gd name="T40" fmla="*/ 77 w 166"/>
              <a:gd name="T41" fmla="*/ 74 h 82"/>
              <a:gd name="T42" fmla="*/ 74 w 166"/>
              <a:gd name="T43" fmla="*/ 79 h 82"/>
              <a:gd name="T44" fmla="*/ 43 w 166"/>
              <a:gd name="T45" fmla="*/ 82 h 82"/>
              <a:gd name="T46" fmla="*/ 20 w 166"/>
              <a:gd name="T47" fmla="*/ 76 h 82"/>
              <a:gd name="T48" fmla="*/ 2 w 166"/>
              <a:gd name="T49" fmla="*/ 77 h 82"/>
              <a:gd name="T50" fmla="*/ 0 w 166"/>
              <a:gd name="T51" fmla="*/ 65 h 82"/>
              <a:gd name="T52" fmla="*/ 20 w 166"/>
              <a:gd name="T53" fmla="*/ 69 h 82"/>
              <a:gd name="T54" fmla="*/ 24 w 166"/>
              <a:gd name="T55" fmla="*/ 62 h 82"/>
              <a:gd name="T56" fmla="*/ 37 w 166"/>
              <a:gd name="T57" fmla="*/ 64 h 82"/>
              <a:gd name="T58" fmla="*/ 55 w 166"/>
              <a:gd name="T59" fmla="*/ 49 h 82"/>
              <a:gd name="T60" fmla="*/ 31 w 166"/>
              <a:gd name="T61" fmla="*/ 39 h 82"/>
              <a:gd name="T62" fmla="*/ 21 w 166"/>
              <a:gd name="T63" fmla="*/ 44 h 82"/>
              <a:gd name="T64" fmla="*/ 6 w 166"/>
              <a:gd name="T65" fmla="*/ 36 h 82"/>
              <a:gd name="T66" fmla="*/ 16 w 166"/>
              <a:gd name="T67" fmla="*/ 23 h 82"/>
              <a:gd name="T68" fmla="*/ 11 w 166"/>
              <a:gd name="T69" fmla="*/ 21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66" h="82">
                <a:moveTo>
                  <a:pt x="11" y="21"/>
                </a:moveTo>
                <a:lnTo>
                  <a:pt x="12" y="12"/>
                </a:lnTo>
                <a:lnTo>
                  <a:pt x="22" y="9"/>
                </a:lnTo>
                <a:lnTo>
                  <a:pt x="52" y="16"/>
                </a:lnTo>
                <a:lnTo>
                  <a:pt x="50" y="4"/>
                </a:lnTo>
                <a:lnTo>
                  <a:pt x="58" y="0"/>
                </a:lnTo>
                <a:lnTo>
                  <a:pt x="85" y="8"/>
                </a:lnTo>
                <a:lnTo>
                  <a:pt x="90" y="6"/>
                </a:lnTo>
                <a:lnTo>
                  <a:pt x="118" y="7"/>
                </a:lnTo>
                <a:lnTo>
                  <a:pt x="144" y="9"/>
                </a:lnTo>
                <a:lnTo>
                  <a:pt x="154" y="16"/>
                </a:lnTo>
                <a:lnTo>
                  <a:pt x="166" y="19"/>
                </a:lnTo>
                <a:lnTo>
                  <a:pt x="165" y="24"/>
                </a:lnTo>
                <a:lnTo>
                  <a:pt x="142" y="35"/>
                </a:lnTo>
                <a:lnTo>
                  <a:pt x="139" y="43"/>
                </a:lnTo>
                <a:lnTo>
                  <a:pt x="118" y="46"/>
                </a:lnTo>
                <a:lnTo>
                  <a:pt x="116" y="58"/>
                </a:lnTo>
                <a:lnTo>
                  <a:pt x="97" y="56"/>
                </a:lnTo>
                <a:lnTo>
                  <a:pt x="87" y="60"/>
                </a:lnTo>
                <a:lnTo>
                  <a:pt x="74" y="70"/>
                </a:lnTo>
                <a:lnTo>
                  <a:pt x="77" y="74"/>
                </a:lnTo>
                <a:lnTo>
                  <a:pt x="74" y="79"/>
                </a:lnTo>
                <a:lnTo>
                  <a:pt x="43" y="82"/>
                </a:lnTo>
                <a:lnTo>
                  <a:pt x="20" y="76"/>
                </a:lnTo>
                <a:lnTo>
                  <a:pt x="2" y="77"/>
                </a:lnTo>
                <a:lnTo>
                  <a:pt x="0" y="65"/>
                </a:lnTo>
                <a:lnTo>
                  <a:pt x="20" y="69"/>
                </a:lnTo>
                <a:lnTo>
                  <a:pt x="24" y="62"/>
                </a:lnTo>
                <a:lnTo>
                  <a:pt x="37" y="64"/>
                </a:lnTo>
                <a:lnTo>
                  <a:pt x="55" y="49"/>
                </a:lnTo>
                <a:lnTo>
                  <a:pt x="31" y="39"/>
                </a:lnTo>
                <a:lnTo>
                  <a:pt x="21" y="44"/>
                </a:lnTo>
                <a:lnTo>
                  <a:pt x="6" y="36"/>
                </a:lnTo>
                <a:lnTo>
                  <a:pt x="16" y="23"/>
                </a:lnTo>
                <a:lnTo>
                  <a:pt x="11" y="21"/>
                </a:lnTo>
                <a:close/>
              </a:path>
            </a:pathLst>
          </a:custGeom>
          <a:gradFill>
            <a:gsLst>
              <a:gs pos="49568">
                <a:srgbClr val="5394AC"/>
              </a:gs>
              <a:gs pos="40000">
                <a:srgbClr val="889AD2"/>
              </a:gs>
              <a:gs pos="0">
                <a:srgbClr val="889AD2"/>
              </a:gs>
              <a:gs pos="66000">
                <a:srgbClr val="00B0F0"/>
              </a:gs>
              <a:gs pos="83000">
                <a:srgbClr val="00B0F0"/>
              </a:gs>
              <a:gs pos="100000">
                <a:srgbClr val="00B0F0"/>
              </a:gs>
            </a:gsLst>
            <a:lin ang="5400000" scaled="1"/>
          </a:gra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94" name="Freeform 193"/>
          <p:cNvSpPr>
            <a:spLocks/>
          </p:cNvSpPr>
          <p:nvPr/>
        </p:nvSpPr>
        <p:spPr bwMode="auto">
          <a:xfrm>
            <a:off x="5311554" y="3197597"/>
            <a:ext cx="559900" cy="442389"/>
          </a:xfrm>
          <a:custGeom>
            <a:avLst/>
            <a:gdLst>
              <a:gd name="T0" fmla="*/ 54 w 138"/>
              <a:gd name="T1" fmla="*/ 15 h 88"/>
              <a:gd name="T2" fmla="*/ 50 w 138"/>
              <a:gd name="T3" fmla="*/ 22 h 88"/>
              <a:gd name="T4" fmla="*/ 30 w 138"/>
              <a:gd name="T5" fmla="*/ 18 h 88"/>
              <a:gd name="T6" fmla="*/ 32 w 138"/>
              <a:gd name="T7" fmla="*/ 30 h 88"/>
              <a:gd name="T8" fmla="*/ 50 w 138"/>
              <a:gd name="T9" fmla="*/ 29 h 88"/>
              <a:gd name="T10" fmla="*/ 73 w 138"/>
              <a:gd name="T11" fmla="*/ 35 h 88"/>
              <a:gd name="T12" fmla="*/ 104 w 138"/>
              <a:gd name="T13" fmla="*/ 32 h 88"/>
              <a:gd name="T14" fmla="*/ 113 w 138"/>
              <a:gd name="T15" fmla="*/ 51 h 88"/>
              <a:gd name="T16" fmla="*/ 119 w 138"/>
              <a:gd name="T17" fmla="*/ 49 h 88"/>
              <a:gd name="T18" fmla="*/ 130 w 138"/>
              <a:gd name="T19" fmla="*/ 54 h 88"/>
              <a:gd name="T20" fmla="*/ 132 w 138"/>
              <a:gd name="T21" fmla="*/ 62 h 88"/>
              <a:gd name="T22" fmla="*/ 138 w 138"/>
              <a:gd name="T23" fmla="*/ 74 h 88"/>
              <a:gd name="T24" fmla="*/ 120 w 138"/>
              <a:gd name="T25" fmla="*/ 74 h 88"/>
              <a:gd name="T26" fmla="*/ 108 w 138"/>
              <a:gd name="T27" fmla="*/ 72 h 88"/>
              <a:gd name="T28" fmla="*/ 99 w 138"/>
              <a:gd name="T29" fmla="*/ 81 h 88"/>
              <a:gd name="T30" fmla="*/ 92 w 138"/>
              <a:gd name="T31" fmla="*/ 83 h 88"/>
              <a:gd name="T32" fmla="*/ 88 w 138"/>
              <a:gd name="T33" fmla="*/ 88 h 88"/>
              <a:gd name="T34" fmla="*/ 79 w 138"/>
              <a:gd name="T35" fmla="*/ 81 h 88"/>
              <a:gd name="T36" fmla="*/ 76 w 138"/>
              <a:gd name="T37" fmla="*/ 64 h 88"/>
              <a:gd name="T38" fmla="*/ 71 w 138"/>
              <a:gd name="T39" fmla="*/ 63 h 88"/>
              <a:gd name="T40" fmla="*/ 71 w 138"/>
              <a:gd name="T41" fmla="*/ 56 h 88"/>
              <a:gd name="T42" fmla="*/ 60 w 138"/>
              <a:gd name="T43" fmla="*/ 51 h 88"/>
              <a:gd name="T44" fmla="*/ 55 w 138"/>
              <a:gd name="T45" fmla="*/ 59 h 88"/>
              <a:gd name="T46" fmla="*/ 55 w 138"/>
              <a:gd name="T47" fmla="*/ 67 h 88"/>
              <a:gd name="T48" fmla="*/ 53 w 138"/>
              <a:gd name="T49" fmla="*/ 70 h 88"/>
              <a:gd name="T50" fmla="*/ 43 w 138"/>
              <a:gd name="T51" fmla="*/ 70 h 88"/>
              <a:gd name="T52" fmla="*/ 40 w 138"/>
              <a:gd name="T53" fmla="*/ 79 h 88"/>
              <a:gd name="T54" fmla="*/ 33 w 138"/>
              <a:gd name="T55" fmla="*/ 75 h 88"/>
              <a:gd name="T56" fmla="*/ 22 w 138"/>
              <a:gd name="T57" fmla="*/ 82 h 88"/>
              <a:gd name="T58" fmla="*/ 16 w 138"/>
              <a:gd name="T59" fmla="*/ 79 h 88"/>
              <a:gd name="T60" fmla="*/ 21 w 138"/>
              <a:gd name="T61" fmla="*/ 58 h 88"/>
              <a:gd name="T62" fmla="*/ 13 w 138"/>
              <a:gd name="T63" fmla="*/ 43 h 88"/>
              <a:gd name="T64" fmla="*/ 0 w 138"/>
              <a:gd name="T65" fmla="*/ 38 h 88"/>
              <a:gd name="T66" fmla="*/ 2 w 138"/>
              <a:gd name="T67" fmla="*/ 29 h 88"/>
              <a:gd name="T68" fmla="*/ 16 w 138"/>
              <a:gd name="T69" fmla="*/ 30 h 88"/>
              <a:gd name="T70" fmla="*/ 21 w 138"/>
              <a:gd name="T71" fmla="*/ 19 h 88"/>
              <a:gd name="T72" fmla="*/ 23 w 138"/>
              <a:gd name="T73" fmla="*/ 5 h 88"/>
              <a:gd name="T74" fmla="*/ 44 w 138"/>
              <a:gd name="T75" fmla="*/ 0 h 88"/>
              <a:gd name="T76" fmla="*/ 43 w 138"/>
              <a:gd name="T77" fmla="*/ 10 h 88"/>
              <a:gd name="T78" fmla="*/ 47 w 138"/>
              <a:gd name="T79" fmla="*/ 16 h 88"/>
              <a:gd name="T80" fmla="*/ 54 w 138"/>
              <a:gd name="T81" fmla="*/ 15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38" h="88">
                <a:moveTo>
                  <a:pt x="54" y="15"/>
                </a:moveTo>
                <a:lnTo>
                  <a:pt x="50" y="22"/>
                </a:lnTo>
                <a:lnTo>
                  <a:pt x="30" y="18"/>
                </a:lnTo>
                <a:lnTo>
                  <a:pt x="32" y="30"/>
                </a:lnTo>
                <a:lnTo>
                  <a:pt x="50" y="29"/>
                </a:lnTo>
                <a:lnTo>
                  <a:pt x="73" y="35"/>
                </a:lnTo>
                <a:lnTo>
                  <a:pt x="104" y="32"/>
                </a:lnTo>
                <a:lnTo>
                  <a:pt x="113" y="51"/>
                </a:lnTo>
                <a:lnTo>
                  <a:pt x="119" y="49"/>
                </a:lnTo>
                <a:lnTo>
                  <a:pt x="130" y="54"/>
                </a:lnTo>
                <a:lnTo>
                  <a:pt x="132" y="62"/>
                </a:lnTo>
                <a:lnTo>
                  <a:pt x="138" y="74"/>
                </a:lnTo>
                <a:lnTo>
                  <a:pt x="120" y="74"/>
                </a:lnTo>
                <a:lnTo>
                  <a:pt x="108" y="72"/>
                </a:lnTo>
                <a:lnTo>
                  <a:pt x="99" y="81"/>
                </a:lnTo>
                <a:lnTo>
                  <a:pt x="92" y="83"/>
                </a:lnTo>
                <a:lnTo>
                  <a:pt x="88" y="88"/>
                </a:lnTo>
                <a:lnTo>
                  <a:pt x="79" y="81"/>
                </a:lnTo>
                <a:lnTo>
                  <a:pt x="76" y="64"/>
                </a:lnTo>
                <a:lnTo>
                  <a:pt x="71" y="63"/>
                </a:lnTo>
                <a:lnTo>
                  <a:pt x="71" y="56"/>
                </a:lnTo>
                <a:lnTo>
                  <a:pt x="60" y="51"/>
                </a:lnTo>
                <a:lnTo>
                  <a:pt x="55" y="59"/>
                </a:lnTo>
                <a:lnTo>
                  <a:pt x="55" y="67"/>
                </a:lnTo>
                <a:lnTo>
                  <a:pt x="53" y="70"/>
                </a:lnTo>
                <a:lnTo>
                  <a:pt x="43" y="70"/>
                </a:lnTo>
                <a:lnTo>
                  <a:pt x="40" y="79"/>
                </a:lnTo>
                <a:lnTo>
                  <a:pt x="33" y="75"/>
                </a:lnTo>
                <a:lnTo>
                  <a:pt x="22" y="82"/>
                </a:lnTo>
                <a:lnTo>
                  <a:pt x="16" y="79"/>
                </a:lnTo>
                <a:lnTo>
                  <a:pt x="21" y="58"/>
                </a:lnTo>
                <a:lnTo>
                  <a:pt x="13" y="43"/>
                </a:lnTo>
                <a:lnTo>
                  <a:pt x="0" y="38"/>
                </a:lnTo>
                <a:lnTo>
                  <a:pt x="2" y="29"/>
                </a:lnTo>
                <a:lnTo>
                  <a:pt x="16" y="30"/>
                </a:lnTo>
                <a:lnTo>
                  <a:pt x="21" y="19"/>
                </a:lnTo>
                <a:lnTo>
                  <a:pt x="23" y="5"/>
                </a:lnTo>
                <a:lnTo>
                  <a:pt x="44" y="0"/>
                </a:lnTo>
                <a:lnTo>
                  <a:pt x="43" y="10"/>
                </a:lnTo>
                <a:lnTo>
                  <a:pt x="47" y="16"/>
                </a:lnTo>
                <a:lnTo>
                  <a:pt x="54" y="15"/>
                </a:lnTo>
                <a:close/>
              </a:path>
            </a:pathLst>
          </a:custGeom>
          <a:gradFill>
            <a:gsLst>
              <a:gs pos="31000">
                <a:srgbClr val="889AD2"/>
              </a:gs>
              <a:gs pos="0">
                <a:srgbClr val="889AD2"/>
              </a:gs>
              <a:gs pos="50000">
                <a:srgbClr val="92D050"/>
              </a:gs>
              <a:gs pos="63000">
                <a:srgbClr val="92D050"/>
              </a:gs>
              <a:gs pos="79000">
                <a:srgbClr val="00B050"/>
              </a:gs>
            </a:gsLst>
            <a:lin ang="5400000" scaled="1"/>
          </a:gra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95" name="Freeform 198"/>
          <p:cNvSpPr>
            <a:spLocks/>
          </p:cNvSpPr>
          <p:nvPr/>
        </p:nvSpPr>
        <p:spPr bwMode="auto">
          <a:xfrm>
            <a:off x="2459304" y="3088475"/>
            <a:ext cx="1314551" cy="648507"/>
          </a:xfrm>
          <a:custGeom>
            <a:avLst/>
            <a:gdLst>
              <a:gd name="T0" fmla="*/ 177 w 324"/>
              <a:gd name="T1" fmla="*/ 15 h 129"/>
              <a:gd name="T2" fmla="*/ 202 w 324"/>
              <a:gd name="T3" fmla="*/ 23 h 129"/>
              <a:gd name="T4" fmla="*/ 222 w 324"/>
              <a:gd name="T5" fmla="*/ 20 h 129"/>
              <a:gd name="T6" fmla="*/ 236 w 324"/>
              <a:gd name="T7" fmla="*/ 22 h 129"/>
              <a:gd name="T8" fmla="*/ 254 w 324"/>
              <a:gd name="T9" fmla="*/ 11 h 129"/>
              <a:gd name="T10" fmla="*/ 272 w 324"/>
              <a:gd name="T11" fmla="*/ 10 h 129"/>
              <a:gd name="T12" fmla="*/ 290 w 324"/>
              <a:gd name="T13" fmla="*/ 20 h 129"/>
              <a:gd name="T14" fmla="*/ 294 w 324"/>
              <a:gd name="T15" fmla="*/ 27 h 129"/>
              <a:gd name="T16" fmla="*/ 294 w 324"/>
              <a:gd name="T17" fmla="*/ 37 h 129"/>
              <a:gd name="T18" fmla="*/ 308 w 324"/>
              <a:gd name="T19" fmla="*/ 42 h 129"/>
              <a:gd name="T20" fmla="*/ 316 w 324"/>
              <a:gd name="T21" fmla="*/ 48 h 129"/>
              <a:gd name="T22" fmla="*/ 305 w 324"/>
              <a:gd name="T23" fmla="*/ 54 h 129"/>
              <a:gd name="T24" fmla="*/ 314 w 324"/>
              <a:gd name="T25" fmla="*/ 78 h 129"/>
              <a:gd name="T26" fmla="*/ 312 w 324"/>
              <a:gd name="T27" fmla="*/ 84 h 129"/>
              <a:gd name="T28" fmla="*/ 324 w 324"/>
              <a:gd name="T29" fmla="*/ 101 h 129"/>
              <a:gd name="T30" fmla="*/ 316 w 324"/>
              <a:gd name="T31" fmla="*/ 104 h 129"/>
              <a:gd name="T32" fmla="*/ 310 w 324"/>
              <a:gd name="T33" fmla="*/ 99 h 129"/>
              <a:gd name="T34" fmla="*/ 289 w 324"/>
              <a:gd name="T35" fmla="*/ 96 h 129"/>
              <a:gd name="T36" fmla="*/ 282 w 324"/>
              <a:gd name="T37" fmla="*/ 100 h 129"/>
              <a:gd name="T38" fmla="*/ 263 w 324"/>
              <a:gd name="T39" fmla="*/ 103 h 129"/>
              <a:gd name="T40" fmla="*/ 254 w 324"/>
              <a:gd name="T41" fmla="*/ 103 h 129"/>
              <a:gd name="T42" fmla="*/ 235 w 324"/>
              <a:gd name="T43" fmla="*/ 110 h 129"/>
              <a:gd name="T44" fmla="*/ 221 w 324"/>
              <a:gd name="T45" fmla="*/ 110 h 129"/>
              <a:gd name="T46" fmla="*/ 212 w 324"/>
              <a:gd name="T47" fmla="*/ 106 h 129"/>
              <a:gd name="T48" fmla="*/ 193 w 324"/>
              <a:gd name="T49" fmla="*/ 112 h 129"/>
              <a:gd name="T50" fmla="*/ 187 w 324"/>
              <a:gd name="T51" fmla="*/ 108 h 129"/>
              <a:gd name="T52" fmla="*/ 188 w 324"/>
              <a:gd name="T53" fmla="*/ 120 h 129"/>
              <a:gd name="T54" fmla="*/ 184 w 324"/>
              <a:gd name="T55" fmla="*/ 124 h 129"/>
              <a:gd name="T56" fmla="*/ 180 w 324"/>
              <a:gd name="T57" fmla="*/ 129 h 129"/>
              <a:gd name="T58" fmla="*/ 172 w 324"/>
              <a:gd name="T59" fmla="*/ 119 h 129"/>
              <a:gd name="T60" fmla="*/ 178 w 324"/>
              <a:gd name="T61" fmla="*/ 112 h 129"/>
              <a:gd name="T62" fmla="*/ 167 w 324"/>
              <a:gd name="T63" fmla="*/ 113 h 129"/>
              <a:gd name="T64" fmla="*/ 153 w 324"/>
              <a:gd name="T65" fmla="*/ 109 h 129"/>
              <a:gd name="T66" fmla="*/ 142 w 324"/>
              <a:gd name="T67" fmla="*/ 120 h 129"/>
              <a:gd name="T68" fmla="*/ 116 w 324"/>
              <a:gd name="T69" fmla="*/ 123 h 129"/>
              <a:gd name="T70" fmla="*/ 101 w 324"/>
              <a:gd name="T71" fmla="*/ 112 h 129"/>
              <a:gd name="T72" fmla="*/ 82 w 324"/>
              <a:gd name="T73" fmla="*/ 111 h 129"/>
              <a:gd name="T74" fmla="*/ 80 w 324"/>
              <a:gd name="T75" fmla="*/ 120 h 129"/>
              <a:gd name="T76" fmla="*/ 68 w 324"/>
              <a:gd name="T77" fmla="*/ 122 h 129"/>
              <a:gd name="T78" fmla="*/ 50 w 324"/>
              <a:gd name="T79" fmla="*/ 111 h 129"/>
              <a:gd name="T80" fmla="*/ 31 w 324"/>
              <a:gd name="T81" fmla="*/ 111 h 129"/>
              <a:gd name="T82" fmla="*/ 19 w 324"/>
              <a:gd name="T83" fmla="*/ 91 h 129"/>
              <a:gd name="T84" fmla="*/ 6 w 324"/>
              <a:gd name="T85" fmla="*/ 79 h 129"/>
              <a:gd name="T86" fmla="*/ 12 w 324"/>
              <a:gd name="T87" fmla="*/ 63 h 129"/>
              <a:gd name="T88" fmla="*/ 0 w 324"/>
              <a:gd name="T89" fmla="*/ 53 h 129"/>
              <a:gd name="T90" fmla="*/ 17 w 324"/>
              <a:gd name="T91" fmla="*/ 34 h 129"/>
              <a:gd name="T92" fmla="*/ 43 w 324"/>
              <a:gd name="T93" fmla="*/ 33 h 129"/>
              <a:gd name="T94" fmla="*/ 48 w 324"/>
              <a:gd name="T95" fmla="*/ 17 h 129"/>
              <a:gd name="T96" fmla="*/ 81 w 324"/>
              <a:gd name="T97" fmla="*/ 20 h 129"/>
              <a:gd name="T98" fmla="*/ 99 w 324"/>
              <a:gd name="T99" fmla="*/ 7 h 129"/>
              <a:gd name="T100" fmla="*/ 118 w 324"/>
              <a:gd name="T101" fmla="*/ 1 h 129"/>
              <a:gd name="T102" fmla="*/ 145 w 324"/>
              <a:gd name="T103" fmla="*/ 0 h 129"/>
              <a:gd name="T104" fmla="*/ 177 w 324"/>
              <a:gd name="T105" fmla="*/ 15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24" h="129">
                <a:moveTo>
                  <a:pt x="177" y="15"/>
                </a:moveTo>
                <a:lnTo>
                  <a:pt x="202" y="23"/>
                </a:lnTo>
                <a:lnTo>
                  <a:pt x="222" y="20"/>
                </a:lnTo>
                <a:lnTo>
                  <a:pt x="236" y="22"/>
                </a:lnTo>
                <a:lnTo>
                  <a:pt x="254" y="11"/>
                </a:lnTo>
                <a:lnTo>
                  <a:pt x="272" y="10"/>
                </a:lnTo>
                <a:lnTo>
                  <a:pt x="290" y="20"/>
                </a:lnTo>
                <a:lnTo>
                  <a:pt x="294" y="27"/>
                </a:lnTo>
                <a:lnTo>
                  <a:pt x="294" y="37"/>
                </a:lnTo>
                <a:lnTo>
                  <a:pt x="308" y="42"/>
                </a:lnTo>
                <a:lnTo>
                  <a:pt x="316" y="48"/>
                </a:lnTo>
                <a:lnTo>
                  <a:pt x="305" y="54"/>
                </a:lnTo>
                <a:lnTo>
                  <a:pt x="314" y="78"/>
                </a:lnTo>
                <a:lnTo>
                  <a:pt x="312" y="84"/>
                </a:lnTo>
                <a:lnTo>
                  <a:pt x="324" y="101"/>
                </a:lnTo>
                <a:lnTo>
                  <a:pt x="316" y="104"/>
                </a:lnTo>
                <a:lnTo>
                  <a:pt x="310" y="99"/>
                </a:lnTo>
                <a:lnTo>
                  <a:pt x="289" y="96"/>
                </a:lnTo>
                <a:lnTo>
                  <a:pt x="282" y="100"/>
                </a:lnTo>
                <a:lnTo>
                  <a:pt x="263" y="103"/>
                </a:lnTo>
                <a:lnTo>
                  <a:pt x="254" y="103"/>
                </a:lnTo>
                <a:lnTo>
                  <a:pt x="235" y="110"/>
                </a:lnTo>
                <a:lnTo>
                  <a:pt x="221" y="110"/>
                </a:lnTo>
                <a:lnTo>
                  <a:pt x="212" y="106"/>
                </a:lnTo>
                <a:lnTo>
                  <a:pt x="193" y="112"/>
                </a:lnTo>
                <a:lnTo>
                  <a:pt x="187" y="108"/>
                </a:lnTo>
                <a:lnTo>
                  <a:pt x="188" y="120"/>
                </a:lnTo>
                <a:lnTo>
                  <a:pt x="184" y="124"/>
                </a:lnTo>
                <a:lnTo>
                  <a:pt x="180" y="129"/>
                </a:lnTo>
                <a:lnTo>
                  <a:pt x="172" y="119"/>
                </a:lnTo>
                <a:lnTo>
                  <a:pt x="178" y="112"/>
                </a:lnTo>
                <a:lnTo>
                  <a:pt x="167" y="113"/>
                </a:lnTo>
                <a:lnTo>
                  <a:pt x="153" y="109"/>
                </a:lnTo>
                <a:lnTo>
                  <a:pt x="142" y="120"/>
                </a:lnTo>
                <a:lnTo>
                  <a:pt x="116" y="123"/>
                </a:lnTo>
                <a:lnTo>
                  <a:pt x="101" y="112"/>
                </a:lnTo>
                <a:lnTo>
                  <a:pt x="82" y="111"/>
                </a:lnTo>
                <a:lnTo>
                  <a:pt x="80" y="120"/>
                </a:lnTo>
                <a:lnTo>
                  <a:pt x="68" y="122"/>
                </a:lnTo>
                <a:lnTo>
                  <a:pt x="50" y="111"/>
                </a:lnTo>
                <a:lnTo>
                  <a:pt x="31" y="111"/>
                </a:lnTo>
                <a:lnTo>
                  <a:pt x="19" y="91"/>
                </a:lnTo>
                <a:lnTo>
                  <a:pt x="6" y="79"/>
                </a:lnTo>
                <a:lnTo>
                  <a:pt x="12" y="63"/>
                </a:lnTo>
                <a:lnTo>
                  <a:pt x="0" y="53"/>
                </a:lnTo>
                <a:lnTo>
                  <a:pt x="17" y="34"/>
                </a:lnTo>
                <a:lnTo>
                  <a:pt x="43" y="33"/>
                </a:lnTo>
                <a:lnTo>
                  <a:pt x="48" y="17"/>
                </a:lnTo>
                <a:lnTo>
                  <a:pt x="81" y="20"/>
                </a:lnTo>
                <a:lnTo>
                  <a:pt x="99" y="7"/>
                </a:lnTo>
                <a:lnTo>
                  <a:pt x="118" y="1"/>
                </a:lnTo>
                <a:lnTo>
                  <a:pt x="145" y="0"/>
                </a:lnTo>
                <a:lnTo>
                  <a:pt x="177" y="15"/>
                </a:lnTo>
                <a:close/>
              </a:path>
            </a:pathLst>
          </a:custGeom>
          <a:gradFill>
            <a:gsLst>
              <a:gs pos="31000">
                <a:srgbClr val="889AD2"/>
              </a:gs>
              <a:gs pos="0">
                <a:srgbClr val="889AD2"/>
              </a:gs>
              <a:gs pos="50000">
                <a:srgbClr val="92D050"/>
              </a:gs>
              <a:gs pos="63000">
                <a:srgbClr val="92D050"/>
              </a:gs>
              <a:gs pos="79000">
                <a:srgbClr val="00B050"/>
              </a:gs>
            </a:gsLst>
            <a:lin ang="5400000" scaled="1"/>
          </a:gra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96" name="Freeform 211"/>
          <p:cNvSpPr>
            <a:spLocks/>
          </p:cNvSpPr>
          <p:nvPr/>
        </p:nvSpPr>
        <p:spPr bwMode="auto">
          <a:xfrm>
            <a:off x="4400550" y="2719375"/>
            <a:ext cx="1255874" cy="888218"/>
          </a:xfrm>
          <a:custGeom>
            <a:avLst/>
            <a:gdLst>
              <a:gd name="T0" fmla="*/ 218 w 310"/>
              <a:gd name="T1" fmla="*/ 169 h 173"/>
              <a:gd name="T2" fmla="*/ 215 w 310"/>
              <a:gd name="T3" fmla="*/ 156 h 173"/>
              <a:gd name="T4" fmla="*/ 190 w 310"/>
              <a:gd name="T5" fmla="*/ 147 h 173"/>
              <a:gd name="T6" fmla="*/ 170 w 310"/>
              <a:gd name="T7" fmla="*/ 137 h 173"/>
              <a:gd name="T8" fmla="*/ 157 w 310"/>
              <a:gd name="T9" fmla="*/ 127 h 173"/>
              <a:gd name="T10" fmla="*/ 134 w 310"/>
              <a:gd name="T11" fmla="*/ 113 h 173"/>
              <a:gd name="T12" fmla="*/ 120 w 310"/>
              <a:gd name="T13" fmla="*/ 92 h 173"/>
              <a:gd name="T14" fmla="*/ 114 w 310"/>
              <a:gd name="T15" fmla="*/ 88 h 173"/>
              <a:gd name="T16" fmla="*/ 96 w 310"/>
              <a:gd name="T17" fmla="*/ 89 h 173"/>
              <a:gd name="T18" fmla="*/ 88 w 310"/>
              <a:gd name="T19" fmla="*/ 85 h 173"/>
              <a:gd name="T20" fmla="*/ 82 w 310"/>
              <a:gd name="T21" fmla="*/ 69 h 173"/>
              <a:gd name="T22" fmla="*/ 57 w 310"/>
              <a:gd name="T23" fmla="*/ 58 h 173"/>
              <a:gd name="T24" fmla="*/ 46 w 310"/>
              <a:gd name="T25" fmla="*/ 70 h 173"/>
              <a:gd name="T26" fmla="*/ 33 w 310"/>
              <a:gd name="T27" fmla="*/ 77 h 173"/>
              <a:gd name="T28" fmla="*/ 39 w 310"/>
              <a:gd name="T29" fmla="*/ 87 h 173"/>
              <a:gd name="T30" fmla="*/ 20 w 310"/>
              <a:gd name="T31" fmla="*/ 87 h 173"/>
              <a:gd name="T32" fmla="*/ 0 w 310"/>
              <a:gd name="T33" fmla="*/ 12 h 173"/>
              <a:gd name="T34" fmla="*/ 39 w 310"/>
              <a:gd name="T35" fmla="*/ 0 h 173"/>
              <a:gd name="T36" fmla="*/ 43 w 310"/>
              <a:gd name="T37" fmla="*/ 2 h 173"/>
              <a:gd name="T38" fmla="*/ 73 w 310"/>
              <a:gd name="T39" fmla="*/ 16 h 173"/>
              <a:gd name="T40" fmla="*/ 88 w 310"/>
              <a:gd name="T41" fmla="*/ 24 h 173"/>
              <a:gd name="T42" fmla="*/ 109 w 310"/>
              <a:gd name="T43" fmla="*/ 42 h 173"/>
              <a:gd name="T44" fmla="*/ 128 w 310"/>
              <a:gd name="T45" fmla="*/ 39 h 173"/>
              <a:gd name="T46" fmla="*/ 156 w 310"/>
              <a:gd name="T47" fmla="*/ 38 h 173"/>
              <a:gd name="T48" fmla="*/ 180 w 310"/>
              <a:gd name="T49" fmla="*/ 53 h 173"/>
              <a:gd name="T50" fmla="*/ 185 w 310"/>
              <a:gd name="T51" fmla="*/ 73 h 173"/>
              <a:gd name="T52" fmla="*/ 193 w 310"/>
              <a:gd name="T53" fmla="*/ 74 h 173"/>
              <a:gd name="T54" fmla="*/ 201 w 310"/>
              <a:gd name="T55" fmla="*/ 90 h 173"/>
              <a:gd name="T56" fmla="*/ 223 w 310"/>
              <a:gd name="T57" fmla="*/ 91 h 173"/>
              <a:gd name="T58" fmla="*/ 230 w 310"/>
              <a:gd name="T59" fmla="*/ 101 h 173"/>
              <a:gd name="T60" fmla="*/ 236 w 310"/>
              <a:gd name="T61" fmla="*/ 101 h 173"/>
              <a:gd name="T62" fmla="*/ 240 w 310"/>
              <a:gd name="T63" fmla="*/ 86 h 173"/>
              <a:gd name="T64" fmla="*/ 257 w 310"/>
              <a:gd name="T65" fmla="*/ 72 h 173"/>
              <a:gd name="T66" fmla="*/ 266 w 310"/>
              <a:gd name="T67" fmla="*/ 68 h 173"/>
              <a:gd name="T68" fmla="*/ 271 w 310"/>
              <a:gd name="T69" fmla="*/ 70 h 173"/>
              <a:gd name="T70" fmla="*/ 261 w 310"/>
              <a:gd name="T71" fmla="*/ 83 h 173"/>
              <a:gd name="T72" fmla="*/ 276 w 310"/>
              <a:gd name="T73" fmla="*/ 91 h 173"/>
              <a:gd name="T74" fmla="*/ 286 w 310"/>
              <a:gd name="T75" fmla="*/ 86 h 173"/>
              <a:gd name="T76" fmla="*/ 310 w 310"/>
              <a:gd name="T77" fmla="*/ 96 h 173"/>
              <a:gd name="T78" fmla="*/ 292 w 310"/>
              <a:gd name="T79" fmla="*/ 111 h 173"/>
              <a:gd name="T80" fmla="*/ 279 w 310"/>
              <a:gd name="T81" fmla="*/ 109 h 173"/>
              <a:gd name="T82" fmla="*/ 272 w 310"/>
              <a:gd name="T83" fmla="*/ 110 h 173"/>
              <a:gd name="T84" fmla="*/ 268 w 310"/>
              <a:gd name="T85" fmla="*/ 104 h 173"/>
              <a:gd name="T86" fmla="*/ 269 w 310"/>
              <a:gd name="T87" fmla="*/ 94 h 173"/>
              <a:gd name="T88" fmla="*/ 248 w 310"/>
              <a:gd name="T89" fmla="*/ 99 h 173"/>
              <a:gd name="T90" fmla="*/ 246 w 310"/>
              <a:gd name="T91" fmla="*/ 113 h 173"/>
              <a:gd name="T92" fmla="*/ 241 w 310"/>
              <a:gd name="T93" fmla="*/ 124 h 173"/>
              <a:gd name="T94" fmla="*/ 227 w 310"/>
              <a:gd name="T95" fmla="*/ 123 h 173"/>
              <a:gd name="T96" fmla="*/ 225 w 310"/>
              <a:gd name="T97" fmla="*/ 132 h 173"/>
              <a:gd name="T98" fmla="*/ 238 w 310"/>
              <a:gd name="T99" fmla="*/ 137 h 173"/>
              <a:gd name="T100" fmla="*/ 246 w 310"/>
              <a:gd name="T101" fmla="*/ 152 h 173"/>
              <a:gd name="T102" fmla="*/ 241 w 310"/>
              <a:gd name="T103" fmla="*/ 173 h 173"/>
              <a:gd name="T104" fmla="*/ 228 w 310"/>
              <a:gd name="T105" fmla="*/ 169 h 173"/>
              <a:gd name="T106" fmla="*/ 218 w 310"/>
              <a:gd name="T107" fmla="*/ 169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10" h="173">
                <a:moveTo>
                  <a:pt x="218" y="169"/>
                </a:moveTo>
                <a:lnTo>
                  <a:pt x="215" y="156"/>
                </a:lnTo>
                <a:lnTo>
                  <a:pt x="190" y="147"/>
                </a:lnTo>
                <a:lnTo>
                  <a:pt x="170" y="137"/>
                </a:lnTo>
                <a:lnTo>
                  <a:pt x="157" y="127"/>
                </a:lnTo>
                <a:lnTo>
                  <a:pt x="134" y="113"/>
                </a:lnTo>
                <a:lnTo>
                  <a:pt x="120" y="92"/>
                </a:lnTo>
                <a:lnTo>
                  <a:pt x="114" y="88"/>
                </a:lnTo>
                <a:lnTo>
                  <a:pt x="96" y="89"/>
                </a:lnTo>
                <a:lnTo>
                  <a:pt x="88" y="85"/>
                </a:lnTo>
                <a:lnTo>
                  <a:pt x="82" y="69"/>
                </a:lnTo>
                <a:lnTo>
                  <a:pt x="57" y="58"/>
                </a:lnTo>
                <a:lnTo>
                  <a:pt x="46" y="70"/>
                </a:lnTo>
                <a:lnTo>
                  <a:pt x="33" y="77"/>
                </a:lnTo>
                <a:lnTo>
                  <a:pt x="39" y="87"/>
                </a:lnTo>
                <a:lnTo>
                  <a:pt x="20" y="87"/>
                </a:lnTo>
                <a:lnTo>
                  <a:pt x="0" y="12"/>
                </a:lnTo>
                <a:lnTo>
                  <a:pt x="39" y="0"/>
                </a:lnTo>
                <a:lnTo>
                  <a:pt x="43" y="2"/>
                </a:lnTo>
                <a:lnTo>
                  <a:pt x="73" y="16"/>
                </a:lnTo>
                <a:lnTo>
                  <a:pt x="88" y="24"/>
                </a:lnTo>
                <a:lnTo>
                  <a:pt x="109" y="42"/>
                </a:lnTo>
                <a:lnTo>
                  <a:pt x="128" y="39"/>
                </a:lnTo>
                <a:lnTo>
                  <a:pt x="156" y="38"/>
                </a:lnTo>
                <a:lnTo>
                  <a:pt x="180" y="53"/>
                </a:lnTo>
                <a:lnTo>
                  <a:pt x="185" y="73"/>
                </a:lnTo>
                <a:lnTo>
                  <a:pt x="193" y="74"/>
                </a:lnTo>
                <a:lnTo>
                  <a:pt x="201" y="90"/>
                </a:lnTo>
                <a:lnTo>
                  <a:pt x="223" y="91"/>
                </a:lnTo>
                <a:lnTo>
                  <a:pt x="230" y="101"/>
                </a:lnTo>
                <a:lnTo>
                  <a:pt x="236" y="101"/>
                </a:lnTo>
                <a:lnTo>
                  <a:pt x="240" y="86"/>
                </a:lnTo>
                <a:lnTo>
                  <a:pt x="257" y="72"/>
                </a:lnTo>
                <a:lnTo>
                  <a:pt x="266" y="68"/>
                </a:lnTo>
                <a:lnTo>
                  <a:pt x="271" y="70"/>
                </a:lnTo>
                <a:lnTo>
                  <a:pt x="261" y="83"/>
                </a:lnTo>
                <a:lnTo>
                  <a:pt x="276" y="91"/>
                </a:lnTo>
                <a:lnTo>
                  <a:pt x="286" y="86"/>
                </a:lnTo>
                <a:lnTo>
                  <a:pt x="310" y="96"/>
                </a:lnTo>
                <a:lnTo>
                  <a:pt x="292" y="111"/>
                </a:lnTo>
                <a:lnTo>
                  <a:pt x="279" y="109"/>
                </a:lnTo>
                <a:lnTo>
                  <a:pt x="272" y="110"/>
                </a:lnTo>
                <a:lnTo>
                  <a:pt x="268" y="104"/>
                </a:lnTo>
                <a:lnTo>
                  <a:pt x="269" y="94"/>
                </a:lnTo>
                <a:lnTo>
                  <a:pt x="248" y="99"/>
                </a:lnTo>
                <a:lnTo>
                  <a:pt x="246" y="113"/>
                </a:lnTo>
                <a:lnTo>
                  <a:pt x="241" y="124"/>
                </a:lnTo>
                <a:lnTo>
                  <a:pt x="227" y="123"/>
                </a:lnTo>
                <a:lnTo>
                  <a:pt x="225" y="132"/>
                </a:lnTo>
                <a:lnTo>
                  <a:pt x="238" y="137"/>
                </a:lnTo>
                <a:lnTo>
                  <a:pt x="246" y="152"/>
                </a:lnTo>
                <a:lnTo>
                  <a:pt x="241" y="173"/>
                </a:lnTo>
                <a:lnTo>
                  <a:pt x="228" y="169"/>
                </a:lnTo>
                <a:lnTo>
                  <a:pt x="218" y="169"/>
                </a:lnTo>
                <a:close/>
              </a:path>
            </a:pathLst>
          </a:custGeom>
          <a:gradFill>
            <a:gsLst>
              <a:gs pos="31000">
                <a:srgbClr val="889AD2"/>
              </a:gs>
              <a:gs pos="0">
                <a:srgbClr val="889AD2"/>
              </a:gs>
              <a:gs pos="50000">
                <a:srgbClr val="92D050"/>
              </a:gs>
              <a:gs pos="63000">
                <a:srgbClr val="92D050"/>
              </a:gs>
              <a:gs pos="79000">
                <a:srgbClr val="00B050"/>
              </a:gs>
            </a:gsLst>
            <a:lin ang="5400000" scaled="1"/>
          </a:gra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297" name="Freeform 199"/>
          <p:cNvSpPr>
            <a:spLocks/>
          </p:cNvSpPr>
          <p:nvPr/>
        </p:nvSpPr>
        <p:spPr bwMode="auto">
          <a:xfrm>
            <a:off x="2434960" y="3078421"/>
            <a:ext cx="202863" cy="206114"/>
          </a:xfrm>
          <a:custGeom>
            <a:avLst/>
            <a:gdLst>
              <a:gd name="T0" fmla="*/ 21 w 50"/>
              <a:gd name="T1" fmla="*/ 30 h 41"/>
              <a:gd name="T2" fmla="*/ 8 w 50"/>
              <a:gd name="T3" fmla="*/ 41 h 41"/>
              <a:gd name="T4" fmla="*/ 2 w 50"/>
              <a:gd name="T5" fmla="*/ 32 h 41"/>
              <a:gd name="T6" fmla="*/ 2 w 50"/>
              <a:gd name="T7" fmla="*/ 27 h 41"/>
              <a:gd name="T8" fmla="*/ 5 w 50"/>
              <a:gd name="T9" fmla="*/ 25 h 41"/>
              <a:gd name="T10" fmla="*/ 9 w 50"/>
              <a:gd name="T11" fmla="*/ 12 h 41"/>
              <a:gd name="T12" fmla="*/ 0 w 50"/>
              <a:gd name="T13" fmla="*/ 7 h 41"/>
              <a:gd name="T14" fmla="*/ 17 w 50"/>
              <a:gd name="T15" fmla="*/ 0 h 41"/>
              <a:gd name="T16" fmla="*/ 32 w 50"/>
              <a:gd name="T17" fmla="*/ 3 h 41"/>
              <a:gd name="T18" fmla="*/ 35 w 50"/>
              <a:gd name="T19" fmla="*/ 11 h 41"/>
              <a:gd name="T20" fmla="*/ 50 w 50"/>
              <a:gd name="T21" fmla="*/ 18 h 41"/>
              <a:gd name="T22" fmla="*/ 47 w 50"/>
              <a:gd name="T23" fmla="*/ 23 h 41"/>
              <a:gd name="T24" fmla="*/ 28 w 50"/>
              <a:gd name="T25" fmla="*/ 24 h 41"/>
              <a:gd name="T26" fmla="*/ 21 w 50"/>
              <a:gd name="T27" fmla="*/ 30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0" h="41">
                <a:moveTo>
                  <a:pt x="21" y="30"/>
                </a:moveTo>
                <a:lnTo>
                  <a:pt x="8" y="41"/>
                </a:lnTo>
                <a:lnTo>
                  <a:pt x="2" y="32"/>
                </a:lnTo>
                <a:lnTo>
                  <a:pt x="2" y="27"/>
                </a:lnTo>
                <a:lnTo>
                  <a:pt x="5" y="25"/>
                </a:lnTo>
                <a:lnTo>
                  <a:pt x="9" y="12"/>
                </a:lnTo>
                <a:lnTo>
                  <a:pt x="0" y="7"/>
                </a:lnTo>
                <a:lnTo>
                  <a:pt x="17" y="0"/>
                </a:lnTo>
                <a:lnTo>
                  <a:pt x="32" y="3"/>
                </a:lnTo>
                <a:lnTo>
                  <a:pt x="35" y="11"/>
                </a:lnTo>
                <a:lnTo>
                  <a:pt x="50" y="18"/>
                </a:lnTo>
                <a:lnTo>
                  <a:pt x="47" y="23"/>
                </a:lnTo>
                <a:lnTo>
                  <a:pt x="28" y="24"/>
                </a:lnTo>
                <a:lnTo>
                  <a:pt x="21" y="30"/>
                </a:lnTo>
                <a:close/>
              </a:path>
            </a:pathLst>
          </a:custGeom>
          <a:gradFill>
            <a:gsLst>
              <a:gs pos="41000">
                <a:srgbClr val="889AD2"/>
              </a:gs>
              <a:gs pos="0">
                <a:srgbClr val="889AD2"/>
              </a:gs>
              <a:gs pos="61000">
                <a:srgbClr val="92D050"/>
              </a:gs>
              <a:gs pos="83000">
                <a:srgbClr val="92D050"/>
              </a:gs>
              <a:gs pos="100000">
                <a:srgbClr val="92D050"/>
              </a:gs>
            </a:gsLst>
            <a:lin ang="5400000" scaled="1"/>
          </a:gra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342892"/>
            <a:endParaRPr lang="hu-HU" sz="1350" kern="0">
              <a:solidFill>
                <a:srgbClr val="323232"/>
              </a:solidFill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4816962" y="2382532"/>
            <a:ext cx="614271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42892">
              <a:defRPr/>
            </a:pPr>
            <a:r>
              <a:rPr lang="en-US" sz="600" b="1" kern="0" dirty="0">
                <a:solidFill>
                  <a:srgbClr val="323232"/>
                </a:solidFill>
              </a:rPr>
              <a:t>Kazakhstan</a:t>
            </a:r>
            <a:endParaRPr lang="en-GB" sz="600" b="1" kern="0" dirty="0">
              <a:solidFill>
                <a:srgbClr val="323232"/>
              </a:solidFill>
            </a:endParaRPr>
          </a:p>
        </p:txBody>
      </p:sp>
      <p:sp>
        <p:nvSpPr>
          <p:cNvPr id="130" name="TextBox 129"/>
          <p:cNvSpPr txBox="1"/>
          <p:nvPr/>
        </p:nvSpPr>
        <p:spPr>
          <a:xfrm>
            <a:off x="4343521" y="3922696"/>
            <a:ext cx="325730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42892">
              <a:defRPr/>
            </a:pPr>
            <a:r>
              <a:rPr lang="en-US" sz="600" b="1" kern="0" dirty="0">
                <a:solidFill>
                  <a:srgbClr val="323232"/>
                </a:solidFill>
              </a:rPr>
              <a:t>Iran</a:t>
            </a:r>
            <a:endParaRPr lang="en-GB" sz="600" b="1" kern="0" dirty="0">
              <a:solidFill>
                <a:srgbClr val="323232"/>
              </a:solidFill>
            </a:endParaRPr>
          </a:p>
        </p:txBody>
      </p:sp>
      <p:sp>
        <p:nvSpPr>
          <p:cNvPr id="133" name="TextBox 132"/>
          <p:cNvSpPr txBox="1"/>
          <p:nvPr/>
        </p:nvSpPr>
        <p:spPr>
          <a:xfrm>
            <a:off x="4386795" y="3309238"/>
            <a:ext cx="689612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42892">
              <a:defRPr/>
            </a:pPr>
            <a:r>
              <a:rPr lang="en-US" sz="600" b="1" kern="0" dirty="0">
                <a:solidFill>
                  <a:srgbClr val="323232"/>
                </a:solidFill>
              </a:rPr>
              <a:t>Turkmenistan</a:t>
            </a:r>
            <a:endParaRPr lang="en-GB" sz="600" b="1" kern="0" dirty="0">
              <a:solidFill>
                <a:srgbClr val="323232"/>
              </a:solidFill>
            </a:endParaRPr>
          </a:p>
        </p:txBody>
      </p:sp>
      <p:sp>
        <p:nvSpPr>
          <p:cNvPr id="134" name="TextBox 133"/>
          <p:cNvSpPr txBox="1"/>
          <p:nvPr/>
        </p:nvSpPr>
        <p:spPr>
          <a:xfrm>
            <a:off x="4773654" y="3128002"/>
            <a:ext cx="591829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42892">
              <a:defRPr/>
            </a:pPr>
            <a:r>
              <a:rPr lang="en-US" sz="600" b="1" kern="0" dirty="0">
                <a:solidFill>
                  <a:srgbClr val="323232"/>
                </a:solidFill>
              </a:rPr>
              <a:t>Uzbekistan</a:t>
            </a:r>
            <a:endParaRPr lang="en-GB" sz="600" b="1" kern="0" dirty="0">
              <a:solidFill>
                <a:srgbClr val="323232"/>
              </a:solidFill>
            </a:endParaRPr>
          </a:p>
        </p:txBody>
      </p:sp>
      <p:sp>
        <p:nvSpPr>
          <p:cNvPr id="135" name="TextBox 134"/>
          <p:cNvSpPr txBox="1"/>
          <p:nvPr/>
        </p:nvSpPr>
        <p:spPr>
          <a:xfrm>
            <a:off x="5571083" y="3424112"/>
            <a:ext cx="538930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42892">
              <a:defRPr/>
            </a:pPr>
            <a:r>
              <a:rPr lang="en-US" sz="600" b="1" kern="0" dirty="0">
                <a:solidFill>
                  <a:srgbClr val="323232"/>
                </a:solidFill>
              </a:rPr>
              <a:t>Tajikistan</a:t>
            </a:r>
            <a:endParaRPr lang="en-GB" sz="600" b="1" kern="0" dirty="0">
              <a:solidFill>
                <a:srgbClr val="323232"/>
              </a:solidFill>
            </a:endParaRPr>
          </a:p>
        </p:txBody>
      </p:sp>
      <p:sp>
        <p:nvSpPr>
          <p:cNvPr id="136" name="TextBox 135"/>
          <p:cNvSpPr txBox="1"/>
          <p:nvPr/>
        </p:nvSpPr>
        <p:spPr>
          <a:xfrm>
            <a:off x="5672156" y="3019194"/>
            <a:ext cx="620683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42892">
              <a:defRPr/>
            </a:pPr>
            <a:r>
              <a:rPr lang="en-US" sz="600" b="1" kern="0" dirty="0" err="1">
                <a:solidFill>
                  <a:srgbClr val="323232"/>
                </a:solidFill>
              </a:rPr>
              <a:t>Kguzastan</a:t>
            </a:r>
            <a:r>
              <a:rPr lang="ru-RU" sz="600" b="1" kern="0" dirty="0">
                <a:solidFill>
                  <a:srgbClr val="323232"/>
                </a:solidFill>
              </a:rPr>
              <a:t>н</a:t>
            </a:r>
            <a:endParaRPr lang="en-GB" sz="600" b="1" kern="0" dirty="0">
              <a:solidFill>
                <a:srgbClr val="323232"/>
              </a:solidFill>
            </a:endParaRPr>
          </a:p>
        </p:txBody>
      </p:sp>
      <p:sp>
        <p:nvSpPr>
          <p:cNvPr id="141" name="TextBox 140"/>
          <p:cNvSpPr txBox="1"/>
          <p:nvPr/>
        </p:nvSpPr>
        <p:spPr>
          <a:xfrm>
            <a:off x="3475277" y="3195199"/>
            <a:ext cx="49404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42892">
              <a:defRPr/>
            </a:pPr>
            <a:r>
              <a:rPr lang="en-US" sz="600" b="1" kern="0" dirty="0">
                <a:solidFill>
                  <a:srgbClr val="323232"/>
                </a:solidFill>
              </a:rPr>
              <a:t>Armenia</a:t>
            </a:r>
            <a:endParaRPr lang="en-GB" sz="600" b="1" kern="0" dirty="0">
              <a:solidFill>
                <a:srgbClr val="323232"/>
              </a:solidFill>
            </a:endParaRPr>
          </a:p>
        </p:txBody>
      </p:sp>
      <p:sp>
        <p:nvSpPr>
          <p:cNvPr id="142" name="TextBox 141"/>
          <p:cNvSpPr txBox="1"/>
          <p:nvPr/>
        </p:nvSpPr>
        <p:spPr>
          <a:xfrm>
            <a:off x="3690184" y="3130611"/>
            <a:ext cx="574196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defTabSz="457189">
              <a:defRPr sz="800" b="1" kern="0">
                <a:solidFill>
                  <a:srgbClr val="323232"/>
                </a:solidFill>
              </a:defRPr>
            </a:lvl1pPr>
          </a:lstStyle>
          <a:p>
            <a:r>
              <a:rPr lang="en-US" sz="600" dirty="0"/>
              <a:t>Azerbaijan</a:t>
            </a:r>
            <a:endParaRPr lang="en-GB" sz="600" dirty="0"/>
          </a:p>
        </p:txBody>
      </p:sp>
      <p:cxnSp>
        <p:nvCxnSpPr>
          <p:cNvPr id="162" name="Straight Arrow Connector 161"/>
          <p:cNvCxnSpPr/>
          <p:nvPr/>
        </p:nvCxnSpPr>
        <p:spPr>
          <a:xfrm>
            <a:off x="4827796" y="2271449"/>
            <a:ext cx="9306" cy="846900"/>
          </a:xfrm>
          <a:prstGeom prst="straightConnector1">
            <a:avLst/>
          </a:prstGeom>
          <a:noFill/>
          <a:ln w="50800">
            <a:solidFill>
              <a:srgbClr val="0033CC"/>
            </a:solidFill>
            <a:headEnd type="triangle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" name="Freeform 1"/>
          <p:cNvSpPr/>
          <p:nvPr/>
        </p:nvSpPr>
        <p:spPr>
          <a:xfrm>
            <a:off x="5052958" y="3100866"/>
            <a:ext cx="631815" cy="195282"/>
          </a:xfrm>
          <a:custGeom>
            <a:avLst/>
            <a:gdLst>
              <a:gd name="connsiteX0" fmla="*/ 0 w 770817"/>
              <a:gd name="connsiteY0" fmla="*/ 157902 h 260376"/>
              <a:gd name="connsiteX1" fmla="*/ 136027 w 770817"/>
              <a:gd name="connsiteY1" fmla="*/ 225915 h 260376"/>
              <a:gd name="connsiteX2" fmla="*/ 279610 w 770817"/>
              <a:gd name="connsiteY2" fmla="*/ 256143 h 260376"/>
              <a:gd name="connsiteX3" fmla="*/ 392966 w 770817"/>
              <a:gd name="connsiteY3" fmla="*/ 135231 h 260376"/>
              <a:gd name="connsiteX4" fmla="*/ 649904 w 770817"/>
              <a:gd name="connsiteY4" fmla="*/ 6762 h 260376"/>
              <a:gd name="connsiteX5" fmla="*/ 770817 w 770817"/>
              <a:gd name="connsiteY5" fmla="*/ 29433 h 260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70817" h="260376">
                <a:moveTo>
                  <a:pt x="0" y="157902"/>
                </a:moveTo>
                <a:cubicBezTo>
                  <a:pt x="44712" y="183722"/>
                  <a:pt x="89425" y="209542"/>
                  <a:pt x="136027" y="225915"/>
                </a:cubicBezTo>
                <a:cubicBezTo>
                  <a:pt x="182629" y="242288"/>
                  <a:pt x="236787" y="271257"/>
                  <a:pt x="279610" y="256143"/>
                </a:cubicBezTo>
                <a:cubicBezTo>
                  <a:pt x="322433" y="241029"/>
                  <a:pt x="331250" y="176794"/>
                  <a:pt x="392966" y="135231"/>
                </a:cubicBezTo>
                <a:cubicBezTo>
                  <a:pt x="454682" y="93668"/>
                  <a:pt x="586929" y="24395"/>
                  <a:pt x="649904" y="6762"/>
                </a:cubicBezTo>
                <a:cubicBezTo>
                  <a:pt x="712879" y="-10871"/>
                  <a:pt x="741848" y="9281"/>
                  <a:pt x="770817" y="29433"/>
                </a:cubicBezTo>
              </a:path>
            </a:pathLst>
          </a:custGeom>
          <a:noFill/>
          <a:ln w="38100">
            <a:solidFill>
              <a:schemeClr val="accent1"/>
            </a:solidFill>
            <a:prstDash val="sysDot"/>
            <a:headEnd type="triangl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>
              <a:solidFill>
                <a:srgbClr val="FFFFFF"/>
              </a:solidFill>
            </a:endParaRPr>
          </a:p>
        </p:txBody>
      </p:sp>
      <p:sp>
        <p:nvSpPr>
          <p:cNvPr id="5" name="Freeform 4"/>
          <p:cNvSpPr/>
          <p:nvPr/>
        </p:nvSpPr>
        <p:spPr>
          <a:xfrm>
            <a:off x="4136429" y="2891028"/>
            <a:ext cx="579155" cy="923380"/>
          </a:xfrm>
          <a:custGeom>
            <a:avLst/>
            <a:gdLst>
              <a:gd name="connsiteX0" fmla="*/ 467427 w 845279"/>
              <a:gd name="connsiteY0" fmla="*/ 1354938 h 1354938"/>
              <a:gd name="connsiteX1" fmla="*/ 127361 w 845279"/>
              <a:gd name="connsiteY1" fmla="*/ 750376 h 1354938"/>
              <a:gd name="connsiteX2" fmla="*/ 51791 w 845279"/>
              <a:gd name="connsiteY2" fmla="*/ 410310 h 1354938"/>
              <a:gd name="connsiteX3" fmla="*/ 44234 w 845279"/>
              <a:gd name="connsiteY3" fmla="*/ 17345 h 1354938"/>
              <a:gd name="connsiteX4" fmla="*/ 633682 w 845279"/>
              <a:gd name="connsiteY4" fmla="*/ 70244 h 1354938"/>
              <a:gd name="connsiteX5" fmla="*/ 777265 w 845279"/>
              <a:gd name="connsiteY5" fmla="*/ 77801 h 1354938"/>
              <a:gd name="connsiteX6" fmla="*/ 845279 w 845279"/>
              <a:gd name="connsiteY6" fmla="*/ 115586 h 1354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45279" h="1354938">
                <a:moveTo>
                  <a:pt x="467427" y="1354938"/>
                </a:moveTo>
                <a:cubicBezTo>
                  <a:pt x="332030" y="1131376"/>
                  <a:pt x="196634" y="907814"/>
                  <a:pt x="127361" y="750376"/>
                </a:cubicBezTo>
                <a:cubicBezTo>
                  <a:pt x="58088" y="592938"/>
                  <a:pt x="65645" y="532482"/>
                  <a:pt x="51791" y="410310"/>
                </a:cubicBezTo>
                <a:cubicBezTo>
                  <a:pt x="37937" y="288138"/>
                  <a:pt x="-52748" y="74023"/>
                  <a:pt x="44234" y="17345"/>
                </a:cubicBezTo>
                <a:cubicBezTo>
                  <a:pt x="141216" y="-39333"/>
                  <a:pt x="511510" y="60168"/>
                  <a:pt x="633682" y="70244"/>
                </a:cubicBezTo>
                <a:cubicBezTo>
                  <a:pt x="755854" y="80320"/>
                  <a:pt x="741999" y="70244"/>
                  <a:pt x="777265" y="77801"/>
                </a:cubicBezTo>
                <a:cubicBezTo>
                  <a:pt x="812531" y="85358"/>
                  <a:pt x="828905" y="100472"/>
                  <a:pt x="845279" y="115586"/>
                </a:cubicBezTo>
              </a:path>
            </a:pathLst>
          </a:custGeom>
          <a:noFill/>
          <a:ln w="38100">
            <a:solidFill>
              <a:schemeClr val="accent1"/>
            </a:solidFill>
            <a:prstDash val="sysDot"/>
            <a:headEnd type="triangl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>
              <a:solidFill>
                <a:srgbClr val="FFFFFF"/>
              </a:solidFill>
            </a:endParaRPr>
          </a:p>
        </p:txBody>
      </p:sp>
      <p:cxnSp>
        <p:nvCxnSpPr>
          <p:cNvPr id="155" name="Straight Arrow Connector 154"/>
          <p:cNvCxnSpPr>
            <a:stCxn id="142" idx="2"/>
          </p:cNvCxnSpPr>
          <p:nvPr/>
        </p:nvCxnSpPr>
        <p:spPr>
          <a:xfrm>
            <a:off x="3977282" y="3315277"/>
            <a:ext cx="102177" cy="451838"/>
          </a:xfrm>
          <a:prstGeom prst="straightConnector1">
            <a:avLst/>
          </a:prstGeom>
          <a:noFill/>
          <a:ln w="50800">
            <a:solidFill>
              <a:srgbClr val="0033CC"/>
            </a:solidFill>
            <a:headEnd type="triangle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31" name="TextBox 130"/>
          <p:cNvSpPr txBox="1"/>
          <p:nvPr/>
        </p:nvSpPr>
        <p:spPr>
          <a:xfrm>
            <a:off x="3020309" y="3314645"/>
            <a:ext cx="437940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42892">
              <a:defRPr/>
            </a:pPr>
            <a:r>
              <a:rPr lang="en-US" sz="600" b="1" kern="0" dirty="0">
                <a:solidFill>
                  <a:srgbClr val="323232"/>
                </a:solidFill>
              </a:rPr>
              <a:t>Turkey</a:t>
            </a:r>
            <a:endParaRPr lang="en-GB" sz="600" b="1" kern="0" dirty="0">
              <a:solidFill>
                <a:srgbClr val="323232"/>
              </a:solidFill>
            </a:endParaRPr>
          </a:p>
        </p:txBody>
      </p:sp>
      <p:cxnSp>
        <p:nvCxnSpPr>
          <p:cNvPr id="284" name="Straight Arrow Connector 283"/>
          <p:cNvCxnSpPr/>
          <p:nvPr/>
        </p:nvCxnSpPr>
        <p:spPr>
          <a:xfrm>
            <a:off x="3202839" y="3259951"/>
            <a:ext cx="789036" cy="310280"/>
          </a:xfrm>
          <a:prstGeom prst="straightConnector1">
            <a:avLst/>
          </a:prstGeom>
          <a:noFill/>
          <a:ln w="50800">
            <a:solidFill>
              <a:srgbClr val="0033CC"/>
            </a:solidFill>
            <a:headEnd type="triangle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85" name="Freeform 284"/>
          <p:cNvSpPr/>
          <p:nvPr/>
        </p:nvSpPr>
        <p:spPr>
          <a:xfrm>
            <a:off x="5229043" y="2744424"/>
            <a:ext cx="286271" cy="748822"/>
          </a:xfrm>
          <a:custGeom>
            <a:avLst/>
            <a:gdLst>
              <a:gd name="connsiteX0" fmla="*/ 381694 w 381694"/>
              <a:gd name="connsiteY0" fmla="*/ 938254 h 998429"/>
              <a:gd name="connsiteX1" fmla="*/ 333986 w 381694"/>
              <a:gd name="connsiteY1" fmla="*/ 970059 h 998429"/>
              <a:gd name="connsiteX2" fmla="*/ 230619 w 381694"/>
              <a:gd name="connsiteY2" fmla="*/ 993913 h 998429"/>
              <a:gd name="connsiteX3" fmla="*/ 63642 w 381694"/>
              <a:gd name="connsiteY3" fmla="*/ 874643 h 998429"/>
              <a:gd name="connsiteX4" fmla="*/ 32 w 381694"/>
              <a:gd name="connsiteY4" fmla="*/ 763325 h 998429"/>
              <a:gd name="connsiteX5" fmla="*/ 55691 w 381694"/>
              <a:gd name="connsiteY5" fmla="*/ 636104 h 998429"/>
              <a:gd name="connsiteX6" fmla="*/ 103398 w 381694"/>
              <a:gd name="connsiteY6" fmla="*/ 214685 h 998429"/>
              <a:gd name="connsiteX7" fmla="*/ 71593 w 381694"/>
              <a:gd name="connsiteY7" fmla="*/ 0 h 998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1694" h="998429">
                <a:moveTo>
                  <a:pt x="381694" y="938254"/>
                </a:moveTo>
                <a:cubicBezTo>
                  <a:pt x="370429" y="949518"/>
                  <a:pt x="359165" y="960783"/>
                  <a:pt x="333986" y="970059"/>
                </a:cubicBezTo>
                <a:cubicBezTo>
                  <a:pt x="308807" y="979335"/>
                  <a:pt x="275676" y="1009816"/>
                  <a:pt x="230619" y="993913"/>
                </a:cubicBezTo>
                <a:cubicBezTo>
                  <a:pt x="185562" y="978010"/>
                  <a:pt x="102073" y="913074"/>
                  <a:pt x="63642" y="874643"/>
                </a:cubicBezTo>
                <a:cubicBezTo>
                  <a:pt x="25211" y="836212"/>
                  <a:pt x="1357" y="803081"/>
                  <a:pt x="32" y="763325"/>
                </a:cubicBezTo>
                <a:cubicBezTo>
                  <a:pt x="-1293" y="723569"/>
                  <a:pt x="38463" y="727544"/>
                  <a:pt x="55691" y="636104"/>
                </a:cubicBezTo>
                <a:cubicBezTo>
                  <a:pt x="72919" y="544664"/>
                  <a:pt x="100748" y="320702"/>
                  <a:pt x="103398" y="214685"/>
                </a:cubicBezTo>
                <a:cubicBezTo>
                  <a:pt x="106048" y="108668"/>
                  <a:pt x="88820" y="54334"/>
                  <a:pt x="71593" y="0"/>
                </a:cubicBezTo>
              </a:path>
            </a:pathLst>
          </a:custGeom>
          <a:noFill/>
          <a:ln w="28575">
            <a:solidFill>
              <a:srgbClr val="0033CC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>
              <a:solidFill>
                <a:srgbClr val="FFFFFF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09209" y="3336411"/>
            <a:ext cx="164015" cy="100525"/>
          </a:xfrm>
          <a:prstGeom prst="rect">
            <a:avLst/>
          </a:prstGeom>
        </p:spPr>
      </p:pic>
      <p:pic>
        <p:nvPicPr>
          <p:cNvPr id="288" name="Picture 28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0700" y="3958554"/>
            <a:ext cx="164015" cy="100525"/>
          </a:xfrm>
          <a:prstGeom prst="rect">
            <a:avLst/>
          </a:prstGeom>
        </p:spPr>
      </p:pic>
      <p:pic>
        <p:nvPicPr>
          <p:cNvPr id="298" name="Picture 29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51814" y="3736281"/>
            <a:ext cx="164015" cy="100525"/>
          </a:xfrm>
          <a:prstGeom prst="rect">
            <a:avLst/>
          </a:prstGeom>
        </p:spPr>
      </p:pic>
      <p:sp>
        <p:nvSpPr>
          <p:cNvPr id="299" name="TextBox 298"/>
          <p:cNvSpPr txBox="1"/>
          <p:nvPr/>
        </p:nvSpPr>
        <p:spPr>
          <a:xfrm>
            <a:off x="1116154" y="3869600"/>
            <a:ext cx="452368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42892">
              <a:defRPr/>
            </a:pPr>
            <a:r>
              <a:rPr lang="en-US" sz="600" b="1" kern="0" dirty="0">
                <a:solidFill>
                  <a:srgbClr val="323232"/>
                </a:solidFill>
              </a:rPr>
              <a:t>Tunisia</a:t>
            </a:r>
            <a:endParaRPr lang="en-GB" sz="600" b="1" kern="0" dirty="0">
              <a:solidFill>
                <a:srgbClr val="323232"/>
              </a:solidFill>
            </a:endParaRPr>
          </a:p>
        </p:txBody>
      </p:sp>
      <p:pic>
        <p:nvPicPr>
          <p:cNvPr id="301" name="Picture 30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30555" y="2994873"/>
            <a:ext cx="164015" cy="100525"/>
          </a:xfrm>
          <a:prstGeom prst="rect">
            <a:avLst/>
          </a:prstGeom>
        </p:spPr>
      </p:pic>
      <p:sp>
        <p:nvSpPr>
          <p:cNvPr id="302" name="TextBox 301"/>
          <p:cNvSpPr txBox="1"/>
          <p:nvPr/>
        </p:nvSpPr>
        <p:spPr>
          <a:xfrm>
            <a:off x="3491829" y="3031186"/>
            <a:ext cx="474810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42892">
              <a:defRPr/>
            </a:pPr>
            <a:r>
              <a:rPr lang="en-US" sz="600" b="1" kern="0" dirty="0">
                <a:solidFill>
                  <a:srgbClr val="323232"/>
                </a:solidFill>
              </a:rPr>
              <a:t>Georgia</a:t>
            </a:r>
            <a:endParaRPr lang="en-GB" sz="600" b="1" kern="0" dirty="0">
              <a:solidFill>
                <a:srgbClr val="323232"/>
              </a:solidFill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6507331" y="3294431"/>
            <a:ext cx="2247763" cy="1332449"/>
            <a:chOff x="9110502" y="2241536"/>
            <a:chExt cx="2934379" cy="1507351"/>
          </a:xfrm>
        </p:grpSpPr>
        <p:grpSp>
          <p:nvGrpSpPr>
            <p:cNvPr id="7" name="Group 6"/>
            <p:cNvGrpSpPr/>
            <p:nvPr/>
          </p:nvGrpSpPr>
          <p:grpSpPr>
            <a:xfrm>
              <a:off x="9110502" y="2241536"/>
              <a:ext cx="2918229" cy="685576"/>
              <a:chOff x="9110502" y="2241536"/>
              <a:chExt cx="2918229" cy="685576"/>
            </a:xfrm>
          </p:grpSpPr>
          <p:sp>
            <p:nvSpPr>
              <p:cNvPr id="152" name="TextBox 151"/>
              <p:cNvSpPr txBox="1"/>
              <p:nvPr/>
            </p:nvSpPr>
            <p:spPr>
              <a:xfrm>
                <a:off x="9120121" y="2241536"/>
                <a:ext cx="2907341" cy="261132"/>
              </a:xfrm>
              <a:prstGeom prst="rect">
                <a:avLst/>
              </a:prstGeom>
              <a:gradFill>
                <a:gsLst>
                  <a:gs pos="31000">
                    <a:srgbClr val="889AD2"/>
                  </a:gs>
                  <a:gs pos="0">
                    <a:srgbClr val="889AD2"/>
                  </a:gs>
                  <a:gs pos="50000">
                    <a:srgbClr val="92D050"/>
                  </a:gs>
                  <a:gs pos="63000">
                    <a:srgbClr val="92D050"/>
                  </a:gs>
                  <a:gs pos="79000">
                    <a:srgbClr val="00B050"/>
                  </a:gs>
                </a:gsLst>
                <a:lin ang="5400000" scaled="1"/>
              </a:gradFill>
              <a:ln>
                <a:solidFill>
                  <a:srgbClr val="FFFFFF"/>
                </a:solidFill>
              </a:ln>
            </p:spPr>
            <p:txBody>
              <a:bodyPr wrap="square" rtlCol="0" anchor="ctr">
                <a:spAutoFit/>
              </a:bodyPr>
              <a:lstStyle/>
              <a:p>
                <a:r>
                  <a:rPr lang="en-US" sz="900" dirty="0">
                    <a:solidFill>
                      <a:srgbClr val="323232">
                        <a:lumMod val="90000"/>
                        <a:lumOff val="1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perational digital corridors</a:t>
                </a:r>
              </a:p>
            </p:txBody>
          </p:sp>
          <p:sp>
            <p:nvSpPr>
              <p:cNvPr id="150" name="TextBox 149"/>
              <p:cNvSpPr txBox="1"/>
              <p:nvPr/>
            </p:nvSpPr>
            <p:spPr>
              <a:xfrm>
                <a:off x="9110502" y="2665980"/>
                <a:ext cx="2918229" cy="261132"/>
              </a:xfrm>
              <a:prstGeom prst="rect">
                <a:avLst/>
              </a:prstGeom>
              <a:solidFill>
                <a:srgbClr val="889AD2"/>
              </a:solidFill>
              <a:ln>
                <a:solidFill>
                  <a:srgbClr val="FFFFFF"/>
                </a:solidFill>
              </a:ln>
            </p:spPr>
            <p:txBody>
              <a:bodyPr wrap="square" rtlCol="0" anchor="ctr">
                <a:spAutoFit/>
              </a:bodyPr>
              <a:lstStyle/>
              <a:p>
                <a:r>
                  <a:rPr lang="en-US" sz="900" dirty="0">
                    <a:solidFill>
                      <a:srgbClr val="3C3C3C"/>
                    </a:solidFill>
                    <a:highlight>
                      <a:srgbClr val="000000">
                        <a:alpha val="0"/>
                      </a:srgbClr>
                    </a:highlight>
                    <a:latin typeface="Arial"/>
                    <a:cs typeface="Arial"/>
                  </a:rPr>
                  <a:t>Countries with IRU TIR IT tools</a:t>
                </a:r>
                <a:endParaRPr lang="ru" sz="900" dirty="0">
                  <a:solidFill>
                    <a:srgbClr val="3C3C3C"/>
                  </a:solidFill>
                  <a:highlight>
                    <a:srgbClr val="000000">
                      <a:alpha val="0"/>
                    </a:srgbClr>
                  </a:highlight>
                  <a:latin typeface="Arial"/>
                  <a:cs typeface="Arial"/>
                </a:endParaRPr>
              </a:p>
            </p:txBody>
          </p:sp>
        </p:grpSp>
        <p:sp>
          <p:nvSpPr>
            <p:cNvPr id="287" name="TextBox 286"/>
            <p:cNvSpPr txBox="1"/>
            <p:nvPr/>
          </p:nvSpPr>
          <p:spPr>
            <a:xfrm>
              <a:off x="9126652" y="3174396"/>
              <a:ext cx="2918229" cy="574491"/>
            </a:xfrm>
            <a:prstGeom prst="rect">
              <a:avLst/>
            </a:prstGeom>
            <a:noFill/>
            <a:ln>
              <a:solidFill>
                <a:srgbClr val="FFFFFF"/>
              </a:solidFill>
            </a:ln>
          </p:spPr>
          <p:txBody>
            <a:bodyPr wrap="square" rtlCol="0" anchor="ctr">
              <a:spAutoFit/>
            </a:bodyPr>
            <a:lstStyle/>
            <a:p>
              <a:r>
                <a:rPr lang="ru-RU" sz="900" dirty="0">
                  <a:solidFill>
                    <a:srgbClr val="797979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  </a:t>
              </a:r>
              <a:r>
                <a:rPr lang="en-US" sz="900" dirty="0">
                  <a:solidFill>
                    <a:srgbClr val="797979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untries, which started interconnection with </a:t>
              </a:r>
              <a:r>
                <a:rPr lang="en-US" sz="900" dirty="0" err="1">
                  <a:solidFill>
                    <a:srgbClr val="797979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TIR</a:t>
              </a:r>
              <a:r>
                <a:rPr lang="en-US" sz="900" dirty="0">
                  <a:solidFill>
                    <a:srgbClr val="797979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International System of UNECE for C2C</a:t>
              </a:r>
            </a:p>
          </p:txBody>
        </p:sp>
        <p:pic>
          <p:nvPicPr>
            <p:cNvPr id="303" name="Picture 30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81028" y="3098573"/>
              <a:ext cx="304458" cy="186603"/>
            </a:xfrm>
            <a:prstGeom prst="rect">
              <a:avLst/>
            </a:prstGeom>
          </p:spPr>
        </p:pic>
      </p:grpSp>
      <p:pic>
        <p:nvPicPr>
          <p:cNvPr id="304" name="Picture 30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9281" y="3073416"/>
            <a:ext cx="164015" cy="100525"/>
          </a:xfrm>
          <a:prstGeom prst="rect">
            <a:avLst/>
          </a:prstGeom>
        </p:spPr>
      </p:pic>
      <p:pic>
        <p:nvPicPr>
          <p:cNvPr id="305" name="Picture 30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73008" y="3130515"/>
            <a:ext cx="164015" cy="100525"/>
          </a:xfrm>
          <a:prstGeom prst="rect">
            <a:avLst/>
          </a:prstGeom>
        </p:spPr>
      </p:pic>
      <p:pic>
        <p:nvPicPr>
          <p:cNvPr id="306" name="Picture 30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9311" y="3374975"/>
            <a:ext cx="164015" cy="100525"/>
          </a:xfrm>
          <a:prstGeom prst="rect">
            <a:avLst/>
          </a:prstGeom>
        </p:spPr>
      </p:pic>
      <p:pic>
        <p:nvPicPr>
          <p:cNvPr id="307" name="Picture 30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65322" y="4481895"/>
            <a:ext cx="164015" cy="100525"/>
          </a:xfrm>
          <a:prstGeom prst="rect">
            <a:avLst/>
          </a:prstGeom>
        </p:spPr>
      </p:pic>
      <p:sp>
        <p:nvSpPr>
          <p:cNvPr id="308" name="TextBox 307"/>
          <p:cNvSpPr txBox="1"/>
          <p:nvPr/>
        </p:nvSpPr>
        <p:spPr>
          <a:xfrm>
            <a:off x="5349760" y="4269864"/>
            <a:ext cx="502061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42892">
              <a:defRPr/>
            </a:pPr>
            <a:r>
              <a:rPr lang="en-US" sz="600" b="1" kern="0" dirty="0">
                <a:solidFill>
                  <a:srgbClr val="323232"/>
                </a:solidFill>
              </a:rPr>
              <a:t>Pakistan</a:t>
            </a:r>
            <a:endParaRPr lang="en-GB" sz="600" b="1" kern="0" dirty="0">
              <a:solidFill>
                <a:srgbClr val="323232"/>
              </a:solidFill>
            </a:endParaRPr>
          </a:p>
        </p:txBody>
      </p:sp>
      <p:pic>
        <p:nvPicPr>
          <p:cNvPr id="289" name="Picture 28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66398" y="3245578"/>
            <a:ext cx="164015" cy="100525"/>
          </a:xfrm>
          <a:prstGeom prst="rect">
            <a:avLst/>
          </a:prstGeom>
        </p:spPr>
      </p:pic>
      <p:sp>
        <p:nvSpPr>
          <p:cNvPr id="300" name="TextBox 299"/>
          <p:cNvSpPr txBox="1"/>
          <p:nvPr/>
        </p:nvSpPr>
        <p:spPr>
          <a:xfrm>
            <a:off x="4973296" y="3773888"/>
            <a:ext cx="628698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42892">
              <a:defRPr/>
            </a:pPr>
            <a:r>
              <a:rPr lang="en-US" sz="600" b="1" kern="0" dirty="0">
                <a:solidFill>
                  <a:srgbClr val="323232"/>
                </a:solidFill>
              </a:rPr>
              <a:t>Afghanistan</a:t>
            </a:r>
            <a:endParaRPr lang="en-GB" sz="600" b="1" kern="0" dirty="0">
              <a:solidFill>
                <a:srgbClr val="323232"/>
              </a:solidFill>
            </a:endParaRPr>
          </a:p>
        </p:txBody>
      </p:sp>
      <p:sp>
        <p:nvSpPr>
          <p:cNvPr id="311" name="TextBox 310"/>
          <p:cNvSpPr txBox="1"/>
          <p:nvPr/>
        </p:nvSpPr>
        <p:spPr>
          <a:xfrm>
            <a:off x="6073102" y="4970805"/>
            <a:ext cx="428322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342892">
              <a:defRPr/>
            </a:pPr>
            <a:r>
              <a:rPr lang="ru-RU" sz="600" b="1" kern="0" dirty="0">
                <a:solidFill>
                  <a:srgbClr val="323232"/>
                </a:solidFill>
              </a:rPr>
              <a:t>Индия</a:t>
            </a:r>
            <a:endParaRPr lang="en-GB" sz="600" b="1" kern="0" dirty="0">
              <a:solidFill>
                <a:srgbClr val="323232"/>
              </a:solidFill>
            </a:endParaRPr>
          </a:p>
        </p:txBody>
      </p:sp>
      <p:sp>
        <p:nvSpPr>
          <p:cNvPr id="286" name="Frame 285">
            <a:extLst>
              <a:ext uri="{FF2B5EF4-FFF2-40B4-BE49-F238E27FC236}">
                <a16:creationId xmlns:a16="http://schemas.microsoft.com/office/drawing/2014/main" id="{F4A3B360-94DB-D042-A473-73792489AB0D}"/>
              </a:ext>
            </a:extLst>
          </p:cNvPr>
          <p:cNvSpPr/>
          <p:nvPr/>
        </p:nvSpPr>
        <p:spPr>
          <a:xfrm>
            <a:off x="-7257" y="0"/>
            <a:ext cx="9151257" cy="5143500"/>
          </a:xfrm>
          <a:prstGeom prst="frame">
            <a:avLst>
              <a:gd name="adj1" fmla="val 41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48" name="Title 5">
            <a:extLst>
              <a:ext uri="{FF2B5EF4-FFF2-40B4-BE49-F238E27FC236}">
                <a16:creationId xmlns:a16="http://schemas.microsoft.com/office/drawing/2014/main" id="{145B785E-578C-224D-86AA-DF42202828DC}"/>
              </a:ext>
            </a:extLst>
          </p:cNvPr>
          <p:cNvSpPr txBox="1">
            <a:spLocks/>
          </p:cNvSpPr>
          <p:nvPr/>
        </p:nvSpPr>
        <p:spPr>
          <a:xfrm>
            <a:off x="-8277" y="221601"/>
            <a:ext cx="7404495" cy="432228"/>
          </a:xfrm>
          <a:prstGeom prst="rect">
            <a:avLst/>
          </a:prstGeom>
          <a:solidFill>
            <a:srgbClr val="0C95C6"/>
          </a:solidFill>
        </p:spPr>
        <p:txBody>
          <a:bodyPr lIns="21600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Corbel" panose="020B0503020204020204" pitchFamily="34" charset="0"/>
                <a:ea typeface="+mj-ea"/>
                <a:cs typeface="+mj-cs"/>
              </a:defRPr>
            </a:lvl1pPr>
          </a:lstStyle>
          <a:p>
            <a:r>
              <a:rPr lang="en-US" sz="1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cts of TIR data exchange between business and customs </a:t>
            </a:r>
            <a:r>
              <a:rPr lang="ru-RU" sz="1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B2C)</a:t>
            </a:r>
          </a:p>
        </p:txBody>
      </p:sp>
      <p:sp>
        <p:nvSpPr>
          <p:cNvPr id="149" name="Text Placeholder 6">
            <a:extLst>
              <a:ext uri="{FF2B5EF4-FFF2-40B4-BE49-F238E27FC236}">
                <a16:creationId xmlns:a16="http://schemas.microsoft.com/office/drawing/2014/main" id="{74AAD6DB-3D95-6A43-9056-C4C1FA538F00}"/>
              </a:ext>
            </a:extLst>
          </p:cNvPr>
          <p:cNvSpPr txBox="1">
            <a:spLocks/>
          </p:cNvSpPr>
          <p:nvPr/>
        </p:nvSpPr>
        <p:spPr>
          <a:xfrm>
            <a:off x="-8275" y="654001"/>
            <a:ext cx="4012261" cy="1114242"/>
          </a:xfrm>
          <a:prstGeom prst="rect">
            <a:avLst/>
          </a:prstGeom>
          <a:solidFill>
            <a:srgbClr val="19B6F1"/>
          </a:solidFill>
        </p:spPr>
        <p:txBody>
          <a:bodyPr lIns="216000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countries, which started working on C2C data exchange</a:t>
            </a:r>
            <a:r>
              <a:rPr lang="ru-RU" sz="1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framework of </a:t>
            </a:r>
            <a:r>
              <a:rPr lang="en-US" sz="18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IR</a:t>
            </a:r>
            <a:endParaRPr lang="en-GB" sz="18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09" name="Picture 30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42642" y="2643899"/>
            <a:ext cx="164015" cy="100525"/>
          </a:xfrm>
          <a:prstGeom prst="rect">
            <a:avLst/>
          </a:prstGeom>
        </p:spPr>
      </p:pic>
      <p:pic>
        <p:nvPicPr>
          <p:cNvPr id="312" name="Picture 3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73629" y="2522340"/>
            <a:ext cx="164015" cy="10052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08690" y="2163978"/>
            <a:ext cx="164606" cy="103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48257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C8D78BB7-D1DA-DB48-84F6-40D34511252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2106626" y="2522938"/>
            <a:ext cx="6574731" cy="2500821"/>
          </a:xfrm>
        </p:spPr>
        <p:txBody>
          <a:bodyPr/>
          <a:lstStyle/>
          <a:p>
            <a:endParaRPr lang="de-DE" sz="1400" dirty="0"/>
          </a:p>
          <a:p>
            <a:r>
              <a:rPr lang="de-DE" sz="1400" b="1" dirty="0"/>
              <a:t>Project advancement:</a:t>
            </a:r>
          </a:p>
          <a:p>
            <a:endParaRPr lang="de-DE" sz="1400" dirty="0"/>
          </a:p>
          <a:p>
            <a:pPr marL="285750" indent="-285750" defTabSz="358775">
              <a:buFont typeface="Wingdings" panose="05000000000000000000" pitchFamily="2" charset="2"/>
              <a:buChar char="Ø"/>
            </a:pPr>
            <a:r>
              <a:rPr lang="de-DE" sz="1400" dirty="0"/>
              <a:t>	Uzbekistan-Kazakhstan digital TIR project launched in November 2020</a:t>
            </a:r>
          </a:p>
          <a:p>
            <a:pPr marL="285750" indent="-285750" defTabSz="358775">
              <a:buFont typeface="Wingdings" panose="05000000000000000000" pitchFamily="2" charset="2"/>
              <a:buChar char="Ø"/>
            </a:pPr>
            <a:r>
              <a:rPr lang="de-DE" sz="1400" dirty="0"/>
              <a:t>	Tajikistan expressed its interest to join project in December 2020</a:t>
            </a:r>
          </a:p>
          <a:p>
            <a:pPr marL="285750" indent="-285750" defTabSz="358775">
              <a:buFont typeface="Wingdings" panose="05000000000000000000" pitchFamily="2" charset="2"/>
              <a:buChar char="Ø"/>
            </a:pPr>
            <a:r>
              <a:rPr lang="de-DE" sz="1400" dirty="0"/>
              <a:t>	Tajikistan implemented TIR-EPD in March 2020</a:t>
            </a:r>
          </a:p>
          <a:p>
            <a:pPr marL="285750" indent="-285750" defTabSz="358775">
              <a:buFont typeface="Wingdings" panose="05000000000000000000" pitchFamily="2" charset="2"/>
              <a:buChar char="Ø"/>
            </a:pPr>
            <a:r>
              <a:rPr lang="de-DE" sz="1400" dirty="0"/>
              <a:t>	Uzbekistan-Kazakhstan digital TIR project extension towards Tajikistan on 4-5 	May 2021</a:t>
            </a:r>
          </a:p>
          <a:p>
            <a:endParaRPr lang="de-DE" sz="1400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00577290-3CB4-154E-9506-A17157A139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3" y="244332"/>
            <a:ext cx="8685767" cy="498580"/>
          </a:xfrm>
        </p:spPr>
        <p:txBody>
          <a:bodyPr/>
          <a:lstStyle/>
          <a:p>
            <a:r>
              <a:rPr lang="de-DE" sz="2550" dirty="0"/>
              <a:t>Digitalisation of Tajikistan-Uzbekistan-Kazakhstan corridor        </a:t>
            </a:r>
          </a:p>
        </p:txBody>
      </p:sp>
      <p:sp>
        <p:nvSpPr>
          <p:cNvPr id="2" name="Rectangle 1"/>
          <p:cNvSpPr/>
          <p:nvPr/>
        </p:nvSpPr>
        <p:spPr>
          <a:xfrm>
            <a:off x="-42274" y="1530688"/>
            <a:ext cx="203563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endParaRPr lang="de-DE" sz="1200" b="1" dirty="0">
              <a:solidFill>
                <a:srgbClr val="323232"/>
              </a:solidFill>
            </a:endParaRPr>
          </a:p>
          <a:p>
            <a:pPr defTabSz="685800"/>
            <a:endParaRPr lang="de-DE" sz="1200" dirty="0">
              <a:solidFill>
                <a:srgbClr val="323232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4558513" y="822259"/>
            <a:ext cx="4026568" cy="2294021"/>
            <a:chOff x="6682247" y="140997"/>
            <a:chExt cx="5368757" cy="3058695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3"/>
            <a:srcRect l="12054" t="12163" r="71305" b="72429"/>
            <a:stretch/>
          </p:blipFill>
          <p:spPr>
            <a:xfrm>
              <a:off x="6682247" y="140997"/>
              <a:ext cx="5368757" cy="3058695"/>
            </a:xfrm>
            <a:prstGeom prst="rect">
              <a:avLst/>
            </a:prstGeom>
          </p:spPr>
        </p:pic>
        <p:sp>
          <p:nvSpPr>
            <p:cNvPr id="7" name="Freeform 193">
              <a:extLst>
                <a:ext uri="{FF2B5EF4-FFF2-40B4-BE49-F238E27FC236}">
                  <a16:creationId xmlns:a16="http://schemas.microsoft.com/office/drawing/2014/main" id="{50DB9A8F-56D5-304F-BD0F-42C45A7442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8808" y="2529361"/>
              <a:ext cx="689162" cy="495193"/>
            </a:xfrm>
            <a:custGeom>
              <a:avLst/>
              <a:gdLst>
                <a:gd name="T0" fmla="*/ 54 w 138"/>
                <a:gd name="T1" fmla="*/ 15 h 88"/>
                <a:gd name="T2" fmla="*/ 50 w 138"/>
                <a:gd name="T3" fmla="*/ 22 h 88"/>
                <a:gd name="T4" fmla="*/ 30 w 138"/>
                <a:gd name="T5" fmla="*/ 18 h 88"/>
                <a:gd name="T6" fmla="*/ 32 w 138"/>
                <a:gd name="T7" fmla="*/ 30 h 88"/>
                <a:gd name="T8" fmla="*/ 50 w 138"/>
                <a:gd name="T9" fmla="*/ 29 h 88"/>
                <a:gd name="T10" fmla="*/ 73 w 138"/>
                <a:gd name="T11" fmla="*/ 35 h 88"/>
                <a:gd name="T12" fmla="*/ 104 w 138"/>
                <a:gd name="T13" fmla="*/ 32 h 88"/>
                <a:gd name="T14" fmla="*/ 113 w 138"/>
                <a:gd name="T15" fmla="*/ 51 h 88"/>
                <a:gd name="T16" fmla="*/ 119 w 138"/>
                <a:gd name="T17" fmla="*/ 49 h 88"/>
                <a:gd name="T18" fmla="*/ 130 w 138"/>
                <a:gd name="T19" fmla="*/ 54 h 88"/>
                <a:gd name="T20" fmla="*/ 132 w 138"/>
                <a:gd name="T21" fmla="*/ 62 h 88"/>
                <a:gd name="T22" fmla="*/ 138 w 138"/>
                <a:gd name="T23" fmla="*/ 74 h 88"/>
                <a:gd name="T24" fmla="*/ 120 w 138"/>
                <a:gd name="T25" fmla="*/ 74 h 88"/>
                <a:gd name="T26" fmla="*/ 108 w 138"/>
                <a:gd name="T27" fmla="*/ 72 h 88"/>
                <a:gd name="T28" fmla="*/ 99 w 138"/>
                <a:gd name="T29" fmla="*/ 81 h 88"/>
                <a:gd name="T30" fmla="*/ 92 w 138"/>
                <a:gd name="T31" fmla="*/ 83 h 88"/>
                <a:gd name="T32" fmla="*/ 88 w 138"/>
                <a:gd name="T33" fmla="*/ 88 h 88"/>
                <a:gd name="T34" fmla="*/ 79 w 138"/>
                <a:gd name="T35" fmla="*/ 81 h 88"/>
                <a:gd name="T36" fmla="*/ 76 w 138"/>
                <a:gd name="T37" fmla="*/ 64 h 88"/>
                <a:gd name="T38" fmla="*/ 71 w 138"/>
                <a:gd name="T39" fmla="*/ 63 h 88"/>
                <a:gd name="T40" fmla="*/ 71 w 138"/>
                <a:gd name="T41" fmla="*/ 56 h 88"/>
                <a:gd name="T42" fmla="*/ 60 w 138"/>
                <a:gd name="T43" fmla="*/ 51 h 88"/>
                <a:gd name="T44" fmla="*/ 55 w 138"/>
                <a:gd name="T45" fmla="*/ 59 h 88"/>
                <a:gd name="T46" fmla="*/ 55 w 138"/>
                <a:gd name="T47" fmla="*/ 67 h 88"/>
                <a:gd name="T48" fmla="*/ 53 w 138"/>
                <a:gd name="T49" fmla="*/ 70 h 88"/>
                <a:gd name="T50" fmla="*/ 43 w 138"/>
                <a:gd name="T51" fmla="*/ 70 h 88"/>
                <a:gd name="T52" fmla="*/ 40 w 138"/>
                <a:gd name="T53" fmla="*/ 79 h 88"/>
                <a:gd name="T54" fmla="*/ 33 w 138"/>
                <a:gd name="T55" fmla="*/ 75 h 88"/>
                <a:gd name="T56" fmla="*/ 22 w 138"/>
                <a:gd name="T57" fmla="*/ 82 h 88"/>
                <a:gd name="T58" fmla="*/ 16 w 138"/>
                <a:gd name="T59" fmla="*/ 79 h 88"/>
                <a:gd name="T60" fmla="*/ 21 w 138"/>
                <a:gd name="T61" fmla="*/ 58 h 88"/>
                <a:gd name="T62" fmla="*/ 13 w 138"/>
                <a:gd name="T63" fmla="*/ 43 h 88"/>
                <a:gd name="T64" fmla="*/ 0 w 138"/>
                <a:gd name="T65" fmla="*/ 38 h 88"/>
                <a:gd name="T66" fmla="*/ 2 w 138"/>
                <a:gd name="T67" fmla="*/ 29 h 88"/>
                <a:gd name="T68" fmla="*/ 16 w 138"/>
                <a:gd name="T69" fmla="*/ 30 h 88"/>
                <a:gd name="T70" fmla="*/ 21 w 138"/>
                <a:gd name="T71" fmla="*/ 19 h 88"/>
                <a:gd name="T72" fmla="*/ 23 w 138"/>
                <a:gd name="T73" fmla="*/ 5 h 88"/>
                <a:gd name="T74" fmla="*/ 44 w 138"/>
                <a:gd name="T75" fmla="*/ 0 h 88"/>
                <a:gd name="T76" fmla="*/ 43 w 138"/>
                <a:gd name="T77" fmla="*/ 10 h 88"/>
                <a:gd name="T78" fmla="*/ 47 w 138"/>
                <a:gd name="T79" fmla="*/ 16 h 88"/>
                <a:gd name="T80" fmla="*/ 54 w 138"/>
                <a:gd name="T81" fmla="*/ 15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8" h="88">
                  <a:moveTo>
                    <a:pt x="54" y="15"/>
                  </a:moveTo>
                  <a:lnTo>
                    <a:pt x="50" y="22"/>
                  </a:lnTo>
                  <a:lnTo>
                    <a:pt x="30" y="18"/>
                  </a:lnTo>
                  <a:lnTo>
                    <a:pt x="32" y="30"/>
                  </a:lnTo>
                  <a:lnTo>
                    <a:pt x="50" y="29"/>
                  </a:lnTo>
                  <a:lnTo>
                    <a:pt x="73" y="35"/>
                  </a:lnTo>
                  <a:lnTo>
                    <a:pt x="104" y="32"/>
                  </a:lnTo>
                  <a:lnTo>
                    <a:pt x="113" y="51"/>
                  </a:lnTo>
                  <a:lnTo>
                    <a:pt x="119" y="49"/>
                  </a:lnTo>
                  <a:lnTo>
                    <a:pt x="130" y="54"/>
                  </a:lnTo>
                  <a:lnTo>
                    <a:pt x="132" y="62"/>
                  </a:lnTo>
                  <a:lnTo>
                    <a:pt x="138" y="74"/>
                  </a:lnTo>
                  <a:lnTo>
                    <a:pt x="120" y="74"/>
                  </a:lnTo>
                  <a:lnTo>
                    <a:pt x="108" y="72"/>
                  </a:lnTo>
                  <a:lnTo>
                    <a:pt x="99" y="81"/>
                  </a:lnTo>
                  <a:lnTo>
                    <a:pt x="92" y="83"/>
                  </a:lnTo>
                  <a:lnTo>
                    <a:pt x="88" y="88"/>
                  </a:lnTo>
                  <a:lnTo>
                    <a:pt x="79" y="81"/>
                  </a:lnTo>
                  <a:lnTo>
                    <a:pt x="76" y="64"/>
                  </a:lnTo>
                  <a:lnTo>
                    <a:pt x="71" y="63"/>
                  </a:lnTo>
                  <a:lnTo>
                    <a:pt x="71" y="56"/>
                  </a:lnTo>
                  <a:lnTo>
                    <a:pt x="60" y="51"/>
                  </a:lnTo>
                  <a:lnTo>
                    <a:pt x="55" y="59"/>
                  </a:lnTo>
                  <a:lnTo>
                    <a:pt x="55" y="67"/>
                  </a:lnTo>
                  <a:lnTo>
                    <a:pt x="53" y="70"/>
                  </a:lnTo>
                  <a:lnTo>
                    <a:pt x="43" y="70"/>
                  </a:lnTo>
                  <a:lnTo>
                    <a:pt x="40" y="79"/>
                  </a:lnTo>
                  <a:lnTo>
                    <a:pt x="33" y="75"/>
                  </a:lnTo>
                  <a:lnTo>
                    <a:pt x="22" y="82"/>
                  </a:lnTo>
                  <a:lnTo>
                    <a:pt x="16" y="79"/>
                  </a:lnTo>
                  <a:lnTo>
                    <a:pt x="21" y="58"/>
                  </a:lnTo>
                  <a:lnTo>
                    <a:pt x="13" y="43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16" y="30"/>
                  </a:lnTo>
                  <a:lnTo>
                    <a:pt x="21" y="19"/>
                  </a:lnTo>
                  <a:lnTo>
                    <a:pt x="23" y="5"/>
                  </a:lnTo>
                  <a:lnTo>
                    <a:pt x="44" y="0"/>
                  </a:lnTo>
                  <a:lnTo>
                    <a:pt x="43" y="10"/>
                  </a:lnTo>
                  <a:lnTo>
                    <a:pt x="47" y="16"/>
                  </a:lnTo>
                  <a:lnTo>
                    <a:pt x="54" y="15"/>
                  </a:lnTo>
                  <a:close/>
                </a:path>
              </a:pathLst>
            </a:custGeom>
            <a:solidFill>
              <a:srgbClr val="0052A4"/>
            </a:solidFill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pPr defTabSz="257175"/>
              <a:endParaRPr lang="hu-HU" sz="1013" kern="0">
                <a:solidFill>
                  <a:srgbClr val="32323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921639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C8D78BB7-D1DA-DB48-84F6-40D34511252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2049702" y="2845251"/>
            <a:ext cx="6574731" cy="2500821"/>
          </a:xfrm>
        </p:spPr>
        <p:txBody>
          <a:bodyPr/>
          <a:lstStyle/>
          <a:p>
            <a:r>
              <a:rPr lang="de-DE" sz="1400" b="1" dirty="0"/>
              <a:t>3 step approach </a:t>
            </a:r>
          </a:p>
          <a:p>
            <a:r>
              <a:rPr lang="de-DE" sz="1400" dirty="0"/>
              <a:t>agreed with invloved customs administrations</a:t>
            </a:r>
          </a:p>
          <a:p>
            <a:endParaRPr lang="de-DE" sz="1575" dirty="0"/>
          </a:p>
          <a:p>
            <a:pPr marL="857228" lvl="1" indent="-342892">
              <a:buAutoNum type="arabicPeriod"/>
            </a:pPr>
            <a:r>
              <a:rPr lang="de-DE" sz="1275" dirty="0"/>
              <a:t>TIR Carnets and message exchange monitoring (currently)</a:t>
            </a:r>
          </a:p>
          <a:p>
            <a:pPr marL="857228" lvl="1" indent="-342892">
              <a:buAutoNum type="arabicPeriod"/>
            </a:pPr>
            <a:r>
              <a:rPr lang="de-DE" sz="1275" dirty="0"/>
              <a:t>Digital  TIR pilot transports accompanied by print@home TIR forms</a:t>
            </a:r>
          </a:p>
          <a:p>
            <a:pPr marL="857228" lvl="1" indent="-342892">
              <a:buAutoNum type="arabicPeriod"/>
            </a:pPr>
            <a:r>
              <a:rPr lang="de-DE" sz="1275" dirty="0"/>
              <a:t>Digital TIR pilot transports – fully digital</a:t>
            </a:r>
          </a:p>
          <a:p>
            <a:pPr lvl="1" indent="0" algn="r">
              <a:buNone/>
            </a:pPr>
            <a:endParaRPr lang="de-DE" sz="1275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sz="1300" dirty="0"/>
              <a:t>Uzbekistan is fully operational, last technical adjustments in </a:t>
            </a:r>
            <a:r>
              <a:rPr lang="de-DE" sz="1300"/>
              <a:t>Kazakhstan under </a:t>
            </a:r>
            <a:r>
              <a:rPr lang="de-DE" sz="1300" dirty="0"/>
              <a:t>way</a:t>
            </a:r>
          </a:p>
          <a:p>
            <a:endParaRPr lang="de-DE" sz="1400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00577290-3CB4-154E-9506-A17157A139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4" y="244332"/>
            <a:ext cx="8052580" cy="498580"/>
          </a:xfrm>
        </p:spPr>
        <p:txBody>
          <a:bodyPr/>
          <a:lstStyle/>
          <a:p>
            <a:r>
              <a:rPr lang="de-DE" sz="2550" dirty="0"/>
              <a:t>Digitalisation of Tajikistan-Uzbekistan-Kazakhstan corridor 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645279" y="742912"/>
            <a:ext cx="4026568" cy="2294021"/>
            <a:chOff x="6682247" y="140997"/>
            <a:chExt cx="5368757" cy="3058695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3"/>
            <a:srcRect l="12054" t="12163" r="71305" b="72429"/>
            <a:stretch/>
          </p:blipFill>
          <p:spPr>
            <a:xfrm>
              <a:off x="6682247" y="140997"/>
              <a:ext cx="5368757" cy="3058695"/>
            </a:xfrm>
            <a:prstGeom prst="rect">
              <a:avLst/>
            </a:prstGeom>
          </p:spPr>
        </p:pic>
        <p:sp>
          <p:nvSpPr>
            <p:cNvPr id="9" name="Freeform 193">
              <a:extLst>
                <a:ext uri="{FF2B5EF4-FFF2-40B4-BE49-F238E27FC236}">
                  <a16:creationId xmlns:a16="http://schemas.microsoft.com/office/drawing/2014/main" id="{50DB9A8F-56D5-304F-BD0F-42C45A7442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8808" y="2529361"/>
              <a:ext cx="689162" cy="495193"/>
            </a:xfrm>
            <a:custGeom>
              <a:avLst/>
              <a:gdLst>
                <a:gd name="T0" fmla="*/ 54 w 138"/>
                <a:gd name="T1" fmla="*/ 15 h 88"/>
                <a:gd name="T2" fmla="*/ 50 w 138"/>
                <a:gd name="T3" fmla="*/ 22 h 88"/>
                <a:gd name="T4" fmla="*/ 30 w 138"/>
                <a:gd name="T5" fmla="*/ 18 h 88"/>
                <a:gd name="T6" fmla="*/ 32 w 138"/>
                <a:gd name="T7" fmla="*/ 30 h 88"/>
                <a:gd name="T8" fmla="*/ 50 w 138"/>
                <a:gd name="T9" fmla="*/ 29 h 88"/>
                <a:gd name="T10" fmla="*/ 73 w 138"/>
                <a:gd name="T11" fmla="*/ 35 h 88"/>
                <a:gd name="T12" fmla="*/ 104 w 138"/>
                <a:gd name="T13" fmla="*/ 32 h 88"/>
                <a:gd name="T14" fmla="*/ 113 w 138"/>
                <a:gd name="T15" fmla="*/ 51 h 88"/>
                <a:gd name="T16" fmla="*/ 119 w 138"/>
                <a:gd name="T17" fmla="*/ 49 h 88"/>
                <a:gd name="T18" fmla="*/ 130 w 138"/>
                <a:gd name="T19" fmla="*/ 54 h 88"/>
                <a:gd name="T20" fmla="*/ 132 w 138"/>
                <a:gd name="T21" fmla="*/ 62 h 88"/>
                <a:gd name="T22" fmla="*/ 138 w 138"/>
                <a:gd name="T23" fmla="*/ 74 h 88"/>
                <a:gd name="T24" fmla="*/ 120 w 138"/>
                <a:gd name="T25" fmla="*/ 74 h 88"/>
                <a:gd name="T26" fmla="*/ 108 w 138"/>
                <a:gd name="T27" fmla="*/ 72 h 88"/>
                <a:gd name="T28" fmla="*/ 99 w 138"/>
                <a:gd name="T29" fmla="*/ 81 h 88"/>
                <a:gd name="T30" fmla="*/ 92 w 138"/>
                <a:gd name="T31" fmla="*/ 83 h 88"/>
                <a:gd name="T32" fmla="*/ 88 w 138"/>
                <a:gd name="T33" fmla="*/ 88 h 88"/>
                <a:gd name="T34" fmla="*/ 79 w 138"/>
                <a:gd name="T35" fmla="*/ 81 h 88"/>
                <a:gd name="T36" fmla="*/ 76 w 138"/>
                <a:gd name="T37" fmla="*/ 64 h 88"/>
                <a:gd name="T38" fmla="*/ 71 w 138"/>
                <a:gd name="T39" fmla="*/ 63 h 88"/>
                <a:gd name="T40" fmla="*/ 71 w 138"/>
                <a:gd name="T41" fmla="*/ 56 h 88"/>
                <a:gd name="T42" fmla="*/ 60 w 138"/>
                <a:gd name="T43" fmla="*/ 51 h 88"/>
                <a:gd name="T44" fmla="*/ 55 w 138"/>
                <a:gd name="T45" fmla="*/ 59 h 88"/>
                <a:gd name="T46" fmla="*/ 55 w 138"/>
                <a:gd name="T47" fmla="*/ 67 h 88"/>
                <a:gd name="T48" fmla="*/ 53 w 138"/>
                <a:gd name="T49" fmla="*/ 70 h 88"/>
                <a:gd name="T50" fmla="*/ 43 w 138"/>
                <a:gd name="T51" fmla="*/ 70 h 88"/>
                <a:gd name="T52" fmla="*/ 40 w 138"/>
                <a:gd name="T53" fmla="*/ 79 h 88"/>
                <a:gd name="T54" fmla="*/ 33 w 138"/>
                <a:gd name="T55" fmla="*/ 75 h 88"/>
                <a:gd name="T56" fmla="*/ 22 w 138"/>
                <a:gd name="T57" fmla="*/ 82 h 88"/>
                <a:gd name="T58" fmla="*/ 16 w 138"/>
                <a:gd name="T59" fmla="*/ 79 h 88"/>
                <a:gd name="T60" fmla="*/ 21 w 138"/>
                <a:gd name="T61" fmla="*/ 58 h 88"/>
                <a:gd name="T62" fmla="*/ 13 w 138"/>
                <a:gd name="T63" fmla="*/ 43 h 88"/>
                <a:gd name="T64" fmla="*/ 0 w 138"/>
                <a:gd name="T65" fmla="*/ 38 h 88"/>
                <a:gd name="T66" fmla="*/ 2 w 138"/>
                <a:gd name="T67" fmla="*/ 29 h 88"/>
                <a:gd name="T68" fmla="*/ 16 w 138"/>
                <a:gd name="T69" fmla="*/ 30 h 88"/>
                <a:gd name="T70" fmla="*/ 21 w 138"/>
                <a:gd name="T71" fmla="*/ 19 h 88"/>
                <a:gd name="T72" fmla="*/ 23 w 138"/>
                <a:gd name="T73" fmla="*/ 5 h 88"/>
                <a:gd name="T74" fmla="*/ 44 w 138"/>
                <a:gd name="T75" fmla="*/ 0 h 88"/>
                <a:gd name="T76" fmla="*/ 43 w 138"/>
                <a:gd name="T77" fmla="*/ 10 h 88"/>
                <a:gd name="T78" fmla="*/ 47 w 138"/>
                <a:gd name="T79" fmla="*/ 16 h 88"/>
                <a:gd name="T80" fmla="*/ 54 w 138"/>
                <a:gd name="T81" fmla="*/ 15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8" h="88">
                  <a:moveTo>
                    <a:pt x="54" y="15"/>
                  </a:moveTo>
                  <a:lnTo>
                    <a:pt x="50" y="22"/>
                  </a:lnTo>
                  <a:lnTo>
                    <a:pt x="30" y="18"/>
                  </a:lnTo>
                  <a:lnTo>
                    <a:pt x="32" y="30"/>
                  </a:lnTo>
                  <a:lnTo>
                    <a:pt x="50" y="29"/>
                  </a:lnTo>
                  <a:lnTo>
                    <a:pt x="73" y="35"/>
                  </a:lnTo>
                  <a:lnTo>
                    <a:pt x="104" y="32"/>
                  </a:lnTo>
                  <a:lnTo>
                    <a:pt x="113" y="51"/>
                  </a:lnTo>
                  <a:lnTo>
                    <a:pt x="119" y="49"/>
                  </a:lnTo>
                  <a:lnTo>
                    <a:pt x="130" y="54"/>
                  </a:lnTo>
                  <a:lnTo>
                    <a:pt x="132" y="62"/>
                  </a:lnTo>
                  <a:lnTo>
                    <a:pt x="138" y="74"/>
                  </a:lnTo>
                  <a:lnTo>
                    <a:pt x="120" y="74"/>
                  </a:lnTo>
                  <a:lnTo>
                    <a:pt x="108" y="72"/>
                  </a:lnTo>
                  <a:lnTo>
                    <a:pt x="99" y="81"/>
                  </a:lnTo>
                  <a:lnTo>
                    <a:pt x="92" y="83"/>
                  </a:lnTo>
                  <a:lnTo>
                    <a:pt x="88" y="88"/>
                  </a:lnTo>
                  <a:lnTo>
                    <a:pt x="79" y="81"/>
                  </a:lnTo>
                  <a:lnTo>
                    <a:pt x="76" y="64"/>
                  </a:lnTo>
                  <a:lnTo>
                    <a:pt x="71" y="63"/>
                  </a:lnTo>
                  <a:lnTo>
                    <a:pt x="71" y="56"/>
                  </a:lnTo>
                  <a:lnTo>
                    <a:pt x="60" y="51"/>
                  </a:lnTo>
                  <a:lnTo>
                    <a:pt x="55" y="59"/>
                  </a:lnTo>
                  <a:lnTo>
                    <a:pt x="55" y="67"/>
                  </a:lnTo>
                  <a:lnTo>
                    <a:pt x="53" y="70"/>
                  </a:lnTo>
                  <a:lnTo>
                    <a:pt x="43" y="70"/>
                  </a:lnTo>
                  <a:lnTo>
                    <a:pt x="40" y="79"/>
                  </a:lnTo>
                  <a:lnTo>
                    <a:pt x="33" y="75"/>
                  </a:lnTo>
                  <a:lnTo>
                    <a:pt x="22" y="82"/>
                  </a:lnTo>
                  <a:lnTo>
                    <a:pt x="16" y="79"/>
                  </a:lnTo>
                  <a:lnTo>
                    <a:pt x="21" y="58"/>
                  </a:lnTo>
                  <a:lnTo>
                    <a:pt x="13" y="43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16" y="30"/>
                  </a:lnTo>
                  <a:lnTo>
                    <a:pt x="21" y="19"/>
                  </a:lnTo>
                  <a:lnTo>
                    <a:pt x="23" y="5"/>
                  </a:lnTo>
                  <a:lnTo>
                    <a:pt x="44" y="0"/>
                  </a:lnTo>
                  <a:lnTo>
                    <a:pt x="43" y="10"/>
                  </a:lnTo>
                  <a:lnTo>
                    <a:pt x="47" y="16"/>
                  </a:lnTo>
                  <a:lnTo>
                    <a:pt x="54" y="15"/>
                  </a:lnTo>
                  <a:close/>
                </a:path>
              </a:pathLst>
            </a:custGeom>
            <a:solidFill>
              <a:srgbClr val="0052A4"/>
            </a:solidFill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pPr defTabSz="257175"/>
              <a:endParaRPr lang="hu-HU" sz="1013" kern="0">
                <a:solidFill>
                  <a:srgbClr val="32323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39397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C8D78BB7-D1DA-DB48-84F6-40D34511252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2060318" y="994001"/>
            <a:ext cx="6574731" cy="2500821"/>
          </a:xfrm>
        </p:spPr>
        <p:txBody>
          <a:bodyPr/>
          <a:lstStyle/>
          <a:p>
            <a:r>
              <a:rPr lang="de-DE" sz="1400" b="1" dirty="0"/>
              <a:t>Recent developments: </a:t>
            </a:r>
          </a:p>
          <a:p>
            <a:endParaRPr lang="de-DE" sz="1400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sz="1400" dirty="0"/>
              <a:t>3 customs administrations confirmed the broadening of eGuarantee usage by opening it to all TIR transport operators and all customs border crossing points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sz="1400" dirty="0"/>
              <a:t>Uzbekistan and Kazakhstan customs implemented TIR Green Lanes at Yallama-Konisbayeva boreder crossing point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sz="1400" dirty="0"/>
              <a:t>Working with Tajikistan customs for the prioritisation of eGuarantee movements at Fotekhobod border crossing poin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sz="1400" dirty="0"/>
              <a:t>Uzbekistan customs shared digital TIR experience with Kyrgyz customs in June 2021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sz="1400" dirty="0"/>
              <a:t>All 3 customs administations have undertaken necessary formalities to start contacts with UNECE in order to establish eTIR project connectivity as per Annex 11 of TIR Convention </a:t>
            </a:r>
          </a:p>
          <a:p>
            <a:endParaRPr lang="de-DE" sz="1575" dirty="0"/>
          </a:p>
          <a:p>
            <a:pPr lvl="1" indent="0" algn="r">
              <a:buNone/>
            </a:pPr>
            <a:endParaRPr lang="de-DE" sz="1275" dirty="0"/>
          </a:p>
          <a:p>
            <a:endParaRPr lang="de-DE" sz="1400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00577290-3CB4-154E-9506-A17157A139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4" y="244332"/>
            <a:ext cx="8052580" cy="498580"/>
          </a:xfrm>
        </p:spPr>
        <p:txBody>
          <a:bodyPr/>
          <a:lstStyle/>
          <a:p>
            <a:r>
              <a:rPr lang="de-DE" sz="2550" dirty="0"/>
              <a:t>Digitalisation of Tajikistan-Uzbekistan-Kazakhstan corridor 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-5" y="742912"/>
            <a:ext cx="1956053" cy="1145240"/>
            <a:chOff x="6682247" y="140997"/>
            <a:chExt cx="5368757" cy="3058695"/>
          </a:xfrm>
        </p:grpSpPr>
        <p:pic>
          <p:nvPicPr>
            <p:cNvPr id="16" name="Picture 15"/>
            <p:cNvPicPr>
              <a:picLocks noChangeAspect="1"/>
            </p:cNvPicPr>
            <p:nvPr/>
          </p:nvPicPr>
          <p:blipFill rotWithShape="1">
            <a:blip r:embed="rId3"/>
            <a:srcRect l="12054" t="12163" r="71305" b="72429"/>
            <a:stretch/>
          </p:blipFill>
          <p:spPr>
            <a:xfrm>
              <a:off x="6682247" y="140997"/>
              <a:ext cx="5368757" cy="3058695"/>
            </a:xfrm>
            <a:prstGeom prst="rect">
              <a:avLst/>
            </a:prstGeom>
          </p:spPr>
        </p:pic>
        <p:sp>
          <p:nvSpPr>
            <p:cNvPr id="17" name="Freeform 193">
              <a:extLst>
                <a:ext uri="{FF2B5EF4-FFF2-40B4-BE49-F238E27FC236}">
                  <a16:creationId xmlns:a16="http://schemas.microsoft.com/office/drawing/2014/main" id="{50DB9A8F-56D5-304F-BD0F-42C45A7442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8808" y="2529361"/>
              <a:ext cx="689162" cy="495193"/>
            </a:xfrm>
            <a:custGeom>
              <a:avLst/>
              <a:gdLst>
                <a:gd name="T0" fmla="*/ 54 w 138"/>
                <a:gd name="T1" fmla="*/ 15 h 88"/>
                <a:gd name="T2" fmla="*/ 50 w 138"/>
                <a:gd name="T3" fmla="*/ 22 h 88"/>
                <a:gd name="T4" fmla="*/ 30 w 138"/>
                <a:gd name="T5" fmla="*/ 18 h 88"/>
                <a:gd name="T6" fmla="*/ 32 w 138"/>
                <a:gd name="T7" fmla="*/ 30 h 88"/>
                <a:gd name="T8" fmla="*/ 50 w 138"/>
                <a:gd name="T9" fmla="*/ 29 h 88"/>
                <a:gd name="T10" fmla="*/ 73 w 138"/>
                <a:gd name="T11" fmla="*/ 35 h 88"/>
                <a:gd name="T12" fmla="*/ 104 w 138"/>
                <a:gd name="T13" fmla="*/ 32 h 88"/>
                <a:gd name="T14" fmla="*/ 113 w 138"/>
                <a:gd name="T15" fmla="*/ 51 h 88"/>
                <a:gd name="T16" fmla="*/ 119 w 138"/>
                <a:gd name="T17" fmla="*/ 49 h 88"/>
                <a:gd name="T18" fmla="*/ 130 w 138"/>
                <a:gd name="T19" fmla="*/ 54 h 88"/>
                <a:gd name="T20" fmla="*/ 132 w 138"/>
                <a:gd name="T21" fmla="*/ 62 h 88"/>
                <a:gd name="T22" fmla="*/ 138 w 138"/>
                <a:gd name="T23" fmla="*/ 74 h 88"/>
                <a:gd name="T24" fmla="*/ 120 w 138"/>
                <a:gd name="T25" fmla="*/ 74 h 88"/>
                <a:gd name="T26" fmla="*/ 108 w 138"/>
                <a:gd name="T27" fmla="*/ 72 h 88"/>
                <a:gd name="T28" fmla="*/ 99 w 138"/>
                <a:gd name="T29" fmla="*/ 81 h 88"/>
                <a:gd name="T30" fmla="*/ 92 w 138"/>
                <a:gd name="T31" fmla="*/ 83 h 88"/>
                <a:gd name="T32" fmla="*/ 88 w 138"/>
                <a:gd name="T33" fmla="*/ 88 h 88"/>
                <a:gd name="T34" fmla="*/ 79 w 138"/>
                <a:gd name="T35" fmla="*/ 81 h 88"/>
                <a:gd name="T36" fmla="*/ 76 w 138"/>
                <a:gd name="T37" fmla="*/ 64 h 88"/>
                <a:gd name="T38" fmla="*/ 71 w 138"/>
                <a:gd name="T39" fmla="*/ 63 h 88"/>
                <a:gd name="T40" fmla="*/ 71 w 138"/>
                <a:gd name="T41" fmla="*/ 56 h 88"/>
                <a:gd name="T42" fmla="*/ 60 w 138"/>
                <a:gd name="T43" fmla="*/ 51 h 88"/>
                <a:gd name="T44" fmla="*/ 55 w 138"/>
                <a:gd name="T45" fmla="*/ 59 h 88"/>
                <a:gd name="T46" fmla="*/ 55 w 138"/>
                <a:gd name="T47" fmla="*/ 67 h 88"/>
                <a:gd name="T48" fmla="*/ 53 w 138"/>
                <a:gd name="T49" fmla="*/ 70 h 88"/>
                <a:gd name="T50" fmla="*/ 43 w 138"/>
                <a:gd name="T51" fmla="*/ 70 h 88"/>
                <a:gd name="T52" fmla="*/ 40 w 138"/>
                <a:gd name="T53" fmla="*/ 79 h 88"/>
                <a:gd name="T54" fmla="*/ 33 w 138"/>
                <a:gd name="T55" fmla="*/ 75 h 88"/>
                <a:gd name="T56" fmla="*/ 22 w 138"/>
                <a:gd name="T57" fmla="*/ 82 h 88"/>
                <a:gd name="T58" fmla="*/ 16 w 138"/>
                <a:gd name="T59" fmla="*/ 79 h 88"/>
                <a:gd name="T60" fmla="*/ 21 w 138"/>
                <a:gd name="T61" fmla="*/ 58 h 88"/>
                <a:gd name="T62" fmla="*/ 13 w 138"/>
                <a:gd name="T63" fmla="*/ 43 h 88"/>
                <a:gd name="T64" fmla="*/ 0 w 138"/>
                <a:gd name="T65" fmla="*/ 38 h 88"/>
                <a:gd name="T66" fmla="*/ 2 w 138"/>
                <a:gd name="T67" fmla="*/ 29 h 88"/>
                <a:gd name="T68" fmla="*/ 16 w 138"/>
                <a:gd name="T69" fmla="*/ 30 h 88"/>
                <a:gd name="T70" fmla="*/ 21 w 138"/>
                <a:gd name="T71" fmla="*/ 19 h 88"/>
                <a:gd name="T72" fmla="*/ 23 w 138"/>
                <a:gd name="T73" fmla="*/ 5 h 88"/>
                <a:gd name="T74" fmla="*/ 44 w 138"/>
                <a:gd name="T75" fmla="*/ 0 h 88"/>
                <a:gd name="T76" fmla="*/ 43 w 138"/>
                <a:gd name="T77" fmla="*/ 10 h 88"/>
                <a:gd name="T78" fmla="*/ 47 w 138"/>
                <a:gd name="T79" fmla="*/ 16 h 88"/>
                <a:gd name="T80" fmla="*/ 54 w 138"/>
                <a:gd name="T81" fmla="*/ 15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8" h="88">
                  <a:moveTo>
                    <a:pt x="54" y="15"/>
                  </a:moveTo>
                  <a:lnTo>
                    <a:pt x="50" y="22"/>
                  </a:lnTo>
                  <a:lnTo>
                    <a:pt x="30" y="18"/>
                  </a:lnTo>
                  <a:lnTo>
                    <a:pt x="32" y="30"/>
                  </a:lnTo>
                  <a:lnTo>
                    <a:pt x="50" y="29"/>
                  </a:lnTo>
                  <a:lnTo>
                    <a:pt x="73" y="35"/>
                  </a:lnTo>
                  <a:lnTo>
                    <a:pt x="104" y="32"/>
                  </a:lnTo>
                  <a:lnTo>
                    <a:pt x="113" y="51"/>
                  </a:lnTo>
                  <a:lnTo>
                    <a:pt x="119" y="49"/>
                  </a:lnTo>
                  <a:lnTo>
                    <a:pt x="130" y="54"/>
                  </a:lnTo>
                  <a:lnTo>
                    <a:pt x="132" y="62"/>
                  </a:lnTo>
                  <a:lnTo>
                    <a:pt x="138" y="74"/>
                  </a:lnTo>
                  <a:lnTo>
                    <a:pt x="120" y="74"/>
                  </a:lnTo>
                  <a:lnTo>
                    <a:pt x="108" y="72"/>
                  </a:lnTo>
                  <a:lnTo>
                    <a:pt x="99" y="81"/>
                  </a:lnTo>
                  <a:lnTo>
                    <a:pt x="92" y="83"/>
                  </a:lnTo>
                  <a:lnTo>
                    <a:pt x="88" y="88"/>
                  </a:lnTo>
                  <a:lnTo>
                    <a:pt x="79" y="81"/>
                  </a:lnTo>
                  <a:lnTo>
                    <a:pt x="76" y="64"/>
                  </a:lnTo>
                  <a:lnTo>
                    <a:pt x="71" y="63"/>
                  </a:lnTo>
                  <a:lnTo>
                    <a:pt x="71" y="56"/>
                  </a:lnTo>
                  <a:lnTo>
                    <a:pt x="60" y="51"/>
                  </a:lnTo>
                  <a:lnTo>
                    <a:pt x="55" y="59"/>
                  </a:lnTo>
                  <a:lnTo>
                    <a:pt x="55" y="67"/>
                  </a:lnTo>
                  <a:lnTo>
                    <a:pt x="53" y="70"/>
                  </a:lnTo>
                  <a:lnTo>
                    <a:pt x="43" y="70"/>
                  </a:lnTo>
                  <a:lnTo>
                    <a:pt x="40" y="79"/>
                  </a:lnTo>
                  <a:lnTo>
                    <a:pt x="33" y="75"/>
                  </a:lnTo>
                  <a:lnTo>
                    <a:pt x="22" y="82"/>
                  </a:lnTo>
                  <a:lnTo>
                    <a:pt x="16" y="79"/>
                  </a:lnTo>
                  <a:lnTo>
                    <a:pt x="21" y="58"/>
                  </a:lnTo>
                  <a:lnTo>
                    <a:pt x="13" y="43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16" y="30"/>
                  </a:lnTo>
                  <a:lnTo>
                    <a:pt x="21" y="19"/>
                  </a:lnTo>
                  <a:lnTo>
                    <a:pt x="23" y="5"/>
                  </a:lnTo>
                  <a:lnTo>
                    <a:pt x="44" y="0"/>
                  </a:lnTo>
                  <a:lnTo>
                    <a:pt x="43" y="10"/>
                  </a:lnTo>
                  <a:lnTo>
                    <a:pt x="47" y="16"/>
                  </a:lnTo>
                  <a:lnTo>
                    <a:pt x="54" y="15"/>
                  </a:lnTo>
                  <a:close/>
                </a:path>
              </a:pathLst>
            </a:custGeom>
            <a:solidFill>
              <a:srgbClr val="0052A4"/>
            </a:solidFill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51435" tIns="25718" rIns="51435" bIns="25718" numCol="1" anchor="t" anchorCtr="0" compatLnSpc="1">
              <a:prstTxWarp prst="textNoShape">
                <a:avLst/>
              </a:prstTxWarp>
            </a:bodyPr>
            <a:lstStyle/>
            <a:p>
              <a:pPr defTabSz="257175"/>
              <a:endParaRPr lang="hu-HU" sz="1013" kern="0">
                <a:solidFill>
                  <a:srgbClr val="32323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407683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.eW4mMTvyK989S1yyb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PLIEDSTYLE" val="Page Number"/>
</p:tagLst>
</file>

<file path=ppt/theme/theme1.xml><?xml version="1.0" encoding="utf-8"?>
<a:theme xmlns:a="http://schemas.openxmlformats.org/drawingml/2006/main" name="IRU_template_16-9_standard slide">
  <a:themeElements>
    <a:clrScheme name="IRU">
      <a:dk1>
        <a:srgbClr val="323232"/>
      </a:dk1>
      <a:lt1>
        <a:srgbClr val="FFFFFF"/>
      </a:lt1>
      <a:dk2>
        <a:srgbClr val="0052A4"/>
      </a:dk2>
      <a:lt2>
        <a:srgbClr val="F0F0F0"/>
      </a:lt2>
      <a:accent1>
        <a:srgbClr val="FFD600"/>
      </a:accent1>
      <a:accent2>
        <a:srgbClr val="40C8F4"/>
      </a:accent2>
      <a:accent3>
        <a:srgbClr val="00B5F0"/>
      </a:accent3>
      <a:accent4>
        <a:srgbClr val="3399FF"/>
      </a:accent4>
      <a:accent5>
        <a:srgbClr val="0052A4"/>
      </a:accent5>
      <a:accent6>
        <a:srgbClr val="323232"/>
      </a:accent6>
      <a:hlink>
        <a:srgbClr val="0052A4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EE2E24"/>
          </a:solidFill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IRU_template_16-9_17102016">
  <a:themeElements>
    <a:clrScheme name="IRU">
      <a:dk1>
        <a:srgbClr val="323232"/>
      </a:dk1>
      <a:lt1>
        <a:srgbClr val="FFFFFF"/>
      </a:lt1>
      <a:dk2>
        <a:srgbClr val="40C8F4"/>
      </a:dk2>
      <a:lt2>
        <a:srgbClr val="F0F0F0"/>
      </a:lt2>
      <a:accent1>
        <a:srgbClr val="B4B4B4"/>
      </a:accent1>
      <a:accent2>
        <a:srgbClr val="0070C0"/>
      </a:accent2>
      <a:accent3>
        <a:srgbClr val="00AAAC"/>
      </a:accent3>
      <a:accent4>
        <a:srgbClr val="B7D433"/>
      </a:accent4>
      <a:accent5>
        <a:srgbClr val="FFD600"/>
      </a:accent5>
      <a:accent6>
        <a:srgbClr val="F6941E"/>
      </a:accent6>
      <a:hlink>
        <a:srgbClr val="0052A4"/>
      </a:hlink>
      <a:folHlink>
        <a:srgbClr val="82289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60000"/>
            <a:lumOff val="40000"/>
          </a:schemeClr>
        </a:solidFill>
        <a:ln>
          <a:noFill/>
        </a:ln>
        <a:effectLst/>
      </a:spPr>
      <a:bodyPr rtlCol="0" anchor="ctr">
        <a:normAutofit fontScale="92500" lnSpcReduction="20000"/>
      </a:bodyPr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tailEnd type="triangle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RU_template_16-9_v2.2" id="{5EEBEB22-5CC5-4353-9F3C-751F78494CB5}" vid="{B595A7AC-481A-454D-91A2-CABDEE90989D}"/>
    </a:ext>
  </a:extLst>
</a:theme>
</file>

<file path=ppt/theme/theme3.xml><?xml version="1.0" encoding="utf-8"?>
<a:theme xmlns:a="http://schemas.openxmlformats.org/drawingml/2006/main" name="7_IRU_template_16-9_v2 2">
  <a:themeElements>
    <a:clrScheme name="IRU">
      <a:dk1>
        <a:srgbClr val="323232"/>
      </a:dk1>
      <a:lt1>
        <a:srgbClr val="FFFFFF"/>
      </a:lt1>
      <a:dk2>
        <a:srgbClr val="40C8F4"/>
      </a:dk2>
      <a:lt2>
        <a:srgbClr val="F0F0F0"/>
      </a:lt2>
      <a:accent1>
        <a:srgbClr val="B4B4B4"/>
      </a:accent1>
      <a:accent2>
        <a:srgbClr val="0070C0"/>
      </a:accent2>
      <a:accent3>
        <a:srgbClr val="00AAAC"/>
      </a:accent3>
      <a:accent4>
        <a:srgbClr val="B7D433"/>
      </a:accent4>
      <a:accent5>
        <a:srgbClr val="FFD600"/>
      </a:accent5>
      <a:accent6>
        <a:srgbClr val="F6941E"/>
      </a:accent6>
      <a:hlink>
        <a:srgbClr val="0052A4"/>
      </a:hlink>
      <a:folHlink>
        <a:srgbClr val="82289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60000"/>
            <a:lumOff val="40000"/>
          </a:schemeClr>
        </a:solidFill>
        <a:ln>
          <a:noFill/>
        </a:ln>
        <a:effectLst/>
      </a:spPr>
      <a:bodyPr rtlCol="0" anchor="ctr">
        <a:normAutofit fontScale="92500" lnSpcReduction="20000"/>
      </a:bodyPr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tailEnd type="triangle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RU_template_16-9_v2.2" id="{5EEBEB22-5CC5-4353-9F3C-751F78494CB5}" vid="{B595A7AC-481A-454D-91A2-CABDEE90989D}"/>
    </a:ext>
  </a:extLst>
</a:theme>
</file>

<file path=ppt/theme/theme4.xml><?xml version="1.0" encoding="utf-8"?>
<a:theme xmlns:a="http://schemas.openxmlformats.org/drawingml/2006/main" name="1_IRU_template_16-9_17102016">
  <a:themeElements>
    <a:clrScheme name="IRU">
      <a:dk1>
        <a:srgbClr val="323232"/>
      </a:dk1>
      <a:lt1>
        <a:srgbClr val="FFFFFF"/>
      </a:lt1>
      <a:dk2>
        <a:srgbClr val="40C8F4"/>
      </a:dk2>
      <a:lt2>
        <a:srgbClr val="F0F0F0"/>
      </a:lt2>
      <a:accent1>
        <a:srgbClr val="B4B4B4"/>
      </a:accent1>
      <a:accent2>
        <a:srgbClr val="0070C0"/>
      </a:accent2>
      <a:accent3>
        <a:srgbClr val="00AAAC"/>
      </a:accent3>
      <a:accent4>
        <a:srgbClr val="B7D433"/>
      </a:accent4>
      <a:accent5>
        <a:srgbClr val="FFD600"/>
      </a:accent5>
      <a:accent6>
        <a:srgbClr val="F6941E"/>
      </a:accent6>
      <a:hlink>
        <a:srgbClr val="0052A4"/>
      </a:hlink>
      <a:folHlink>
        <a:srgbClr val="82289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60000"/>
            <a:lumOff val="40000"/>
          </a:schemeClr>
        </a:solidFill>
        <a:ln>
          <a:noFill/>
        </a:ln>
        <a:effectLst/>
      </a:spPr>
      <a:bodyPr rtlCol="0" anchor="ctr">
        <a:normAutofit fontScale="92500" lnSpcReduction="20000"/>
      </a:bodyPr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tailEnd type="triangle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RU_template_16-9_v2.2" id="{5EEBEB22-5CC5-4353-9F3C-751F78494CB5}" vid="{B595A7AC-481A-454D-91A2-CABDEE90989D}"/>
    </a:ext>
  </a:extLst>
</a:theme>
</file>

<file path=ppt/theme/theme5.xml><?xml version="1.0" encoding="utf-8"?>
<a:theme xmlns:a="http://schemas.openxmlformats.org/drawingml/2006/main" name="Office Theme">
  <a:themeElements>
    <a:clrScheme name="IRU_v3 1">
      <a:dk1>
        <a:srgbClr val="323232"/>
      </a:dk1>
      <a:lt1>
        <a:srgbClr val="FFFFFF"/>
      </a:lt1>
      <a:dk2>
        <a:srgbClr val="797979"/>
      </a:dk2>
      <a:lt2>
        <a:srgbClr val="EAEAEA"/>
      </a:lt2>
      <a:accent1>
        <a:srgbClr val="0051A3"/>
      </a:accent1>
      <a:accent2>
        <a:srgbClr val="57A8E9"/>
      </a:accent2>
      <a:accent3>
        <a:srgbClr val="40C8F3"/>
      </a:accent3>
      <a:accent4>
        <a:srgbClr val="06C2B8"/>
      </a:accent4>
      <a:accent5>
        <a:srgbClr val="FFD600"/>
      </a:accent5>
      <a:accent6>
        <a:srgbClr val="FE9C24"/>
      </a:accent6>
      <a:hlink>
        <a:srgbClr val="0052A3"/>
      </a:hlink>
      <a:folHlink>
        <a:srgbClr val="822890"/>
      </a:folHlink>
    </a:clrScheme>
    <a:fontScheme name="Corbel">
      <a:maj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>
              <a:lumMod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207</TotalTime>
  <Words>705</Words>
  <Application>Microsoft Office PowerPoint</Application>
  <PresentationFormat>On-screen Show (16:9)</PresentationFormat>
  <Paragraphs>117</Paragraphs>
  <Slides>12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3" baseType="lpstr">
      <vt:lpstr>Lucida Grande</vt:lpstr>
      <vt:lpstr>Arial</vt:lpstr>
      <vt:lpstr>Calibri</vt:lpstr>
      <vt:lpstr>Corbel</vt:lpstr>
      <vt:lpstr>Wingdings</vt:lpstr>
      <vt:lpstr>IRU_template_16-9_standard slide</vt:lpstr>
      <vt:lpstr>IRU_template_16-9_17102016</vt:lpstr>
      <vt:lpstr>7_IRU_template_16-9_v2 2</vt:lpstr>
      <vt:lpstr>1_IRU_template_16-9_17102016</vt:lpstr>
      <vt:lpstr>Office Theme</vt:lpstr>
      <vt:lpstr>think-cell Slide</vt:lpstr>
      <vt:lpstr>ADB-IRU joint workshop on TIR Digitalization</vt:lpstr>
      <vt:lpstr>PowerPoint Presentation</vt:lpstr>
      <vt:lpstr>PowerPoint Presentation</vt:lpstr>
      <vt:lpstr>  TIR Digitalisation </vt:lpstr>
      <vt:lpstr>  «ДЕЛОВЫЕ СВЯЗИ» </vt:lpstr>
      <vt:lpstr>PowerPoint Presentation</vt:lpstr>
      <vt:lpstr>Digitalisation of Tajikistan-Uzbekistan-Kazakhstan corridor        </vt:lpstr>
      <vt:lpstr>Digitalisation of Tajikistan-Uzbekistan-Kazakhstan corridor </vt:lpstr>
      <vt:lpstr>Digitalisation of Tajikistan-Uzbekistan-Kazakhstan corridor </vt:lpstr>
      <vt:lpstr>Digitalisation of Tajikistan-Uzbekistan-Kazakhstan corridor  </vt:lpstr>
      <vt:lpstr>PowerPoint Presentation</vt:lpstr>
      <vt:lpstr>PowerPoint Presentation</vt:lpstr>
    </vt:vector>
  </TitlesOfParts>
  <Company>Hewlett-Packar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сновные результаты мониторинга автомобильных перевозок в регионе Евразия</dc:title>
  <dc:creator>NKUZNETSOV</dc:creator>
  <cp:lastModifiedBy>Xinglan Hu</cp:lastModifiedBy>
  <cp:revision>1980</cp:revision>
  <cp:lastPrinted>2021-08-13T06:05:40Z</cp:lastPrinted>
  <dcterms:created xsi:type="dcterms:W3CDTF">2016-06-13T13:00:22Z</dcterms:created>
  <dcterms:modified xsi:type="dcterms:W3CDTF">2021-09-04T01:08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17d4574-7375-4d17-b29c-6e4c6df0fcb0_Enabled">
    <vt:lpwstr>true</vt:lpwstr>
  </property>
  <property fmtid="{D5CDD505-2E9C-101B-9397-08002B2CF9AE}" pid="3" name="MSIP_Label_817d4574-7375-4d17-b29c-6e4c6df0fcb0_SetDate">
    <vt:lpwstr>2021-09-04T01:07:06Z</vt:lpwstr>
  </property>
  <property fmtid="{D5CDD505-2E9C-101B-9397-08002B2CF9AE}" pid="4" name="MSIP_Label_817d4574-7375-4d17-b29c-6e4c6df0fcb0_Method">
    <vt:lpwstr>Standard</vt:lpwstr>
  </property>
  <property fmtid="{D5CDD505-2E9C-101B-9397-08002B2CF9AE}" pid="5" name="MSIP_Label_817d4574-7375-4d17-b29c-6e4c6df0fcb0_Name">
    <vt:lpwstr>ADB Internal</vt:lpwstr>
  </property>
  <property fmtid="{D5CDD505-2E9C-101B-9397-08002B2CF9AE}" pid="6" name="MSIP_Label_817d4574-7375-4d17-b29c-6e4c6df0fcb0_SiteId">
    <vt:lpwstr>9495d6bb-41c2-4c58-848f-92e52cf3d640</vt:lpwstr>
  </property>
  <property fmtid="{D5CDD505-2E9C-101B-9397-08002B2CF9AE}" pid="7" name="MSIP_Label_817d4574-7375-4d17-b29c-6e4c6df0fcb0_ActionId">
    <vt:lpwstr>32de9440-ee17-46e4-b575-49b84dd5e7cb</vt:lpwstr>
  </property>
  <property fmtid="{D5CDD505-2E9C-101B-9397-08002B2CF9AE}" pid="8" name="MSIP_Label_817d4574-7375-4d17-b29c-6e4c6df0fcb0_ContentBits">
    <vt:lpwstr>2</vt:lpwstr>
  </property>
</Properties>
</file>